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slides/slide110.xml" ContentType="application/vnd.openxmlformats-officedocument.presentationml.slide+xml"/>
  <Override PartName="/ppt/notesSlides/notesSlide70.xml" ContentType="application/vnd.openxmlformats-officedocument.presentationml.notesSlide+xml"/>
  <Override PartName="/ppt/slideLayouts/slideLayout40.xml" ContentType="application/vnd.openxmlformats-officedocument.presentationml.slideLayout+xml"/>
  <Override PartName="/ppt/notesMasters/notesMaster10.xml" ContentType="application/vnd.openxmlformats-officedocument.presentationml.notesMaster+xml"/>
  <Override PartName="/ppt/slideMasters/slideMaster20.xml" ContentType="application/vnd.openxmlformats-officedocument.presentationml.slideMaster+xml"/>
  <Override PartName="/ppt/theme/theme50.xml" ContentType="application/vnd.openxmlformats-officedocument.theme+xml"/>
  <Override PartName="/ppt/slideLayouts/slideLayout100.xml" ContentType="application/vnd.openxmlformats-officedocument.presentationml.slideLayout+xml"/>
  <Override PartName="/ppt/slideLayouts/slideLayout150.xml" ContentType="application/vnd.openxmlformats-officedocument.presentationml.slideLayout+xml"/>
  <Override PartName="/ppt/slideLayouts/slideLayout200.xml" ContentType="application/vnd.openxmlformats-officedocument.presentationml.slideLayout+xml"/>
  <Override PartName="/ppt/slideLayouts/slideLayout50.xml" ContentType="application/vnd.openxmlformats-officedocument.presentationml.slideLayout+xml"/>
  <Override PartName="/ppt/slideLayouts/slideLayout230.xml" ContentType="application/vnd.openxmlformats-officedocument.presentationml.slideLayout+xml"/>
  <Override PartName="/ppt/slideLayouts/slideLayout90.xml" ContentType="application/vnd.openxmlformats-officedocument.presentationml.slideLayout+xml"/>
  <Override PartName="/ppt/slideLayouts/slideLayout140.xml" ContentType="application/vnd.openxmlformats-officedocument.presentationml.slideLayout+xml"/>
  <Override PartName="/ppt/slideLayouts/slideLayout190.xml" ContentType="application/vnd.openxmlformats-officedocument.presentationml.slideLayout+xml"/>
  <Override PartName="/ppt/slideLayouts/slideLayout180.xml" ContentType="application/vnd.openxmlformats-officedocument.presentationml.slideLayout+xml"/>
  <Override PartName="/ppt/slideLayouts/slideLayout220.xml" ContentType="application/vnd.openxmlformats-officedocument.presentationml.slideLayout+xml"/>
  <Override PartName="/ppt/slideLayouts/slideLayout30.xml" ContentType="application/vnd.openxmlformats-officedocument.presentationml.slideLayout+xml"/>
  <Override PartName="/ppt/slideLayouts/slideLayout80.xml" ContentType="application/vnd.openxmlformats-officedocument.presentationml.slideLayout+xml"/>
  <Override PartName="/ppt/slideLayouts/slideLayout130.xml" ContentType="application/vnd.openxmlformats-officedocument.presentationml.slideLayout+xml"/>
  <Override PartName="/ppt/theme/theme20.xml" ContentType="application/vnd.openxmlformats-officedocument.theme+xml"/>
  <Override PartName="/ppt/slideLayouts/slideLayout70.xml" ContentType="application/vnd.openxmlformats-officedocument.presentationml.slideLayout+xml"/>
  <Override PartName="/ppt/slideLayouts/slideLayout170.xml" ContentType="application/vnd.openxmlformats-officedocument.presentationml.slideLayout+xml"/>
  <Override PartName="/ppt/slideLayouts/slideLayout250.xml" ContentType="application/vnd.openxmlformats-officedocument.presentationml.slideLayout+xml"/>
  <Override PartName="/ppt/slideLayouts/slideLayout120.xml" ContentType="application/vnd.openxmlformats-officedocument.presentationml.slideLayout+xml"/>
  <Override PartName="/ppt/slideLayouts/slideLayout210.xml" ContentType="application/vnd.openxmlformats-officedocument.presentationml.slideLayout+xml"/>
  <Override PartName="/ppt/slideLayouts/slideLayout60.xml" ContentType="application/vnd.openxmlformats-officedocument.presentationml.slideLayout+xml"/>
  <Override PartName="/ppt/slideLayouts/slideLayout110.xml" ContentType="application/vnd.openxmlformats-officedocument.presentationml.slideLayout+xml"/>
  <Override PartName="/ppt/slideLayouts/slideLayout160.xml" ContentType="application/vnd.openxmlformats-officedocument.presentationml.slideLayout+xml"/>
  <Override PartName="/ppt/slideLayouts/slideLayout240.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3" r:id="rId4"/>
    <p:sldMasterId id="2147483735" r:id="rId5"/>
    <p:sldMasterId id="2147483759" r:id="rId6"/>
    <p:sldMasterId id="2147483762" r:id="rId7"/>
  </p:sldMasterIdLst>
  <p:notesMasterIdLst>
    <p:notesMasterId r:id="rId48"/>
  </p:notesMasterIdLst>
  <p:handoutMasterIdLst>
    <p:handoutMasterId r:id="rId49"/>
  </p:handoutMasterIdLst>
  <p:sldIdLst>
    <p:sldId id="256" r:id="rId8"/>
    <p:sldId id="384" r:id="rId9"/>
    <p:sldId id="305" r:id="rId10"/>
    <p:sldId id="306" r:id="rId11"/>
    <p:sldId id="371" r:id="rId12"/>
    <p:sldId id="372" r:id="rId13"/>
    <p:sldId id="373" r:id="rId14"/>
    <p:sldId id="374" r:id="rId15"/>
    <p:sldId id="308" r:id="rId16"/>
    <p:sldId id="313" r:id="rId17"/>
    <p:sldId id="309" r:id="rId18"/>
    <p:sldId id="310" r:id="rId19"/>
    <p:sldId id="322" r:id="rId20"/>
    <p:sldId id="324" r:id="rId21"/>
    <p:sldId id="314" r:id="rId22"/>
    <p:sldId id="375" r:id="rId23"/>
    <p:sldId id="379" r:id="rId24"/>
    <p:sldId id="303" r:id="rId25"/>
    <p:sldId id="304" r:id="rId26"/>
    <p:sldId id="327" r:id="rId27"/>
    <p:sldId id="366" r:id="rId28"/>
    <p:sldId id="345" r:id="rId29"/>
    <p:sldId id="361" r:id="rId30"/>
    <p:sldId id="358" r:id="rId31"/>
    <p:sldId id="362" r:id="rId32"/>
    <p:sldId id="346" r:id="rId33"/>
    <p:sldId id="367" r:id="rId34"/>
    <p:sldId id="368" r:id="rId35"/>
    <p:sldId id="364" r:id="rId36"/>
    <p:sldId id="325" r:id="rId37"/>
    <p:sldId id="377" r:id="rId38"/>
    <p:sldId id="380" r:id="rId39"/>
    <p:sldId id="370" r:id="rId40"/>
    <p:sldId id="365" r:id="rId41"/>
    <p:sldId id="333" r:id="rId42"/>
    <p:sldId id="335" r:id="rId43"/>
    <p:sldId id="376" r:id="rId44"/>
    <p:sldId id="307" r:id="rId45"/>
    <p:sldId id="258" r:id="rId46"/>
    <p:sldId id="369" r:id="rId47"/>
  </p:sldIdLst>
  <p:sldSz cx="12192000" cy="6858000"/>
  <p:notesSz cx="6858000" cy="9144000"/>
  <p:custDataLst>
    <p:tags r:id="rId50"/>
  </p:custDataLst>
  <p:defaultTex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00B86E"/>
    <a:srgbClr val="D6D6D6"/>
    <a:srgbClr val="C0FDEC"/>
    <a:srgbClr val="D1FBEC"/>
    <a:srgbClr val="BFFDEB"/>
    <a:srgbClr val="00A76D"/>
    <a:srgbClr val="002F34"/>
    <a:srgbClr val="FBDAC9"/>
    <a:srgbClr val="00B86F"/>
    <a:srgbClr val="F9C0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70B2CE6-F2AE-924E-93F0-7D900DFDF595}" v="1" dt="2025-02-16T14:22:57.67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363"/>
    <p:restoredTop sz="94660"/>
  </p:normalViewPr>
  <p:slideViewPr>
    <p:cSldViewPr snapToGrid="0">
      <p:cViewPr>
        <p:scale>
          <a:sx n="192" d="100"/>
          <a:sy n="192" d="100"/>
        </p:scale>
        <p:origin x="1264" y="256"/>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tags" Target="tags/tag1.xml"/><Relationship Id="rId55"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notesMaster" Target="notesMasters/notesMaster1.xml"/><Relationship Id="rId8" Type="http://schemas.openxmlformats.org/officeDocument/2006/relationships/slide" Target="slides/slide1.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242A32D-F7D1-BE4D-B4C0-4A8A8EA3DEF1}" type="doc">
      <dgm:prSet loTypeId="urn:microsoft.com/office/officeart/2005/8/layout/hierarchy1" loCatId="" qsTypeId="urn:microsoft.com/office/officeart/2005/8/quickstyle/simple1" qsCatId="simple" csTypeId="urn:microsoft.com/office/officeart/2005/8/colors/accent1_2" csCatId="accent1" phldr="1"/>
      <dgm:spPr/>
      <dgm:t>
        <a:bodyPr/>
        <a:lstStyle/>
        <a:p>
          <a:endParaRPr lang="en-GB"/>
        </a:p>
      </dgm:t>
    </dgm:pt>
    <dgm:pt modelId="{E2EB2C4F-7726-D043-840B-2F83FB4CCCE0}">
      <dgm:prSet phldrT="[Text]"/>
      <dgm:spPr/>
      <dgm:t>
        <a:bodyPr/>
        <a:lstStyle/>
        <a:p>
          <a:r>
            <a:rPr lang="en-GB">
              <a:solidFill>
                <a:schemeClr val="tx1">
                  <a:lumMod val="75000"/>
                  <a:lumOff val="25000"/>
                </a:schemeClr>
              </a:solidFill>
            </a:rPr>
            <a:t>Eco-design requirements (§ 5)</a:t>
          </a:r>
        </a:p>
      </dgm:t>
    </dgm:pt>
    <dgm:pt modelId="{003A258B-3348-3E47-9E34-CD034AA779D0}" type="parTrans" cxnId="{0BD02E03-3371-3448-AB03-A9A39F19F067}">
      <dgm:prSet/>
      <dgm:spPr/>
      <dgm:t>
        <a:bodyPr/>
        <a:lstStyle/>
        <a:p>
          <a:endParaRPr lang="en-GB"/>
        </a:p>
      </dgm:t>
    </dgm:pt>
    <dgm:pt modelId="{4B3C498D-C258-5B4B-99A8-E7A5BA7A6707}" type="sibTrans" cxnId="{0BD02E03-3371-3448-AB03-A9A39F19F067}">
      <dgm:prSet/>
      <dgm:spPr/>
      <dgm:t>
        <a:bodyPr/>
        <a:lstStyle/>
        <a:p>
          <a:endParaRPr lang="en-GB"/>
        </a:p>
      </dgm:t>
    </dgm:pt>
    <dgm:pt modelId="{41C93AC5-37FF-5E4D-BF2D-2C7640CB4504}">
      <dgm:prSet phldrT="[Text]"/>
      <dgm:spPr/>
      <dgm:t>
        <a:bodyPr/>
        <a:lstStyle/>
        <a:p>
          <a:r>
            <a:rPr lang="en-GB">
              <a:solidFill>
                <a:schemeClr val="tx1">
                  <a:lumMod val="75000"/>
                  <a:lumOff val="25000"/>
                </a:schemeClr>
              </a:solidFill>
            </a:rPr>
            <a:t>Performance Requirements  (§ 6)</a:t>
          </a:r>
        </a:p>
      </dgm:t>
    </dgm:pt>
    <dgm:pt modelId="{1A438F78-AAEE-4F4C-A901-35E68B86736A}" type="parTrans" cxnId="{757D7FBD-D2E8-B64F-B388-A9447A2D3577}">
      <dgm:prSet/>
      <dgm:spPr/>
      <dgm:t>
        <a:bodyPr/>
        <a:lstStyle/>
        <a:p>
          <a:endParaRPr lang="en-GB"/>
        </a:p>
      </dgm:t>
    </dgm:pt>
    <dgm:pt modelId="{435B2C74-AA3E-D24F-9765-284E744EF9A2}" type="sibTrans" cxnId="{757D7FBD-D2E8-B64F-B388-A9447A2D3577}">
      <dgm:prSet/>
      <dgm:spPr/>
      <dgm:t>
        <a:bodyPr/>
        <a:lstStyle/>
        <a:p>
          <a:endParaRPr lang="en-GB"/>
        </a:p>
      </dgm:t>
    </dgm:pt>
    <dgm:pt modelId="{18A24C99-B59A-0148-AF4D-AF1EB91F2853}">
      <dgm:prSet phldrT="[Text]"/>
      <dgm:spPr/>
      <dgm:t>
        <a:bodyPr/>
        <a:lstStyle/>
        <a:p>
          <a:r>
            <a:rPr lang="en-GB">
              <a:solidFill>
                <a:schemeClr val="tx1">
                  <a:lumMod val="75000"/>
                  <a:lumOff val="25000"/>
                </a:schemeClr>
              </a:solidFill>
            </a:rPr>
            <a:t>Information Requirements  (§ 7)</a:t>
          </a:r>
        </a:p>
      </dgm:t>
    </dgm:pt>
    <dgm:pt modelId="{4C3F0652-605D-734A-AABA-EF911FB52AC0}" type="parTrans" cxnId="{A9B80772-BF15-D349-A8C0-30FB7AC519D8}">
      <dgm:prSet/>
      <dgm:spPr/>
      <dgm:t>
        <a:bodyPr/>
        <a:lstStyle/>
        <a:p>
          <a:endParaRPr lang="en-GB"/>
        </a:p>
      </dgm:t>
    </dgm:pt>
    <dgm:pt modelId="{B73C22E6-02BB-8346-8C6E-7938A35A18C1}" type="sibTrans" cxnId="{A9B80772-BF15-D349-A8C0-30FB7AC519D8}">
      <dgm:prSet/>
      <dgm:spPr/>
      <dgm:t>
        <a:bodyPr/>
        <a:lstStyle/>
        <a:p>
          <a:endParaRPr lang="en-GB"/>
        </a:p>
      </dgm:t>
    </dgm:pt>
    <dgm:pt modelId="{72F35F00-0CBB-2B48-B5E6-12D08BAA0535}">
      <dgm:prSet phldrT="[Text]"/>
      <dgm:spPr/>
      <dgm:t>
        <a:bodyPr/>
        <a:lstStyle/>
        <a:p>
          <a:r>
            <a:rPr lang="en-GB">
              <a:solidFill>
                <a:schemeClr val="tx1">
                  <a:lumMod val="75000"/>
                  <a:lumOff val="25000"/>
                </a:schemeClr>
              </a:solidFill>
            </a:rPr>
            <a:t>Digital Product Passport (§ 9)</a:t>
          </a:r>
        </a:p>
      </dgm:t>
    </dgm:pt>
    <dgm:pt modelId="{84B54574-162F-4D49-ABF3-4369BE756DE5}" type="parTrans" cxnId="{2BE81680-8F17-E149-91E6-C49FA9AE8ED9}">
      <dgm:prSet/>
      <dgm:spPr/>
      <dgm:t>
        <a:bodyPr/>
        <a:lstStyle/>
        <a:p>
          <a:endParaRPr lang="en-GB"/>
        </a:p>
      </dgm:t>
    </dgm:pt>
    <dgm:pt modelId="{0BCA6345-1E70-DC41-A4CD-95AE7521A2A6}" type="sibTrans" cxnId="{2BE81680-8F17-E149-91E6-C49FA9AE8ED9}">
      <dgm:prSet/>
      <dgm:spPr/>
      <dgm:t>
        <a:bodyPr/>
        <a:lstStyle/>
        <a:p>
          <a:endParaRPr lang="en-GB"/>
        </a:p>
      </dgm:t>
    </dgm:pt>
    <dgm:pt modelId="{1BEFD2E5-17D9-0C43-974C-2E09393BC832}" type="pres">
      <dgm:prSet presAssocID="{1242A32D-F7D1-BE4D-B4C0-4A8A8EA3DEF1}" presName="hierChild1" presStyleCnt="0">
        <dgm:presLayoutVars>
          <dgm:chPref val="1"/>
          <dgm:dir/>
          <dgm:animOne val="branch"/>
          <dgm:animLvl val="lvl"/>
          <dgm:resizeHandles/>
        </dgm:presLayoutVars>
      </dgm:prSet>
      <dgm:spPr/>
    </dgm:pt>
    <dgm:pt modelId="{74FF8340-53B4-9A48-A9AF-DD61897CB319}" type="pres">
      <dgm:prSet presAssocID="{E2EB2C4F-7726-D043-840B-2F83FB4CCCE0}" presName="hierRoot1" presStyleCnt="0"/>
      <dgm:spPr/>
    </dgm:pt>
    <dgm:pt modelId="{4C30E1AD-240D-7847-8156-4F7DAC3D275A}" type="pres">
      <dgm:prSet presAssocID="{E2EB2C4F-7726-D043-840B-2F83FB4CCCE0}" presName="composite" presStyleCnt="0"/>
      <dgm:spPr/>
    </dgm:pt>
    <dgm:pt modelId="{58A856D9-AA4F-0A4C-8BD9-6306C2E4F809}" type="pres">
      <dgm:prSet presAssocID="{E2EB2C4F-7726-D043-840B-2F83FB4CCCE0}" presName="background" presStyleLbl="node0" presStyleIdx="0" presStyleCnt="1"/>
      <dgm:spPr/>
    </dgm:pt>
    <dgm:pt modelId="{8FADE9F0-F1B7-6F41-ACA9-DFF88B98FD8A}" type="pres">
      <dgm:prSet presAssocID="{E2EB2C4F-7726-D043-840B-2F83FB4CCCE0}" presName="text" presStyleLbl="fgAcc0" presStyleIdx="0" presStyleCnt="1">
        <dgm:presLayoutVars>
          <dgm:chPref val="3"/>
        </dgm:presLayoutVars>
      </dgm:prSet>
      <dgm:spPr/>
    </dgm:pt>
    <dgm:pt modelId="{7EF4ABE8-46F6-9245-8377-CACDA0652189}" type="pres">
      <dgm:prSet presAssocID="{E2EB2C4F-7726-D043-840B-2F83FB4CCCE0}" presName="hierChild2" presStyleCnt="0"/>
      <dgm:spPr/>
    </dgm:pt>
    <dgm:pt modelId="{4C04E066-FBAB-7742-BB5D-150395DACBA4}" type="pres">
      <dgm:prSet presAssocID="{1A438F78-AAEE-4F4C-A901-35E68B86736A}" presName="Name10" presStyleLbl="parChTrans1D2" presStyleIdx="0" presStyleCnt="2"/>
      <dgm:spPr/>
    </dgm:pt>
    <dgm:pt modelId="{2037D31B-27EB-F546-B692-125E455D4D2F}" type="pres">
      <dgm:prSet presAssocID="{41C93AC5-37FF-5E4D-BF2D-2C7640CB4504}" presName="hierRoot2" presStyleCnt="0"/>
      <dgm:spPr/>
    </dgm:pt>
    <dgm:pt modelId="{F84DB5FD-6A48-EE4A-89AC-A62A82162116}" type="pres">
      <dgm:prSet presAssocID="{41C93AC5-37FF-5E4D-BF2D-2C7640CB4504}" presName="composite2" presStyleCnt="0"/>
      <dgm:spPr/>
    </dgm:pt>
    <dgm:pt modelId="{47757800-D8C6-5540-8881-39D1EA32BD4E}" type="pres">
      <dgm:prSet presAssocID="{41C93AC5-37FF-5E4D-BF2D-2C7640CB4504}" presName="background2" presStyleLbl="node2" presStyleIdx="0" presStyleCnt="2"/>
      <dgm:spPr/>
    </dgm:pt>
    <dgm:pt modelId="{DC4B99C3-3A76-6D40-9D81-31D0056D9DB5}" type="pres">
      <dgm:prSet presAssocID="{41C93AC5-37FF-5E4D-BF2D-2C7640CB4504}" presName="text2" presStyleLbl="fgAcc2" presStyleIdx="0" presStyleCnt="2">
        <dgm:presLayoutVars>
          <dgm:chPref val="3"/>
        </dgm:presLayoutVars>
      </dgm:prSet>
      <dgm:spPr/>
    </dgm:pt>
    <dgm:pt modelId="{08BA9AB3-1880-DE49-9AB0-F99A827C2E6F}" type="pres">
      <dgm:prSet presAssocID="{41C93AC5-37FF-5E4D-BF2D-2C7640CB4504}" presName="hierChild3" presStyleCnt="0"/>
      <dgm:spPr/>
    </dgm:pt>
    <dgm:pt modelId="{F7A0AF9A-00B7-7845-864B-2E88615B5B38}" type="pres">
      <dgm:prSet presAssocID="{4C3F0652-605D-734A-AABA-EF911FB52AC0}" presName="Name10" presStyleLbl="parChTrans1D2" presStyleIdx="1" presStyleCnt="2"/>
      <dgm:spPr/>
    </dgm:pt>
    <dgm:pt modelId="{749C8287-5152-8A49-8404-EA93E27334C8}" type="pres">
      <dgm:prSet presAssocID="{18A24C99-B59A-0148-AF4D-AF1EB91F2853}" presName="hierRoot2" presStyleCnt="0"/>
      <dgm:spPr/>
    </dgm:pt>
    <dgm:pt modelId="{33726289-99AE-F140-B731-B539F68B1370}" type="pres">
      <dgm:prSet presAssocID="{18A24C99-B59A-0148-AF4D-AF1EB91F2853}" presName="composite2" presStyleCnt="0"/>
      <dgm:spPr/>
    </dgm:pt>
    <dgm:pt modelId="{51BF2F60-CF71-7A4E-8C74-1D454CD9D8D3}" type="pres">
      <dgm:prSet presAssocID="{18A24C99-B59A-0148-AF4D-AF1EB91F2853}" presName="background2" presStyleLbl="node2" presStyleIdx="1" presStyleCnt="2"/>
      <dgm:spPr/>
    </dgm:pt>
    <dgm:pt modelId="{2033B785-83B4-D844-9E31-BC74BFB556B3}" type="pres">
      <dgm:prSet presAssocID="{18A24C99-B59A-0148-AF4D-AF1EB91F2853}" presName="text2" presStyleLbl="fgAcc2" presStyleIdx="1" presStyleCnt="2">
        <dgm:presLayoutVars>
          <dgm:chPref val="3"/>
        </dgm:presLayoutVars>
      </dgm:prSet>
      <dgm:spPr/>
    </dgm:pt>
    <dgm:pt modelId="{75692AEF-DFDE-4443-91D4-9A2E5216CF7C}" type="pres">
      <dgm:prSet presAssocID="{18A24C99-B59A-0148-AF4D-AF1EB91F2853}" presName="hierChild3" presStyleCnt="0"/>
      <dgm:spPr/>
    </dgm:pt>
    <dgm:pt modelId="{66ED948A-6F4E-C442-B9CE-955AB0BA0191}" type="pres">
      <dgm:prSet presAssocID="{84B54574-162F-4D49-ABF3-4369BE756DE5}" presName="Name17" presStyleLbl="parChTrans1D3" presStyleIdx="0" presStyleCnt="1"/>
      <dgm:spPr/>
    </dgm:pt>
    <dgm:pt modelId="{29539790-BA4C-5241-9446-86F3B938A0DA}" type="pres">
      <dgm:prSet presAssocID="{72F35F00-0CBB-2B48-B5E6-12D08BAA0535}" presName="hierRoot3" presStyleCnt="0"/>
      <dgm:spPr/>
    </dgm:pt>
    <dgm:pt modelId="{E31D9559-46D8-F648-A92E-33039DBDC873}" type="pres">
      <dgm:prSet presAssocID="{72F35F00-0CBB-2B48-B5E6-12D08BAA0535}" presName="composite3" presStyleCnt="0"/>
      <dgm:spPr/>
    </dgm:pt>
    <dgm:pt modelId="{B070EA87-23EF-7548-AD76-06EF6DE4FA13}" type="pres">
      <dgm:prSet presAssocID="{72F35F00-0CBB-2B48-B5E6-12D08BAA0535}" presName="background3" presStyleLbl="node3" presStyleIdx="0" presStyleCnt="1"/>
      <dgm:spPr/>
    </dgm:pt>
    <dgm:pt modelId="{BF121FA3-8B58-A34D-A660-BFB23B0E7A54}" type="pres">
      <dgm:prSet presAssocID="{72F35F00-0CBB-2B48-B5E6-12D08BAA0535}" presName="text3" presStyleLbl="fgAcc3" presStyleIdx="0" presStyleCnt="1">
        <dgm:presLayoutVars>
          <dgm:chPref val="3"/>
        </dgm:presLayoutVars>
      </dgm:prSet>
      <dgm:spPr/>
    </dgm:pt>
    <dgm:pt modelId="{65834799-5A47-5746-9E2D-C853E807D378}" type="pres">
      <dgm:prSet presAssocID="{72F35F00-0CBB-2B48-B5E6-12D08BAA0535}" presName="hierChild4" presStyleCnt="0"/>
      <dgm:spPr/>
    </dgm:pt>
  </dgm:ptLst>
  <dgm:cxnLst>
    <dgm:cxn modelId="{0BD02E03-3371-3448-AB03-A9A39F19F067}" srcId="{1242A32D-F7D1-BE4D-B4C0-4A8A8EA3DEF1}" destId="{E2EB2C4F-7726-D043-840B-2F83FB4CCCE0}" srcOrd="0" destOrd="0" parTransId="{003A258B-3348-3E47-9E34-CD034AA779D0}" sibTransId="{4B3C498D-C258-5B4B-99A8-E7A5BA7A6707}"/>
    <dgm:cxn modelId="{6283A706-0EB1-AF42-8287-5E728383E6C3}" type="presOf" srcId="{18A24C99-B59A-0148-AF4D-AF1EB91F2853}" destId="{2033B785-83B4-D844-9E31-BC74BFB556B3}" srcOrd="0" destOrd="0" presId="urn:microsoft.com/office/officeart/2005/8/layout/hierarchy1"/>
    <dgm:cxn modelId="{C9B27932-4777-DF45-B894-B8F6E9FB3511}" type="presOf" srcId="{72F35F00-0CBB-2B48-B5E6-12D08BAA0535}" destId="{BF121FA3-8B58-A34D-A660-BFB23B0E7A54}" srcOrd="0" destOrd="0" presId="urn:microsoft.com/office/officeart/2005/8/layout/hierarchy1"/>
    <dgm:cxn modelId="{F942283C-E1E1-344A-895D-4153E9AA7566}" type="presOf" srcId="{1A438F78-AAEE-4F4C-A901-35E68B86736A}" destId="{4C04E066-FBAB-7742-BB5D-150395DACBA4}" srcOrd="0" destOrd="0" presId="urn:microsoft.com/office/officeart/2005/8/layout/hierarchy1"/>
    <dgm:cxn modelId="{A9B80772-BF15-D349-A8C0-30FB7AC519D8}" srcId="{E2EB2C4F-7726-D043-840B-2F83FB4CCCE0}" destId="{18A24C99-B59A-0148-AF4D-AF1EB91F2853}" srcOrd="1" destOrd="0" parTransId="{4C3F0652-605D-734A-AABA-EF911FB52AC0}" sibTransId="{B73C22E6-02BB-8346-8C6E-7938A35A18C1}"/>
    <dgm:cxn modelId="{2BE81680-8F17-E149-91E6-C49FA9AE8ED9}" srcId="{18A24C99-B59A-0148-AF4D-AF1EB91F2853}" destId="{72F35F00-0CBB-2B48-B5E6-12D08BAA0535}" srcOrd="0" destOrd="0" parTransId="{84B54574-162F-4D49-ABF3-4369BE756DE5}" sibTransId="{0BCA6345-1E70-DC41-A4CD-95AE7521A2A6}"/>
    <dgm:cxn modelId="{BB8A82A0-8891-BD44-9480-2C2C2B58A57B}" type="presOf" srcId="{84B54574-162F-4D49-ABF3-4369BE756DE5}" destId="{66ED948A-6F4E-C442-B9CE-955AB0BA0191}" srcOrd="0" destOrd="0" presId="urn:microsoft.com/office/officeart/2005/8/layout/hierarchy1"/>
    <dgm:cxn modelId="{757D7FBD-D2E8-B64F-B388-A9447A2D3577}" srcId="{E2EB2C4F-7726-D043-840B-2F83FB4CCCE0}" destId="{41C93AC5-37FF-5E4D-BF2D-2C7640CB4504}" srcOrd="0" destOrd="0" parTransId="{1A438F78-AAEE-4F4C-A901-35E68B86736A}" sibTransId="{435B2C74-AA3E-D24F-9765-284E744EF9A2}"/>
    <dgm:cxn modelId="{EA91D3C1-2CF9-3147-BBEE-CDA9C3A1A0F0}" type="presOf" srcId="{E2EB2C4F-7726-D043-840B-2F83FB4CCCE0}" destId="{8FADE9F0-F1B7-6F41-ACA9-DFF88B98FD8A}" srcOrd="0" destOrd="0" presId="urn:microsoft.com/office/officeart/2005/8/layout/hierarchy1"/>
    <dgm:cxn modelId="{1D8B08D1-17DA-BC42-B1DE-8E88320E0234}" type="presOf" srcId="{4C3F0652-605D-734A-AABA-EF911FB52AC0}" destId="{F7A0AF9A-00B7-7845-864B-2E88615B5B38}" srcOrd="0" destOrd="0" presId="urn:microsoft.com/office/officeart/2005/8/layout/hierarchy1"/>
    <dgm:cxn modelId="{E41BDFD3-C5D3-8C43-A6C8-961EA8601B60}" type="presOf" srcId="{41C93AC5-37FF-5E4D-BF2D-2C7640CB4504}" destId="{DC4B99C3-3A76-6D40-9D81-31D0056D9DB5}" srcOrd="0" destOrd="0" presId="urn:microsoft.com/office/officeart/2005/8/layout/hierarchy1"/>
    <dgm:cxn modelId="{C2EF96DF-5F9E-1C41-B1C0-6D457A39CC27}" type="presOf" srcId="{1242A32D-F7D1-BE4D-B4C0-4A8A8EA3DEF1}" destId="{1BEFD2E5-17D9-0C43-974C-2E09393BC832}" srcOrd="0" destOrd="0" presId="urn:microsoft.com/office/officeart/2005/8/layout/hierarchy1"/>
    <dgm:cxn modelId="{9EB2BDA3-A6B6-3140-9F24-0E1F1D2C70D1}" type="presParOf" srcId="{1BEFD2E5-17D9-0C43-974C-2E09393BC832}" destId="{74FF8340-53B4-9A48-A9AF-DD61897CB319}" srcOrd="0" destOrd="0" presId="urn:microsoft.com/office/officeart/2005/8/layout/hierarchy1"/>
    <dgm:cxn modelId="{C08CAF9F-04FD-8C4A-9255-6885A5793D32}" type="presParOf" srcId="{74FF8340-53B4-9A48-A9AF-DD61897CB319}" destId="{4C30E1AD-240D-7847-8156-4F7DAC3D275A}" srcOrd="0" destOrd="0" presId="urn:microsoft.com/office/officeart/2005/8/layout/hierarchy1"/>
    <dgm:cxn modelId="{143F8221-F580-0F4E-8713-756DCF84AAE2}" type="presParOf" srcId="{4C30E1AD-240D-7847-8156-4F7DAC3D275A}" destId="{58A856D9-AA4F-0A4C-8BD9-6306C2E4F809}" srcOrd="0" destOrd="0" presId="urn:microsoft.com/office/officeart/2005/8/layout/hierarchy1"/>
    <dgm:cxn modelId="{929EE582-B557-F44E-9503-8C1543DAE6FE}" type="presParOf" srcId="{4C30E1AD-240D-7847-8156-4F7DAC3D275A}" destId="{8FADE9F0-F1B7-6F41-ACA9-DFF88B98FD8A}" srcOrd="1" destOrd="0" presId="urn:microsoft.com/office/officeart/2005/8/layout/hierarchy1"/>
    <dgm:cxn modelId="{9F3FC458-D83D-1344-8FB6-2C8B6B0DEBA7}" type="presParOf" srcId="{74FF8340-53B4-9A48-A9AF-DD61897CB319}" destId="{7EF4ABE8-46F6-9245-8377-CACDA0652189}" srcOrd="1" destOrd="0" presId="urn:microsoft.com/office/officeart/2005/8/layout/hierarchy1"/>
    <dgm:cxn modelId="{0901981E-AB48-E449-86C4-816DB776DE28}" type="presParOf" srcId="{7EF4ABE8-46F6-9245-8377-CACDA0652189}" destId="{4C04E066-FBAB-7742-BB5D-150395DACBA4}" srcOrd="0" destOrd="0" presId="urn:microsoft.com/office/officeart/2005/8/layout/hierarchy1"/>
    <dgm:cxn modelId="{ACC6B798-BD71-D94D-99BC-5E5183C3A641}" type="presParOf" srcId="{7EF4ABE8-46F6-9245-8377-CACDA0652189}" destId="{2037D31B-27EB-F546-B692-125E455D4D2F}" srcOrd="1" destOrd="0" presId="urn:microsoft.com/office/officeart/2005/8/layout/hierarchy1"/>
    <dgm:cxn modelId="{382616C4-C143-704F-A0DF-59B0D20A14FE}" type="presParOf" srcId="{2037D31B-27EB-F546-B692-125E455D4D2F}" destId="{F84DB5FD-6A48-EE4A-89AC-A62A82162116}" srcOrd="0" destOrd="0" presId="urn:microsoft.com/office/officeart/2005/8/layout/hierarchy1"/>
    <dgm:cxn modelId="{FAB2F8FA-7FF1-AA44-9670-6D63397AA5D9}" type="presParOf" srcId="{F84DB5FD-6A48-EE4A-89AC-A62A82162116}" destId="{47757800-D8C6-5540-8881-39D1EA32BD4E}" srcOrd="0" destOrd="0" presId="urn:microsoft.com/office/officeart/2005/8/layout/hierarchy1"/>
    <dgm:cxn modelId="{40468211-F49F-AC41-83B4-C56ADE4DB386}" type="presParOf" srcId="{F84DB5FD-6A48-EE4A-89AC-A62A82162116}" destId="{DC4B99C3-3A76-6D40-9D81-31D0056D9DB5}" srcOrd="1" destOrd="0" presId="urn:microsoft.com/office/officeart/2005/8/layout/hierarchy1"/>
    <dgm:cxn modelId="{E3C29DB3-C4CB-0F43-82DF-20262FC5E820}" type="presParOf" srcId="{2037D31B-27EB-F546-B692-125E455D4D2F}" destId="{08BA9AB3-1880-DE49-9AB0-F99A827C2E6F}" srcOrd="1" destOrd="0" presId="urn:microsoft.com/office/officeart/2005/8/layout/hierarchy1"/>
    <dgm:cxn modelId="{8532AAD6-52C7-A148-9618-5D0FBE47AE3D}" type="presParOf" srcId="{7EF4ABE8-46F6-9245-8377-CACDA0652189}" destId="{F7A0AF9A-00B7-7845-864B-2E88615B5B38}" srcOrd="2" destOrd="0" presId="urn:microsoft.com/office/officeart/2005/8/layout/hierarchy1"/>
    <dgm:cxn modelId="{0F61D0AF-1B93-3743-9A6F-CB4A5C112BDF}" type="presParOf" srcId="{7EF4ABE8-46F6-9245-8377-CACDA0652189}" destId="{749C8287-5152-8A49-8404-EA93E27334C8}" srcOrd="3" destOrd="0" presId="urn:microsoft.com/office/officeart/2005/8/layout/hierarchy1"/>
    <dgm:cxn modelId="{7C29DE46-EE66-F249-860A-88DAB3AB23C7}" type="presParOf" srcId="{749C8287-5152-8A49-8404-EA93E27334C8}" destId="{33726289-99AE-F140-B731-B539F68B1370}" srcOrd="0" destOrd="0" presId="urn:microsoft.com/office/officeart/2005/8/layout/hierarchy1"/>
    <dgm:cxn modelId="{E2E1F4CB-E5FF-DA48-930F-1E09AE45A67F}" type="presParOf" srcId="{33726289-99AE-F140-B731-B539F68B1370}" destId="{51BF2F60-CF71-7A4E-8C74-1D454CD9D8D3}" srcOrd="0" destOrd="0" presId="urn:microsoft.com/office/officeart/2005/8/layout/hierarchy1"/>
    <dgm:cxn modelId="{D77F652D-A18B-3A4A-8284-B9C58E671F32}" type="presParOf" srcId="{33726289-99AE-F140-B731-B539F68B1370}" destId="{2033B785-83B4-D844-9E31-BC74BFB556B3}" srcOrd="1" destOrd="0" presId="urn:microsoft.com/office/officeart/2005/8/layout/hierarchy1"/>
    <dgm:cxn modelId="{FAB5BDC4-37E8-344B-A065-777CC11A3CFF}" type="presParOf" srcId="{749C8287-5152-8A49-8404-EA93E27334C8}" destId="{75692AEF-DFDE-4443-91D4-9A2E5216CF7C}" srcOrd="1" destOrd="0" presId="urn:microsoft.com/office/officeart/2005/8/layout/hierarchy1"/>
    <dgm:cxn modelId="{F6322716-2541-0E4F-AF43-45E6EB5883A2}" type="presParOf" srcId="{75692AEF-DFDE-4443-91D4-9A2E5216CF7C}" destId="{66ED948A-6F4E-C442-B9CE-955AB0BA0191}" srcOrd="0" destOrd="0" presId="urn:microsoft.com/office/officeart/2005/8/layout/hierarchy1"/>
    <dgm:cxn modelId="{99A8283E-BBEB-464E-B3C6-A1985936D37A}" type="presParOf" srcId="{75692AEF-DFDE-4443-91D4-9A2E5216CF7C}" destId="{29539790-BA4C-5241-9446-86F3B938A0DA}" srcOrd="1" destOrd="0" presId="urn:microsoft.com/office/officeart/2005/8/layout/hierarchy1"/>
    <dgm:cxn modelId="{9EE3E925-C924-124F-802B-432398C46FAD}" type="presParOf" srcId="{29539790-BA4C-5241-9446-86F3B938A0DA}" destId="{E31D9559-46D8-F648-A92E-33039DBDC873}" srcOrd="0" destOrd="0" presId="urn:microsoft.com/office/officeart/2005/8/layout/hierarchy1"/>
    <dgm:cxn modelId="{3AC61903-F7A8-0B4D-B8A0-980D098747CD}" type="presParOf" srcId="{E31D9559-46D8-F648-A92E-33039DBDC873}" destId="{B070EA87-23EF-7548-AD76-06EF6DE4FA13}" srcOrd="0" destOrd="0" presId="urn:microsoft.com/office/officeart/2005/8/layout/hierarchy1"/>
    <dgm:cxn modelId="{9529D557-7D0E-C443-843B-36AB52F24225}" type="presParOf" srcId="{E31D9559-46D8-F648-A92E-33039DBDC873}" destId="{BF121FA3-8B58-A34D-A660-BFB23B0E7A54}" srcOrd="1" destOrd="0" presId="urn:microsoft.com/office/officeart/2005/8/layout/hierarchy1"/>
    <dgm:cxn modelId="{34EF7D76-423B-7C40-8740-8DD620BDB302}" type="presParOf" srcId="{29539790-BA4C-5241-9446-86F3B938A0DA}" destId="{65834799-5A47-5746-9E2D-C853E807D378}"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ED948A-6F4E-C442-B9CE-955AB0BA0191}">
      <dsp:nvSpPr>
        <dsp:cNvPr id="0" name=""/>
        <dsp:cNvSpPr/>
      </dsp:nvSpPr>
      <dsp:spPr>
        <a:xfrm>
          <a:off x="5179139" y="3262482"/>
          <a:ext cx="91440" cy="607709"/>
        </a:xfrm>
        <a:custGeom>
          <a:avLst/>
          <a:gdLst/>
          <a:ahLst/>
          <a:cxnLst/>
          <a:rect l="0" t="0" r="0" b="0"/>
          <a:pathLst>
            <a:path>
              <a:moveTo>
                <a:pt x="45720" y="0"/>
              </a:moveTo>
              <a:lnTo>
                <a:pt x="45720" y="607709"/>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7A0AF9A-00B7-7845-864B-2E88615B5B38}">
      <dsp:nvSpPr>
        <dsp:cNvPr id="0" name=""/>
        <dsp:cNvSpPr/>
      </dsp:nvSpPr>
      <dsp:spPr>
        <a:xfrm>
          <a:off x="3947914" y="1327910"/>
          <a:ext cx="1276945" cy="607709"/>
        </a:xfrm>
        <a:custGeom>
          <a:avLst/>
          <a:gdLst/>
          <a:ahLst/>
          <a:cxnLst/>
          <a:rect l="0" t="0" r="0" b="0"/>
          <a:pathLst>
            <a:path>
              <a:moveTo>
                <a:pt x="0" y="0"/>
              </a:moveTo>
              <a:lnTo>
                <a:pt x="0" y="414136"/>
              </a:lnTo>
              <a:lnTo>
                <a:pt x="1276945" y="414136"/>
              </a:lnTo>
              <a:lnTo>
                <a:pt x="1276945" y="60770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C04E066-FBAB-7742-BB5D-150395DACBA4}">
      <dsp:nvSpPr>
        <dsp:cNvPr id="0" name=""/>
        <dsp:cNvSpPr/>
      </dsp:nvSpPr>
      <dsp:spPr>
        <a:xfrm>
          <a:off x="2670968" y="1327910"/>
          <a:ext cx="1276945" cy="607709"/>
        </a:xfrm>
        <a:custGeom>
          <a:avLst/>
          <a:gdLst/>
          <a:ahLst/>
          <a:cxnLst/>
          <a:rect l="0" t="0" r="0" b="0"/>
          <a:pathLst>
            <a:path>
              <a:moveTo>
                <a:pt x="1276945" y="0"/>
              </a:moveTo>
              <a:lnTo>
                <a:pt x="1276945" y="414136"/>
              </a:lnTo>
              <a:lnTo>
                <a:pt x="0" y="414136"/>
              </a:lnTo>
              <a:lnTo>
                <a:pt x="0" y="60770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8A856D9-AA4F-0A4C-8BD9-6306C2E4F809}">
      <dsp:nvSpPr>
        <dsp:cNvPr id="0" name=""/>
        <dsp:cNvSpPr/>
      </dsp:nvSpPr>
      <dsp:spPr>
        <a:xfrm>
          <a:off x="2903140" y="1048"/>
          <a:ext cx="2089546" cy="132686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FADE9F0-F1B7-6F41-ACA9-DFF88B98FD8A}">
      <dsp:nvSpPr>
        <dsp:cNvPr id="0" name=""/>
        <dsp:cNvSpPr/>
      </dsp:nvSpPr>
      <dsp:spPr>
        <a:xfrm>
          <a:off x="3135312" y="221611"/>
          <a:ext cx="2089546" cy="132686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GB" sz="2300" kern="1200">
              <a:solidFill>
                <a:schemeClr val="tx1">
                  <a:lumMod val="75000"/>
                  <a:lumOff val="25000"/>
                </a:schemeClr>
              </a:solidFill>
            </a:rPr>
            <a:t>Eco-design requirements (§ 5)</a:t>
          </a:r>
        </a:p>
      </dsp:txBody>
      <dsp:txXfrm>
        <a:off x="3174174" y="260473"/>
        <a:ext cx="2011822" cy="1249138"/>
      </dsp:txXfrm>
    </dsp:sp>
    <dsp:sp modelId="{47757800-D8C6-5540-8881-39D1EA32BD4E}">
      <dsp:nvSpPr>
        <dsp:cNvPr id="0" name=""/>
        <dsp:cNvSpPr/>
      </dsp:nvSpPr>
      <dsp:spPr>
        <a:xfrm>
          <a:off x="1626195" y="1935620"/>
          <a:ext cx="2089546" cy="132686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C4B99C3-3A76-6D40-9D81-31D0056D9DB5}">
      <dsp:nvSpPr>
        <dsp:cNvPr id="0" name=""/>
        <dsp:cNvSpPr/>
      </dsp:nvSpPr>
      <dsp:spPr>
        <a:xfrm>
          <a:off x="1858367" y="2156184"/>
          <a:ext cx="2089546" cy="132686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GB" sz="2300" kern="1200">
              <a:solidFill>
                <a:schemeClr val="tx1">
                  <a:lumMod val="75000"/>
                  <a:lumOff val="25000"/>
                </a:schemeClr>
              </a:solidFill>
            </a:rPr>
            <a:t>Performance Requirements  (§ 6)</a:t>
          </a:r>
        </a:p>
      </dsp:txBody>
      <dsp:txXfrm>
        <a:off x="1897229" y="2195046"/>
        <a:ext cx="2011822" cy="1249138"/>
      </dsp:txXfrm>
    </dsp:sp>
    <dsp:sp modelId="{51BF2F60-CF71-7A4E-8C74-1D454CD9D8D3}">
      <dsp:nvSpPr>
        <dsp:cNvPr id="0" name=""/>
        <dsp:cNvSpPr/>
      </dsp:nvSpPr>
      <dsp:spPr>
        <a:xfrm>
          <a:off x="4180085" y="1935620"/>
          <a:ext cx="2089546" cy="132686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033B785-83B4-D844-9E31-BC74BFB556B3}">
      <dsp:nvSpPr>
        <dsp:cNvPr id="0" name=""/>
        <dsp:cNvSpPr/>
      </dsp:nvSpPr>
      <dsp:spPr>
        <a:xfrm>
          <a:off x="4412257" y="2156184"/>
          <a:ext cx="2089546" cy="132686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GB" sz="2300" kern="1200">
              <a:solidFill>
                <a:schemeClr val="tx1">
                  <a:lumMod val="75000"/>
                  <a:lumOff val="25000"/>
                </a:schemeClr>
              </a:solidFill>
            </a:rPr>
            <a:t>Information Requirements  (§ 7)</a:t>
          </a:r>
        </a:p>
      </dsp:txBody>
      <dsp:txXfrm>
        <a:off x="4451119" y="2195046"/>
        <a:ext cx="2011822" cy="1249138"/>
      </dsp:txXfrm>
    </dsp:sp>
    <dsp:sp modelId="{B070EA87-23EF-7548-AD76-06EF6DE4FA13}">
      <dsp:nvSpPr>
        <dsp:cNvPr id="0" name=""/>
        <dsp:cNvSpPr/>
      </dsp:nvSpPr>
      <dsp:spPr>
        <a:xfrm>
          <a:off x="4180085" y="3870192"/>
          <a:ext cx="2089546" cy="132686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F121FA3-8B58-A34D-A660-BFB23B0E7A54}">
      <dsp:nvSpPr>
        <dsp:cNvPr id="0" name=""/>
        <dsp:cNvSpPr/>
      </dsp:nvSpPr>
      <dsp:spPr>
        <a:xfrm>
          <a:off x="4412257" y="4090756"/>
          <a:ext cx="2089546" cy="132686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GB" sz="2300" kern="1200">
              <a:solidFill>
                <a:schemeClr val="tx1">
                  <a:lumMod val="75000"/>
                  <a:lumOff val="25000"/>
                </a:schemeClr>
              </a:solidFill>
            </a:rPr>
            <a:t>Digital Product Passport (§ 9)</a:t>
          </a:r>
        </a:p>
      </dsp:txBody>
      <dsp:txXfrm>
        <a:off x="4451119" y="4129618"/>
        <a:ext cx="2011822" cy="1249138"/>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CAC6C8EF-CB49-4275-A13C-7D23B207354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A1B4A547-0428-4174-91C1-87DB18F6E73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843078-645D-4158-A787-42F60CFF6D2A}" type="datetimeFigureOut">
              <a:rPr lang="de-DE" smtClean="0"/>
              <a:t>16.02.25</a:t>
            </a:fld>
            <a:endParaRPr lang="de-DE"/>
          </a:p>
        </p:txBody>
      </p:sp>
      <p:sp>
        <p:nvSpPr>
          <p:cNvPr id="4" name="Fußzeilenplatzhalter 3">
            <a:extLst>
              <a:ext uri="{FF2B5EF4-FFF2-40B4-BE49-F238E27FC236}">
                <a16:creationId xmlns:a16="http://schemas.microsoft.com/office/drawing/2014/main" id="{11FA28B1-58A3-494A-988B-FE2E422DB4B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CFFFF7B2-3409-4144-B289-9DD989617FA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67C3DBE-79DB-4D91-9218-7EE4FE497323}" type="slidenum">
              <a:rPr lang="de-DE" smtClean="0"/>
              <a:t>‹#›</a:t>
            </a:fld>
            <a:endParaRPr lang="de-DE"/>
          </a:p>
        </p:txBody>
      </p:sp>
    </p:spTree>
    <p:extLst>
      <p:ext uri="{BB962C8B-B14F-4D97-AF65-F5344CB8AC3E}">
        <p14:creationId xmlns:p14="http://schemas.microsoft.com/office/powerpoint/2010/main" val="41449745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_rels/notesMaster10.xml.rels><?xml version="1.0" encoding="UTF-8" standalone="yes"?>
<Relationships xmlns="http://schemas.openxmlformats.org/package/2006/relationships"><Relationship Id="rId1" Type="http://schemas.openxmlformats.org/officeDocument/2006/relationships/theme" Target="../theme/theme5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486D6B-7251-4AFE-851B-67A0DE1DAFFC}" type="datetimeFigureOut">
              <a:rPr lang="de-DE" smtClean="0"/>
              <a:t>16.02.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A4F46E9-7904-4FD8-82D0-66E6EAD9EF88}" type="slidenum">
              <a:rPr lang="de-DE" smtClean="0"/>
              <a:t>‹#›</a:t>
            </a:fld>
            <a:endParaRPr lang="de-DE"/>
          </a:p>
        </p:txBody>
      </p:sp>
    </p:spTree>
    <p:extLst>
      <p:ext uri="{BB962C8B-B14F-4D97-AF65-F5344CB8AC3E}">
        <p14:creationId xmlns:p14="http://schemas.microsoft.com/office/powerpoint/2010/main" val="11931743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Masters/notesMaster10.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486D6B-7251-4AFE-851B-67A0DE1DAFFC}" type="datetimeFigureOut">
              <a:rPr lang="de-DE" smtClean="0"/>
              <a:t>15.02.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A4F46E9-7904-4FD8-82D0-66E6EAD9EF88}" type="slidenum">
              <a:rPr lang="de-DE" smtClean="0"/>
              <a:t>‹#›</a:t>
            </a:fld>
            <a:endParaRPr lang="de-DE"/>
          </a:p>
        </p:txBody>
      </p:sp>
    </p:spTree>
    <p:extLst>
      <p:ext uri="{BB962C8B-B14F-4D97-AF65-F5344CB8AC3E}">
        <p14:creationId xmlns:p14="http://schemas.microsoft.com/office/powerpoint/2010/main" val="11931743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0.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obe Stock Image 767626837 licensed </a:t>
            </a:r>
          </a:p>
        </p:txBody>
      </p:sp>
      <p:sp>
        <p:nvSpPr>
          <p:cNvPr id="4" name="Slide Number Placeholder 3"/>
          <p:cNvSpPr>
            <a:spLocks noGrp="1"/>
          </p:cNvSpPr>
          <p:nvPr>
            <p:ph type="sldNum" sz="quarter" idx="5"/>
          </p:nvPr>
        </p:nvSpPr>
        <p:spPr/>
        <p:txBody>
          <a:bodyPr/>
          <a:lstStyle/>
          <a:p>
            <a:fld id="{0A4F46E9-7904-4FD8-82D0-66E6EAD9EF88}" type="slidenum">
              <a:rPr lang="de-DE" smtClean="0"/>
              <a:t>1</a:t>
            </a:fld>
            <a:endParaRPr lang="de-DE"/>
          </a:p>
        </p:txBody>
      </p:sp>
    </p:spTree>
    <p:extLst>
      <p:ext uri="{BB962C8B-B14F-4D97-AF65-F5344CB8AC3E}">
        <p14:creationId xmlns:p14="http://schemas.microsoft.com/office/powerpoint/2010/main" val="8960687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6F490A-71C2-DB41-AE33-1F97C74442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EDA23D-C6CA-5936-DFC9-D56B6A11AE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4A1B74A-D8CC-1011-6F76-5CF5837D16C1}"/>
              </a:ext>
            </a:extLst>
          </p:cNvPr>
          <p:cNvSpPr>
            <a:spLocks noGrp="1"/>
          </p:cNvSpPr>
          <p:nvPr>
            <p:ph type="body" idx="1"/>
          </p:nvPr>
        </p:nvSpPr>
        <p:spPr/>
        <p:txBody>
          <a:bodyPr/>
          <a:lstStyle/>
          <a:p>
            <a:pPr algn="l"/>
            <a:endParaRPr lang="en-US"/>
          </a:p>
        </p:txBody>
      </p:sp>
      <p:sp>
        <p:nvSpPr>
          <p:cNvPr id="4" name="Slide Number Placeholder 3">
            <a:extLst>
              <a:ext uri="{FF2B5EF4-FFF2-40B4-BE49-F238E27FC236}">
                <a16:creationId xmlns:a16="http://schemas.microsoft.com/office/drawing/2014/main" id="{D99DD821-62F6-2B99-C1E2-5C89D9A77BBD}"/>
              </a:ext>
            </a:extLst>
          </p:cNvPr>
          <p:cNvSpPr>
            <a:spLocks noGrp="1"/>
          </p:cNvSpPr>
          <p:nvPr>
            <p:ph type="sldNum" sz="quarter" idx="5"/>
          </p:nvPr>
        </p:nvSpPr>
        <p:spPr/>
        <p:txBody>
          <a:bodyPr/>
          <a:lstStyle/>
          <a:p>
            <a:fld id="{0A4F46E9-7904-4FD8-82D0-66E6EAD9EF88}" type="slidenum">
              <a:rPr lang="de-DE" smtClean="0"/>
              <a:t>22</a:t>
            </a:fld>
            <a:endParaRPr lang="de-DE"/>
          </a:p>
        </p:txBody>
      </p:sp>
    </p:spTree>
    <p:extLst>
      <p:ext uri="{BB962C8B-B14F-4D97-AF65-F5344CB8AC3E}">
        <p14:creationId xmlns:p14="http://schemas.microsoft.com/office/powerpoint/2010/main" val="21435923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19F7D4-F950-30F5-7DE4-3E66A3E6AC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11AC41-37B3-6D6A-AFE0-5B973D9FBD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93685A-E612-92E2-121B-C4F3BC33129D}"/>
              </a:ext>
            </a:extLst>
          </p:cNvPr>
          <p:cNvSpPr>
            <a:spLocks noGrp="1"/>
          </p:cNvSpPr>
          <p:nvPr>
            <p:ph type="body" idx="1"/>
          </p:nvPr>
        </p:nvSpPr>
        <p:spPr/>
        <p:txBody>
          <a:bodyPr/>
          <a:lstStyle/>
          <a:p>
            <a:pPr algn="l"/>
            <a:endParaRPr lang="en-US"/>
          </a:p>
        </p:txBody>
      </p:sp>
      <p:sp>
        <p:nvSpPr>
          <p:cNvPr id="4" name="Slide Number Placeholder 3">
            <a:extLst>
              <a:ext uri="{FF2B5EF4-FFF2-40B4-BE49-F238E27FC236}">
                <a16:creationId xmlns:a16="http://schemas.microsoft.com/office/drawing/2014/main" id="{72FC6B57-992F-31D6-8E7C-F0906DA95CF2}"/>
              </a:ext>
            </a:extLst>
          </p:cNvPr>
          <p:cNvSpPr>
            <a:spLocks noGrp="1"/>
          </p:cNvSpPr>
          <p:nvPr>
            <p:ph type="sldNum" sz="quarter" idx="5"/>
          </p:nvPr>
        </p:nvSpPr>
        <p:spPr/>
        <p:txBody>
          <a:bodyPr/>
          <a:lstStyle/>
          <a:p>
            <a:fld id="{0A4F46E9-7904-4FD8-82D0-66E6EAD9EF88}" type="slidenum">
              <a:rPr lang="de-DE" smtClean="0"/>
              <a:t>23</a:t>
            </a:fld>
            <a:endParaRPr lang="de-DE"/>
          </a:p>
        </p:txBody>
      </p:sp>
    </p:spTree>
    <p:extLst>
      <p:ext uri="{BB962C8B-B14F-4D97-AF65-F5344CB8AC3E}">
        <p14:creationId xmlns:p14="http://schemas.microsoft.com/office/powerpoint/2010/main" val="22914954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867AEF-96A8-8310-E942-A71D1CD49F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CD2023-51DB-6117-C2CF-9201E9300F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FE0674-7DEC-196C-9594-9F1C5E0C44A7}"/>
              </a:ext>
            </a:extLst>
          </p:cNvPr>
          <p:cNvSpPr>
            <a:spLocks noGrp="1"/>
          </p:cNvSpPr>
          <p:nvPr>
            <p:ph type="body" idx="1"/>
          </p:nvPr>
        </p:nvSpPr>
        <p:spPr/>
        <p:txBody>
          <a:bodyPr/>
          <a:lstStyle/>
          <a:p>
            <a:pPr algn="l"/>
            <a:endParaRPr lang="en-US"/>
          </a:p>
        </p:txBody>
      </p:sp>
      <p:sp>
        <p:nvSpPr>
          <p:cNvPr id="4" name="Slide Number Placeholder 3">
            <a:extLst>
              <a:ext uri="{FF2B5EF4-FFF2-40B4-BE49-F238E27FC236}">
                <a16:creationId xmlns:a16="http://schemas.microsoft.com/office/drawing/2014/main" id="{26C2CB4D-E018-9ABB-9B29-7478A700EBE6}"/>
              </a:ext>
            </a:extLst>
          </p:cNvPr>
          <p:cNvSpPr>
            <a:spLocks noGrp="1"/>
          </p:cNvSpPr>
          <p:nvPr>
            <p:ph type="sldNum" sz="quarter" idx="5"/>
          </p:nvPr>
        </p:nvSpPr>
        <p:spPr/>
        <p:txBody>
          <a:bodyPr/>
          <a:lstStyle/>
          <a:p>
            <a:fld id="{0A4F46E9-7904-4FD8-82D0-66E6EAD9EF88}" type="slidenum">
              <a:rPr lang="de-DE" smtClean="0"/>
              <a:t>24</a:t>
            </a:fld>
            <a:endParaRPr lang="de-DE"/>
          </a:p>
        </p:txBody>
      </p:sp>
    </p:spTree>
    <p:extLst>
      <p:ext uri="{BB962C8B-B14F-4D97-AF65-F5344CB8AC3E}">
        <p14:creationId xmlns:p14="http://schemas.microsoft.com/office/powerpoint/2010/main" val="9255685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DCEA62-DD94-057A-EF9D-C51BEC9EDF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3DCC68-B689-47D0-C848-49C39184D3E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5395400-DDD0-89A7-CC6D-19B2A05D78D4}"/>
              </a:ext>
            </a:extLst>
          </p:cNvPr>
          <p:cNvSpPr>
            <a:spLocks noGrp="1"/>
          </p:cNvSpPr>
          <p:nvPr>
            <p:ph type="body" idx="1"/>
          </p:nvPr>
        </p:nvSpPr>
        <p:spPr/>
        <p:txBody>
          <a:bodyPr/>
          <a:lstStyle/>
          <a:p>
            <a:pPr algn="l"/>
            <a:endParaRPr lang="en-US"/>
          </a:p>
        </p:txBody>
      </p:sp>
      <p:sp>
        <p:nvSpPr>
          <p:cNvPr id="4" name="Slide Number Placeholder 3">
            <a:extLst>
              <a:ext uri="{FF2B5EF4-FFF2-40B4-BE49-F238E27FC236}">
                <a16:creationId xmlns:a16="http://schemas.microsoft.com/office/drawing/2014/main" id="{A49A6755-7E0A-0ED0-8AB1-7F316E822D57}"/>
              </a:ext>
            </a:extLst>
          </p:cNvPr>
          <p:cNvSpPr>
            <a:spLocks noGrp="1"/>
          </p:cNvSpPr>
          <p:nvPr>
            <p:ph type="sldNum" sz="quarter" idx="5"/>
          </p:nvPr>
        </p:nvSpPr>
        <p:spPr/>
        <p:txBody>
          <a:bodyPr/>
          <a:lstStyle/>
          <a:p>
            <a:fld id="{0A4F46E9-7904-4FD8-82D0-66E6EAD9EF88}" type="slidenum">
              <a:rPr lang="de-DE" smtClean="0"/>
              <a:t>25</a:t>
            </a:fld>
            <a:endParaRPr lang="de-DE"/>
          </a:p>
        </p:txBody>
      </p:sp>
    </p:spTree>
    <p:extLst>
      <p:ext uri="{BB962C8B-B14F-4D97-AF65-F5344CB8AC3E}">
        <p14:creationId xmlns:p14="http://schemas.microsoft.com/office/powerpoint/2010/main" val="38470282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FAC0B0-9033-294A-11C1-CD61712D49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640E4C-1076-22C7-2D7A-D4C7FB5AD2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C40910-3124-7467-8620-537962949B33}"/>
              </a:ext>
            </a:extLst>
          </p:cNvPr>
          <p:cNvSpPr>
            <a:spLocks noGrp="1"/>
          </p:cNvSpPr>
          <p:nvPr>
            <p:ph type="body" idx="1"/>
          </p:nvPr>
        </p:nvSpPr>
        <p:spPr/>
        <p:txBody>
          <a:bodyPr/>
          <a:lstStyle/>
          <a:p>
            <a:pPr algn="l"/>
            <a:endParaRPr lang="en-US"/>
          </a:p>
        </p:txBody>
      </p:sp>
      <p:sp>
        <p:nvSpPr>
          <p:cNvPr id="4" name="Slide Number Placeholder 3">
            <a:extLst>
              <a:ext uri="{FF2B5EF4-FFF2-40B4-BE49-F238E27FC236}">
                <a16:creationId xmlns:a16="http://schemas.microsoft.com/office/drawing/2014/main" id="{0C68DF6F-2B11-3715-F1E6-08F0D6492F76}"/>
              </a:ext>
            </a:extLst>
          </p:cNvPr>
          <p:cNvSpPr>
            <a:spLocks noGrp="1"/>
          </p:cNvSpPr>
          <p:nvPr>
            <p:ph type="sldNum" sz="quarter" idx="5"/>
          </p:nvPr>
        </p:nvSpPr>
        <p:spPr/>
        <p:txBody>
          <a:bodyPr/>
          <a:lstStyle/>
          <a:p>
            <a:fld id="{0A4F46E9-7904-4FD8-82D0-66E6EAD9EF88}" type="slidenum">
              <a:rPr lang="de-DE" smtClean="0"/>
              <a:t>26</a:t>
            </a:fld>
            <a:endParaRPr lang="de-DE"/>
          </a:p>
        </p:txBody>
      </p:sp>
    </p:spTree>
    <p:extLst>
      <p:ext uri="{BB962C8B-B14F-4D97-AF65-F5344CB8AC3E}">
        <p14:creationId xmlns:p14="http://schemas.microsoft.com/office/powerpoint/2010/main" val="27280770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A4F46E9-7904-4FD8-82D0-66E6EAD9EF88}" type="slidenum">
              <a:rPr lang="de-DE" smtClean="0"/>
              <a:t>33</a:t>
            </a:fld>
            <a:endParaRPr lang="de-DE"/>
          </a:p>
        </p:txBody>
      </p:sp>
    </p:spTree>
    <p:extLst>
      <p:ext uri="{BB962C8B-B14F-4D97-AF65-F5344CB8AC3E}">
        <p14:creationId xmlns:p14="http://schemas.microsoft.com/office/powerpoint/2010/main" val="16422580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days, one can expect an additional regulator requirement or sustainability reporting request almost every week. Some say we are in the age of the regulatory tsunami, which is reducing the competitiveness of EU-based companies. Unfortunately, staffing up does not help as it generates more costs, and there are few technical solutions that help automate processes. Since Regulatory Compliance is the right to sell, you'd better don't mess around with AI tools either. </a:t>
            </a:r>
          </a:p>
          <a:p>
            <a:endParaRPr lang="en-US" dirty="0"/>
          </a:p>
          <a:p>
            <a:endParaRPr lang="en-US" dirty="0"/>
          </a:p>
          <a:p>
            <a:r>
              <a:rPr lang="en-US" dirty="0"/>
              <a:t>Image source: ChatGPT Pro prompt “Generate an image that represents the continuously growing regulatory requirements as a tsunami.”</a:t>
            </a:r>
          </a:p>
          <a:p>
            <a:r>
              <a:rPr lang="en-US" dirty="0"/>
              <a:t>PPWD – packaging and packaging waste directive Regulation (EU) 2025/40 https://</a:t>
            </a:r>
            <a:r>
              <a:rPr lang="en-US" dirty="0" err="1"/>
              <a:t>eur-lex.europa.eu</a:t>
            </a:r>
            <a:r>
              <a:rPr lang="en-US" dirty="0"/>
              <a:t>/legal-content/EN/TXT/?</a:t>
            </a:r>
            <a:r>
              <a:rPr lang="en-US" dirty="0" err="1"/>
              <a:t>uri</a:t>
            </a:r>
            <a:r>
              <a:rPr lang="en-US" dirty="0"/>
              <a:t>=OJ:L_202500040</a:t>
            </a:r>
          </a:p>
          <a:p>
            <a:r>
              <a:rPr lang="en-US" dirty="0"/>
              <a:t>SUP – Single used Plastic regulated by Directive (EU) 2019/904 on the reduction of the impact of certain plastic products on the environment https://</a:t>
            </a:r>
            <a:r>
              <a:rPr lang="en-US" dirty="0" err="1"/>
              <a:t>eur-lex.europa.eu</a:t>
            </a:r>
            <a:r>
              <a:rPr lang="en-US" dirty="0"/>
              <a:t>/legal-content/EN/TXT/?</a:t>
            </a:r>
            <a:r>
              <a:rPr lang="en-US" dirty="0" err="1"/>
              <a:t>uri</a:t>
            </a:r>
            <a:r>
              <a:rPr lang="en-US" dirty="0"/>
              <a:t>=OJ:L_202500040</a:t>
            </a:r>
          </a:p>
          <a:p>
            <a:r>
              <a:rPr lang="en-US" dirty="0"/>
              <a:t>EPR – Extended Producer Responsibility </a:t>
            </a:r>
          </a:p>
          <a:p>
            <a:r>
              <a:rPr lang="en-US" dirty="0"/>
              <a:t>CSRD – the Corporate Sustainability Reporting Directive</a:t>
            </a:r>
          </a:p>
          <a:p>
            <a:r>
              <a:rPr lang="en-US" dirty="0"/>
              <a:t>CSDDD – Directive on Corporate Sustainability Due Diligence</a:t>
            </a:r>
          </a:p>
        </p:txBody>
      </p:sp>
      <p:sp>
        <p:nvSpPr>
          <p:cNvPr id="4" name="Slide Number Placeholder 3"/>
          <p:cNvSpPr>
            <a:spLocks noGrp="1"/>
          </p:cNvSpPr>
          <p:nvPr>
            <p:ph type="sldNum" sz="quarter" idx="5"/>
          </p:nvPr>
        </p:nvSpPr>
        <p:spPr/>
        <p:txBody>
          <a:bodyPr/>
          <a:lstStyle/>
          <a:p>
            <a:fld id="{8FF7B9E9-6F9D-4999-8E35-8BAD09A8460E}" type="slidenum">
              <a:rPr lang="de-DE" smtClean="0"/>
              <a:pPr/>
              <a:t>35</a:t>
            </a:fld>
            <a:endParaRPr lang="de-DE"/>
          </a:p>
        </p:txBody>
      </p:sp>
      <p:sp>
        <p:nvSpPr>
          <p:cNvPr id="5" name="Footer Placeholder 4"/>
          <p:cNvSpPr>
            <a:spLocks noGrp="1"/>
          </p:cNvSpPr>
          <p:nvPr>
            <p:ph type="ftr" sz="quarter" idx="4"/>
          </p:nvPr>
        </p:nvSpPr>
        <p:spPr/>
        <p:txBody>
          <a:bodyPr/>
          <a:lstStyle/>
          <a:p>
            <a:endParaRPr lang="de-DE"/>
          </a:p>
        </p:txBody>
      </p:sp>
    </p:spTree>
    <p:extLst>
      <p:ext uri="{BB962C8B-B14F-4D97-AF65-F5344CB8AC3E}">
        <p14:creationId xmlns:p14="http://schemas.microsoft.com/office/powerpoint/2010/main" val="20565990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 Source: Shutterstock 1586731783</a:t>
            </a:r>
          </a:p>
          <a:p>
            <a:endParaRPr lang="en-US" dirty="0"/>
          </a:p>
          <a:p>
            <a:r>
              <a:rPr lang="en-US" dirty="0"/>
              <a:t>Efficiency increases as soon as the core processes get stable and the communication and data exchange follow existing standards for harmonized data (e.g., vocabularies) and implementing and following policies to foster transparency along the supply chain. </a:t>
            </a:r>
          </a:p>
        </p:txBody>
      </p:sp>
      <p:sp>
        <p:nvSpPr>
          <p:cNvPr id="4" name="Slide Number Placeholder 3"/>
          <p:cNvSpPr>
            <a:spLocks noGrp="1"/>
          </p:cNvSpPr>
          <p:nvPr>
            <p:ph type="sldNum" sz="quarter" idx="5"/>
          </p:nvPr>
        </p:nvSpPr>
        <p:spPr/>
        <p:txBody>
          <a:bodyPr/>
          <a:lstStyle/>
          <a:p>
            <a:fld id="{8FF7B9E9-6F9D-4999-8E35-8BAD09A8460E}" type="slidenum">
              <a:rPr lang="de-DE" smtClean="0"/>
              <a:pPr/>
              <a:t>36</a:t>
            </a:fld>
            <a:endParaRPr lang="de-DE"/>
          </a:p>
        </p:txBody>
      </p:sp>
      <p:sp>
        <p:nvSpPr>
          <p:cNvPr id="5" name="Footer Placeholder 4"/>
          <p:cNvSpPr>
            <a:spLocks noGrp="1"/>
          </p:cNvSpPr>
          <p:nvPr>
            <p:ph type="ftr" sz="quarter" idx="4"/>
          </p:nvPr>
        </p:nvSpPr>
        <p:spPr/>
        <p:txBody>
          <a:bodyPr/>
          <a:lstStyle/>
          <a:p>
            <a:endParaRPr lang="de-DE"/>
          </a:p>
        </p:txBody>
      </p:sp>
    </p:spTree>
    <p:extLst>
      <p:ext uri="{BB962C8B-B14F-4D97-AF65-F5344CB8AC3E}">
        <p14:creationId xmlns:p14="http://schemas.microsoft.com/office/powerpoint/2010/main" val="24479447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37</a:t>
            </a:fld>
            <a:endParaRPr lang="de-DE"/>
          </a:p>
        </p:txBody>
      </p:sp>
    </p:spTree>
    <p:extLst>
      <p:ext uri="{BB962C8B-B14F-4D97-AF65-F5344CB8AC3E}">
        <p14:creationId xmlns:p14="http://schemas.microsoft.com/office/powerpoint/2010/main" val="9101066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A4F46E9-7904-4FD8-82D0-66E6EAD9EF88}" type="slidenum">
              <a:rPr lang="de-DE" smtClean="0"/>
              <a:t>39</a:t>
            </a:fld>
            <a:endParaRPr lang="de-DE"/>
          </a:p>
        </p:txBody>
      </p:sp>
    </p:spTree>
    <p:extLst>
      <p:ext uri="{BB962C8B-B14F-4D97-AF65-F5344CB8AC3E}">
        <p14:creationId xmlns:p14="http://schemas.microsoft.com/office/powerpoint/2010/main" val="12084657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9DBC80-F69C-DA16-9E6F-FA5C492FFF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1F6D88-8434-B089-E9B2-EA1AE6E3BE2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97D875F-4152-7405-2FF7-B1F3AD78F619}"/>
              </a:ext>
            </a:extLst>
          </p:cNvPr>
          <p:cNvSpPr>
            <a:spLocks noGrp="1"/>
          </p:cNvSpPr>
          <p:nvPr>
            <p:ph type="body" idx="1"/>
          </p:nvPr>
        </p:nvSpPr>
        <p:spPr/>
        <p:txBody>
          <a:bodyPr/>
          <a:lstStyle/>
          <a:p>
            <a:r>
              <a:rPr lang="en-US" dirty="0"/>
              <a:t>These days, one can expect an additional regulator requirement or sustainability reporting request almost every week. Some say we are in the age of the regulatory tsunami, which is reducing the competitiveness of EU-based companies. Unfortunately, staffing up does not help as it generates more costs, and there are few technical solutions that help automate processes. Since Regulatory Compliance is the right to sell, you'd better don't mess around with AI tools either. </a:t>
            </a:r>
          </a:p>
          <a:p>
            <a:endParaRPr lang="en-US" dirty="0"/>
          </a:p>
          <a:p>
            <a:endParaRPr lang="en-US" dirty="0"/>
          </a:p>
          <a:p>
            <a:r>
              <a:rPr lang="en-US" dirty="0"/>
              <a:t>Image source: ChatGPT Pro prompt “Generate an image that represents the continuously growing regulatory requirements as a tsunami.”</a:t>
            </a:r>
          </a:p>
          <a:p>
            <a:r>
              <a:rPr lang="en-US" dirty="0"/>
              <a:t>PPWD – packaging and packaging waste directive Regulation (EU) 2025/40 https://</a:t>
            </a:r>
            <a:r>
              <a:rPr lang="en-US" dirty="0" err="1"/>
              <a:t>eur-lex.europa.eu</a:t>
            </a:r>
            <a:r>
              <a:rPr lang="en-US" dirty="0"/>
              <a:t>/legal-content/EN/TXT/?</a:t>
            </a:r>
            <a:r>
              <a:rPr lang="en-US" dirty="0" err="1"/>
              <a:t>uri</a:t>
            </a:r>
            <a:r>
              <a:rPr lang="en-US" dirty="0"/>
              <a:t>=OJ:L_202500040</a:t>
            </a:r>
          </a:p>
          <a:p>
            <a:r>
              <a:rPr lang="en-US" dirty="0"/>
              <a:t>SUP – Single used Plastic regulated by Directive (EU) 2019/904 on the reduction of the impact of certain plastic products on the environment https://</a:t>
            </a:r>
            <a:r>
              <a:rPr lang="en-US" dirty="0" err="1"/>
              <a:t>eur-lex.europa.eu</a:t>
            </a:r>
            <a:r>
              <a:rPr lang="en-US" dirty="0"/>
              <a:t>/legal-content/EN/TXT/?</a:t>
            </a:r>
            <a:r>
              <a:rPr lang="en-US" dirty="0" err="1"/>
              <a:t>uri</a:t>
            </a:r>
            <a:r>
              <a:rPr lang="en-US" dirty="0"/>
              <a:t>=OJ:L_202500040</a:t>
            </a:r>
          </a:p>
          <a:p>
            <a:r>
              <a:rPr lang="en-US" dirty="0"/>
              <a:t>EPR – Extended Producer Responsibility </a:t>
            </a:r>
          </a:p>
          <a:p>
            <a:r>
              <a:rPr lang="en-US" dirty="0"/>
              <a:t>CSRD – the Corporate Sustainability Reporting Directive</a:t>
            </a:r>
          </a:p>
          <a:p>
            <a:r>
              <a:rPr lang="en-US" dirty="0"/>
              <a:t>CSDDD – Directive on Corporate Sustainability Due Diligence</a:t>
            </a:r>
          </a:p>
        </p:txBody>
      </p:sp>
      <p:sp>
        <p:nvSpPr>
          <p:cNvPr id="4" name="Slide Number Placeholder 3">
            <a:extLst>
              <a:ext uri="{FF2B5EF4-FFF2-40B4-BE49-F238E27FC236}">
                <a16:creationId xmlns:a16="http://schemas.microsoft.com/office/drawing/2014/main" id="{F10C9BCA-ECFC-1ACD-42B7-1BCDE4A6D5F5}"/>
              </a:ext>
            </a:extLst>
          </p:cNvPr>
          <p:cNvSpPr>
            <a:spLocks noGrp="1"/>
          </p:cNvSpPr>
          <p:nvPr>
            <p:ph type="sldNum" sz="quarter" idx="5"/>
          </p:nvPr>
        </p:nvSpPr>
        <p:spPr/>
        <p:txBody>
          <a:bodyPr/>
          <a:lstStyle/>
          <a:p>
            <a:fld id="{8FF7B9E9-6F9D-4999-8E35-8BAD09A8460E}" type="slidenum">
              <a:rPr lang="de-DE" smtClean="0"/>
              <a:pPr/>
              <a:t>2</a:t>
            </a:fld>
            <a:endParaRPr lang="de-DE"/>
          </a:p>
        </p:txBody>
      </p:sp>
      <p:sp>
        <p:nvSpPr>
          <p:cNvPr id="5" name="Footer Placeholder 4">
            <a:extLst>
              <a:ext uri="{FF2B5EF4-FFF2-40B4-BE49-F238E27FC236}">
                <a16:creationId xmlns:a16="http://schemas.microsoft.com/office/drawing/2014/main" id="{E4A62F1D-CE1B-315D-04E6-1CD88CBEBACA}"/>
              </a:ext>
            </a:extLst>
          </p:cNvPr>
          <p:cNvSpPr>
            <a:spLocks noGrp="1"/>
          </p:cNvSpPr>
          <p:nvPr>
            <p:ph type="ftr" sz="quarter" idx="4"/>
          </p:nvPr>
        </p:nvSpPr>
        <p:spPr/>
        <p:txBody>
          <a:bodyPr/>
          <a:lstStyle/>
          <a:p>
            <a:endParaRPr lang="de-DE"/>
          </a:p>
        </p:txBody>
      </p:sp>
    </p:spTree>
    <p:extLst>
      <p:ext uri="{BB962C8B-B14F-4D97-AF65-F5344CB8AC3E}">
        <p14:creationId xmlns:p14="http://schemas.microsoft.com/office/powerpoint/2010/main" val="21485972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8F2FBA2-7E7C-1949-9CE3-8E7B4C48C636}" type="slidenum">
              <a:rPr lang="en-US" smtClean="0"/>
              <a:t>40</a:t>
            </a:fld>
            <a:endParaRPr lang="en-US"/>
          </a:p>
        </p:txBody>
      </p:sp>
    </p:spTree>
    <p:extLst>
      <p:ext uri="{BB962C8B-B14F-4D97-AF65-F5344CB8AC3E}">
        <p14:creationId xmlns:p14="http://schemas.microsoft.com/office/powerpoint/2010/main" val="30591705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A4F46E9-7904-4FD8-82D0-66E6EAD9EF88}" type="slidenum">
              <a:rPr lang="de-DE" smtClean="0"/>
              <a:t>5</a:t>
            </a:fld>
            <a:endParaRPr lang="de-DE"/>
          </a:p>
        </p:txBody>
      </p:sp>
    </p:spTree>
    <p:extLst>
      <p:ext uri="{BB962C8B-B14F-4D97-AF65-F5344CB8AC3E}">
        <p14:creationId xmlns:p14="http://schemas.microsoft.com/office/powerpoint/2010/main" val="19832818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A4F46E9-7904-4FD8-82D0-66E6EAD9EF88}" type="slidenum">
              <a:rPr lang="de-DE" smtClean="0"/>
              <a:t>8</a:t>
            </a:fld>
            <a:endParaRPr lang="de-DE"/>
          </a:p>
        </p:txBody>
      </p:sp>
    </p:spTree>
    <p:extLst>
      <p:ext uri="{BB962C8B-B14F-4D97-AF65-F5344CB8AC3E}">
        <p14:creationId xmlns:p14="http://schemas.microsoft.com/office/powerpoint/2010/main" val="4781232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A4F46E9-7904-4FD8-82D0-66E6EAD9EF88}" type="slidenum">
              <a:rPr lang="de-DE" smtClean="0"/>
              <a:t>9</a:t>
            </a:fld>
            <a:endParaRPr lang="de-DE"/>
          </a:p>
        </p:txBody>
      </p:sp>
    </p:spTree>
    <p:extLst>
      <p:ext uri="{BB962C8B-B14F-4D97-AF65-F5344CB8AC3E}">
        <p14:creationId xmlns:p14="http://schemas.microsoft.com/office/powerpoint/2010/main" val="12165803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1013D3-6916-5DB0-0C7D-DFFBE0224E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C45BCC-9881-B0A7-DC59-168C8AC087E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EA4D16-62E7-DC77-DDF3-88ED68F2924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2CF6D45-CF94-0B58-703F-916BA076BDF6}"/>
              </a:ext>
            </a:extLst>
          </p:cNvPr>
          <p:cNvSpPr>
            <a:spLocks noGrp="1"/>
          </p:cNvSpPr>
          <p:nvPr>
            <p:ph type="sldNum" sz="quarter" idx="5"/>
          </p:nvPr>
        </p:nvSpPr>
        <p:spPr/>
        <p:txBody>
          <a:bodyPr/>
          <a:lstStyle/>
          <a:p>
            <a:fld id="{0A4F46E9-7904-4FD8-82D0-66E6EAD9EF88}" type="slidenum">
              <a:rPr lang="de-DE" smtClean="0"/>
              <a:t>10</a:t>
            </a:fld>
            <a:endParaRPr lang="de-DE"/>
          </a:p>
        </p:txBody>
      </p:sp>
    </p:spTree>
    <p:extLst>
      <p:ext uri="{BB962C8B-B14F-4D97-AF65-F5344CB8AC3E}">
        <p14:creationId xmlns:p14="http://schemas.microsoft.com/office/powerpoint/2010/main" val="26624271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A4F46E9-7904-4FD8-82D0-66E6EAD9EF88}" type="slidenum">
              <a:rPr lang="de-DE" smtClean="0"/>
              <a:t>11</a:t>
            </a:fld>
            <a:endParaRPr lang="de-DE"/>
          </a:p>
        </p:txBody>
      </p:sp>
    </p:spTree>
    <p:extLst>
      <p:ext uri="{BB962C8B-B14F-4D97-AF65-F5344CB8AC3E}">
        <p14:creationId xmlns:p14="http://schemas.microsoft.com/office/powerpoint/2010/main" val="377075896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A4F46E9-7904-4FD8-82D0-66E6EAD9EF88}" type="slidenum">
              <a:rPr lang="de-DE" smtClean="0"/>
              <a:t>11</a:t>
            </a:fld>
            <a:endParaRPr lang="de-DE"/>
          </a:p>
        </p:txBody>
      </p:sp>
    </p:spTree>
    <p:extLst>
      <p:ext uri="{BB962C8B-B14F-4D97-AF65-F5344CB8AC3E}">
        <p14:creationId xmlns:p14="http://schemas.microsoft.com/office/powerpoint/2010/main" val="37707589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A4F46E9-7904-4FD8-82D0-66E6EAD9EF88}" type="slidenum">
              <a:rPr lang="de-DE" smtClean="0"/>
              <a:t>18</a:t>
            </a:fld>
            <a:endParaRPr lang="de-DE"/>
          </a:p>
        </p:txBody>
      </p:sp>
    </p:spTree>
    <p:extLst>
      <p:ext uri="{BB962C8B-B14F-4D97-AF65-F5344CB8AC3E}">
        <p14:creationId xmlns:p14="http://schemas.microsoft.com/office/powerpoint/2010/main" val="3641871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A4F46E9-7904-4FD8-82D0-66E6EAD9EF88}" type="slidenum">
              <a:rPr lang="de-DE" smtClean="0"/>
              <a:t>19</a:t>
            </a:fld>
            <a:endParaRPr lang="de-DE"/>
          </a:p>
        </p:txBody>
      </p:sp>
    </p:spTree>
    <p:extLst>
      <p:ext uri="{BB962C8B-B14F-4D97-AF65-F5344CB8AC3E}">
        <p14:creationId xmlns:p14="http://schemas.microsoft.com/office/powerpoint/2010/main" val="25405605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enutzerdefiniertes Layout">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3968A1E-5774-4FBF-B33D-33246827FA2C}"/>
              </a:ext>
            </a:extLst>
          </p:cNvPr>
          <p:cNvSpPr>
            <a:spLocks noGrp="1"/>
          </p:cNvSpPr>
          <p:nvPr>
            <p:ph type="dt" sz="half" idx="10"/>
          </p:nvPr>
        </p:nvSpPr>
        <p:spPr/>
        <p:txBody>
          <a:bodyPr/>
          <a:lstStyle/>
          <a:p>
            <a:fld id="{65010B03-D230-4701-9F37-B6F131066B93}" type="datetime1">
              <a:rPr lang="de-DE" smtClean="0"/>
              <a:t>16.02.25</a:t>
            </a:fld>
            <a:endParaRPr lang="de-DE"/>
          </a:p>
        </p:txBody>
      </p:sp>
      <p:sp>
        <p:nvSpPr>
          <p:cNvPr id="3" name="Fußzeilenplatzhalter 2">
            <a:extLst>
              <a:ext uri="{FF2B5EF4-FFF2-40B4-BE49-F238E27FC236}">
                <a16:creationId xmlns:a16="http://schemas.microsoft.com/office/drawing/2014/main" id="{9B814E2C-65A8-4B4C-A488-296B14440993}"/>
              </a:ext>
            </a:extLst>
          </p:cNvPr>
          <p:cNvSpPr>
            <a:spLocks noGrp="1"/>
          </p:cNvSpPr>
          <p:nvPr>
            <p:ph type="ftr" sz="quarter" idx="11"/>
          </p:nvPr>
        </p:nvSpPr>
        <p:spPr/>
        <p:txBody>
          <a:bodyPr/>
          <a:lstStyle/>
          <a:p>
            <a:r>
              <a:rPr lang="de-DE"/>
              <a:t>| Optional</a:t>
            </a:r>
          </a:p>
        </p:txBody>
      </p:sp>
      <p:sp>
        <p:nvSpPr>
          <p:cNvPr id="4" name="Foliennummernplatzhalter 3">
            <a:extLst>
              <a:ext uri="{FF2B5EF4-FFF2-40B4-BE49-F238E27FC236}">
                <a16:creationId xmlns:a16="http://schemas.microsoft.com/office/drawing/2014/main" id="{5E58CEEC-917F-4652-8701-CCABB57CFC37}"/>
              </a:ext>
            </a:extLst>
          </p:cNvPr>
          <p:cNvSpPr>
            <a:spLocks noGrp="1"/>
          </p:cNvSpPr>
          <p:nvPr>
            <p:ph type="sldNum" sz="quarter" idx="12"/>
          </p:nvPr>
        </p:nvSpPr>
        <p:spPr/>
        <p:txBody>
          <a:bodyPr/>
          <a:lstStyle/>
          <a:p>
            <a:fld id="{82EA1D04-CA53-4DE3-84A8-2B63E41036C9}" type="slidenum">
              <a:rPr lang="de-DE" smtClean="0"/>
              <a:pPr/>
              <a:t>‹#›</a:t>
            </a:fld>
            <a:endParaRPr lang="de-DE"/>
          </a:p>
        </p:txBody>
      </p:sp>
    </p:spTree>
    <p:extLst>
      <p:ext uri="{BB962C8B-B14F-4D97-AF65-F5344CB8AC3E}">
        <p14:creationId xmlns:p14="http://schemas.microsoft.com/office/powerpoint/2010/main" val="28171484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xAndClipArt" preserve="1">
  <p:cSld name="Titel, Text und ClipAr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7C4215-C923-45A6-BD7C-721C7241C5E1}"/>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0A2C6217-C13F-461A-A85F-6657A808B90C}"/>
              </a:ext>
            </a:extLst>
          </p:cNvPr>
          <p:cNvSpPr>
            <a:spLocks noGrp="1"/>
          </p:cNvSpPr>
          <p:nvPr>
            <p:ph type="body" sz="half" idx="1"/>
          </p:nvPr>
        </p:nvSpPr>
        <p:spPr>
          <a:xfrm>
            <a:off x="212343"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Onlinebild-Platzhalter 3">
            <a:extLst>
              <a:ext uri="{FF2B5EF4-FFF2-40B4-BE49-F238E27FC236}">
                <a16:creationId xmlns:a16="http://schemas.microsoft.com/office/drawing/2014/main" id="{1D81F6CB-E450-4174-819C-3B0BDBCDE027}"/>
              </a:ext>
            </a:extLst>
          </p:cNvPr>
          <p:cNvSpPr>
            <a:spLocks noGrp="1"/>
          </p:cNvSpPr>
          <p:nvPr>
            <p:ph type="clipArt" sz="half" idx="2"/>
          </p:nvPr>
        </p:nvSpPr>
        <p:spPr>
          <a:xfrm>
            <a:off x="6165595" y="1965579"/>
            <a:ext cx="5800852" cy="3906012"/>
          </a:xfrm>
          <a:prstGeom prst="rect">
            <a:avLst/>
          </a:prstGeom>
        </p:spPr>
        <p:txBody>
          <a:bodyPr/>
          <a:lstStyle/>
          <a:p>
            <a:r>
              <a:rPr lang="en-US"/>
              <a:t>Click icon to add online image</a:t>
            </a:r>
            <a:endParaRPr lang="de-DE"/>
          </a:p>
        </p:txBody>
      </p:sp>
      <p:sp>
        <p:nvSpPr>
          <p:cNvPr id="5" name="Fußzeilenplatzhalter 4">
            <a:extLst>
              <a:ext uri="{FF2B5EF4-FFF2-40B4-BE49-F238E27FC236}">
                <a16:creationId xmlns:a16="http://schemas.microsoft.com/office/drawing/2014/main" id="{9F1F65BB-69FE-4D49-A6E4-4546478BCBFA}"/>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6" name="Datumsplatzhalter 5">
            <a:extLst>
              <a:ext uri="{FF2B5EF4-FFF2-40B4-BE49-F238E27FC236}">
                <a16:creationId xmlns:a16="http://schemas.microsoft.com/office/drawing/2014/main" id="{5A38E248-9E58-4FBF-9D61-9EE23C39BB3B}"/>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B60F8D1-6788-4364-B4B7-3C4167F5F146}"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4E89B81A-4E05-43F4-AA44-F33F1430D19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86481371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xAndClipArt" preserve="1">
  <p:cSld name="Titel, Text und ClipAr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7C4215-C923-45A6-BD7C-721C7241C5E1}"/>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0A2C6217-C13F-461A-A85F-6657A808B90C}"/>
              </a:ext>
            </a:extLst>
          </p:cNvPr>
          <p:cNvSpPr>
            <a:spLocks noGrp="1"/>
          </p:cNvSpPr>
          <p:nvPr>
            <p:ph type="body" sz="half" idx="1"/>
          </p:nvPr>
        </p:nvSpPr>
        <p:spPr>
          <a:xfrm>
            <a:off x="212343"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Onlinebild-Platzhalter 3">
            <a:extLst>
              <a:ext uri="{FF2B5EF4-FFF2-40B4-BE49-F238E27FC236}">
                <a16:creationId xmlns:a16="http://schemas.microsoft.com/office/drawing/2014/main" id="{1D81F6CB-E450-4174-819C-3B0BDBCDE027}"/>
              </a:ext>
            </a:extLst>
          </p:cNvPr>
          <p:cNvSpPr>
            <a:spLocks noGrp="1"/>
          </p:cNvSpPr>
          <p:nvPr>
            <p:ph type="clipArt" sz="half" idx="2"/>
          </p:nvPr>
        </p:nvSpPr>
        <p:spPr>
          <a:xfrm>
            <a:off x="6165595" y="1965579"/>
            <a:ext cx="5800852" cy="3906012"/>
          </a:xfrm>
          <a:prstGeom prst="rect">
            <a:avLst/>
          </a:prstGeom>
        </p:spPr>
        <p:txBody>
          <a:bodyPr/>
          <a:lstStyle/>
          <a:p>
            <a:r>
              <a:rPr lang="en-US"/>
              <a:t>Click icon to add online image</a:t>
            </a:r>
            <a:endParaRPr lang="de-DE"/>
          </a:p>
        </p:txBody>
      </p:sp>
      <p:sp>
        <p:nvSpPr>
          <p:cNvPr id="5" name="Fußzeilenplatzhalter 4">
            <a:extLst>
              <a:ext uri="{FF2B5EF4-FFF2-40B4-BE49-F238E27FC236}">
                <a16:creationId xmlns:a16="http://schemas.microsoft.com/office/drawing/2014/main" id="{9F1F65BB-69FE-4D49-A6E4-4546478BCBFA}"/>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6" name="Datumsplatzhalter 5">
            <a:extLst>
              <a:ext uri="{FF2B5EF4-FFF2-40B4-BE49-F238E27FC236}">
                <a16:creationId xmlns:a16="http://schemas.microsoft.com/office/drawing/2014/main" id="{5A38E248-9E58-4FBF-9D61-9EE23C39BB3B}"/>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B60F8D1-6788-4364-B4B7-3C4167F5F146}"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5.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4E89B81A-4E05-43F4-AA44-F33F1430D19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8648137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clipArtAndTx" preserve="1">
  <p:cSld name="Titel, ClipArt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08889C-9108-4E11-B334-A27EA54A23C7}"/>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Onlinebild-Platzhalter 2">
            <a:extLst>
              <a:ext uri="{FF2B5EF4-FFF2-40B4-BE49-F238E27FC236}">
                <a16:creationId xmlns:a16="http://schemas.microsoft.com/office/drawing/2014/main" id="{B7775F34-407A-48B2-9B1C-A932A0181C2A}"/>
              </a:ext>
            </a:extLst>
          </p:cNvPr>
          <p:cNvSpPr>
            <a:spLocks noGrp="1"/>
          </p:cNvSpPr>
          <p:nvPr>
            <p:ph type="clipArt" sz="half" idx="1"/>
          </p:nvPr>
        </p:nvSpPr>
        <p:spPr>
          <a:xfrm>
            <a:off x="212343" y="1965579"/>
            <a:ext cx="5800852" cy="3906012"/>
          </a:xfrm>
          <a:prstGeom prst="rect">
            <a:avLst/>
          </a:prstGeom>
        </p:spPr>
        <p:txBody>
          <a:bodyPr/>
          <a:lstStyle/>
          <a:p>
            <a:r>
              <a:rPr lang="en-US"/>
              <a:t>Click icon to add online image</a:t>
            </a:r>
            <a:endParaRPr lang="de-DE"/>
          </a:p>
        </p:txBody>
      </p:sp>
      <p:sp>
        <p:nvSpPr>
          <p:cNvPr id="4" name="Textplatzhalter 3">
            <a:extLst>
              <a:ext uri="{FF2B5EF4-FFF2-40B4-BE49-F238E27FC236}">
                <a16:creationId xmlns:a16="http://schemas.microsoft.com/office/drawing/2014/main" id="{137A6B39-BF7A-4209-AA3A-273F92455170}"/>
              </a:ext>
            </a:extLst>
          </p:cNvPr>
          <p:cNvSpPr>
            <a:spLocks noGrp="1"/>
          </p:cNvSpPr>
          <p:nvPr>
            <p:ph type="body" sz="half" idx="2"/>
          </p:nvPr>
        </p:nvSpPr>
        <p:spPr>
          <a:xfrm>
            <a:off x="6165595"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0B3E23DC-3384-47E5-BCB1-F2B7270A9F8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6" name="Datumsplatzhalter 5">
            <a:extLst>
              <a:ext uri="{FF2B5EF4-FFF2-40B4-BE49-F238E27FC236}">
                <a16:creationId xmlns:a16="http://schemas.microsoft.com/office/drawing/2014/main" id="{B0F7007C-89FE-4D34-A5F7-11B79EA12849}"/>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A59EF9D1-1D6E-44E8-A7EE-5EC5CD3E4ADE}"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E9E62410-A838-493D-B4DF-071E9847171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76691916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clipArtAndTx" preserve="1">
  <p:cSld name="Titel, ClipArt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08889C-9108-4E11-B334-A27EA54A23C7}"/>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Onlinebild-Platzhalter 2">
            <a:extLst>
              <a:ext uri="{FF2B5EF4-FFF2-40B4-BE49-F238E27FC236}">
                <a16:creationId xmlns:a16="http://schemas.microsoft.com/office/drawing/2014/main" id="{B7775F34-407A-48B2-9B1C-A932A0181C2A}"/>
              </a:ext>
            </a:extLst>
          </p:cNvPr>
          <p:cNvSpPr>
            <a:spLocks noGrp="1"/>
          </p:cNvSpPr>
          <p:nvPr>
            <p:ph type="clipArt" sz="half" idx="1"/>
          </p:nvPr>
        </p:nvSpPr>
        <p:spPr>
          <a:xfrm>
            <a:off x="212343" y="1965579"/>
            <a:ext cx="5800852" cy="3906012"/>
          </a:xfrm>
          <a:prstGeom prst="rect">
            <a:avLst/>
          </a:prstGeom>
        </p:spPr>
        <p:txBody>
          <a:bodyPr/>
          <a:lstStyle/>
          <a:p>
            <a:r>
              <a:rPr lang="en-US"/>
              <a:t>Click icon to add online image</a:t>
            </a:r>
            <a:endParaRPr lang="de-DE"/>
          </a:p>
        </p:txBody>
      </p:sp>
      <p:sp>
        <p:nvSpPr>
          <p:cNvPr id="4" name="Textplatzhalter 3">
            <a:extLst>
              <a:ext uri="{FF2B5EF4-FFF2-40B4-BE49-F238E27FC236}">
                <a16:creationId xmlns:a16="http://schemas.microsoft.com/office/drawing/2014/main" id="{137A6B39-BF7A-4209-AA3A-273F92455170}"/>
              </a:ext>
            </a:extLst>
          </p:cNvPr>
          <p:cNvSpPr>
            <a:spLocks noGrp="1"/>
          </p:cNvSpPr>
          <p:nvPr>
            <p:ph type="body" sz="half" idx="2"/>
          </p:nvPr>
        </p:nvSpPr>
        <p:spPr>
          <a:xfrm>
            <a:off x="6165595"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0B3E23DC-3384-47E5-BCB1-F2B7270A9F8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6" name="Datumsplatzhalter 5">
            <a:extLst>
              <a:ext uri="{FF2B5EF4-FFF2-40B4-BE49-F238E27FC236}">
                <a16:creationId xmlns:a16="http://schemas.microsoft.com/office/drawing/2014/main" id="{B0F7007C-89FE-4D34-A5F7-11B79EA12849}"/>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A59EF9D1-1D6E-44E8-A7EE-5EC5CD3E4ADE}"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5.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E9E62410-A838-493D-B4DF-071E9847171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7669191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C5CC59-BC4F-4F35-899E-066A75D69A3B}"/>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Fußzeilenplatzhalter 2">
            <a:extLst>
              <a:ext uri="{FF2B5EF4-FFF2-40B4-BE49-F238E27FC236}">
                <a16:creationId xmlns:a16="http://schemas.microsoft.com/office/drawing/2014/main" id="{81FEAD91-A51C-43CD-8E4C-904A8749BF20}"/>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4" name="Datumsplatzhalter 3">
            <a:extLst>
              <a:ext uri="{FF2B5EF4-FFF2-40B4-BE49-F238E27FC236}">
                <a16:creationId xmlns:a16="http://schemas.microsoft.com/office/drawing/2014/main" id="{C6943F05-466E-47EB-A4DF-79F7329DE7AD}"/>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2E752000-55A0-4553-BBD4-CFFEEB173D51}"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5" name="Foliennummernplatzhalter 4">
            <a:extLst>
              <a:ext uri="{FF2B5EF4-FFF2-40B4-BE49-F238E27FC236}">
                <a16:creationId xmlns:a16="http://schemas.microsoft.com/office/drawing/2014/main" id="{EAAA4A8E-EFEB-4FA3-B265-63AFB751904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426032973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C5CC59-BC4F-4F35-899E-066A75D69A3B}"/>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Fußzeilenplatzhalter 2">
            <a:extLst>
              <a:ext uri="{FF2B5EF4-FFF2-40B4-BE49-F238E27FC236}">
                <a16:creationId xmlns:a16="http://schemas.microsoft.com/office/drawing/2014/main" id="{81FEAD91-A51C-43CD-8E4C-904A8749BF20}"/>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4" name="Datumsplatzhalter 3">
            <a:extLst>
              <a:ext uri="{FF2B5EF4-FFF2-40B4-BE49-F238E27FC236}">
                <a16:creationId xmlns:a16="http://schemas.microsoft.com/office/drawing/2014/main" id="{C6943F05-466E-47EB-A4DF-79F7329DE7AD}"/>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2E752000-55A0-4553-BBD4-CFFEEB173D51}"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5.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5" name="Foliennummernplatzhalter 4">
            <a:extLst>
              <a:ext uri="{FF2B5EF4-FFF2-40B4-BE49-F238E27FC236}">
                <a16:creationId xmlns:a16="http://schemas.microsoft.com/office/drawing/2014/main" id="{EAAA4A8E-EFEB-4FA3-B265-63AFB751904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42603297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F08E9903-ECD7-4C58-9A4B-8CEC2A22571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3" name="Datumsplatzhalter 2">
            <a:extLst>
              <a:ext uri="{FF2B5EF4-FFF2-40B4-BE49-F238E27FC236}">
                <a16:creationId xmlns:a16="http://schemas.microsoft.com/office/drawing/2014/main" id="{04AC508E-137C-4416-908D-2B01A21EC738}"/>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5D8B96A5-E1D7-454B-BFDF-E714B7BF1A08}"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FCAAE8AB-52F8-43B0-B5A9-664FB525BB6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81678981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F08E9903-ECD7-4C58-9A4B-8CEC2A22571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3" name="Datumsplatzhalter 2">
            <a:extLst>
              <a:ext uri="{FF2B5EF4-FFF2-40B4-BE49-F238E27FC236}">
                <a16:creationId xmlns:a16="http://schemas.microsoft.com/office/drawing/2014/main" id="{04AC508E-137C-4416-908D-2B01A21EC738}"/>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5D8B96A5-E1D7-454B-BFDF-E714B7BF1A08}"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5.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FCAAE8AB-52F8-43B0-B5A9-664FB525BB6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8167898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Obj" preserve="1">
  <p:cSld name="Titel, Text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2F2ABAC-561F-4606-A67C-1A55942027F2}"/>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33ED3FFE-CF79-4687-A078-C8E44A073B73}"/>
              </a:ext>
            </a:extLst>
          </p:cNvPr>
          <p:cNvSpPr>
            <a:spLocks noGrp="1"/>
          </p:cNvSpPr>
          <p:nvPr>
            <p:ph type="body" sz="half" idx="1"/>
          </p:nvPr>
        </p:nvSpPr>
        <p:spPr>
          <a:xfrm>
            <a:off x="212343"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DBB7FF96-6611-4D4F-BCB0-01C1D31DC0C9}"/>
              </a:ext>
            </a:extLst>
          </p:cNvPr>
          <p:cNvSpPr>
            <a:spLocks noGrp="1"/>
          </p:cNvSpPr>
          <p:nvPr>
            <p:ph sz="half" idx="2"/>
          </p:nvPr>
        </p:nvSpPr>
        <p:spPr>
          <a:xfrm>
            <a:off x="6165595"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E3020A3C-5997-4241-9E93-5058EC012B35}"/>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6" name="Datumsplatzhalter 5">
            <a:extLst>
              <a:ext uri="{FF2B5EF4-FFF2-40B4-BE49-F238E27FC236}">
                <a16:creationId xmlns:a16="http://schemas.microsoft.com/office/drawing/2014/main" id="{98AF161C-F4A7-4A48-827F-5711D99E558E}"/>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F8FEEF0-7EAC-424F-8BDF-62D59EECC53C}"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B6411C8A-7FBB-42B8-812F-9D3862E75FA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0682156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xAndObj" preserve="1">
  <p:cSld name="Titel, Text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2F2ABAC-561F-4606-A67C-1A55942027F2}"/>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33ED3FFE-CF79-4687-A078-C8E44A073B73}"/>
              </a:ext>
            </a:extLst>
          </p:cNvPr>
          <p:cNvSpPr>
            <a:spLocks noGrp="1"/>
          </p:cNvSpPr>
          <p:nvPr>
            <p:ph type="body" sz="half" idx="1"/>
          </p:nvPr>
        </p:nvSpPr>
        <p:spPr>
          <a:xfrm>
            <a:off x="212343"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DBB7FF96-6611-4D4F-BCB0-01C1D31DC0C9}"/>
              </a:ext>
            </a:extLst>
          </p:cNvPr>
          <p:cNvSpPr>
            <a:spLocks noGrp="1"/>
          </p:cNvSpPr>
          <p:nvPr>
            <p:ph sz="half" idx="2"/>
          </p:nvPr>
        </p:nvSpPr>
        <p:spPr>
          <a:xfrm>
            <a:off x="6165595"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E3020A3C-5997-4241-9E93-5058EC012B35}"/>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6" name="Datumsplatzhalter 5">
            <a:extLst>
              <a:ext uri="{FF2B5EF4-FFF2-40B4-BE49-F238E27FC236}">
                <a16:creationId xmlns:a16="http://schemas.microsoft.com/office/drawing/2014/main" id="{98AF161C-F4A7-4A48-827F-5711D99E558E}"/>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F8FEEF0-7EAC-424F-8BDF-62D59EECC53C}"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5.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B6411C8A-7FBB-42B8-812F-9D3862E75FA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068215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AndTx" preserve="1">
  <p:cSld name="Titel, Inhalt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A809E2-FF1C-4220-B806-F7A2CBB45B5B}"/>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84C654F8-BF58-4B3A-B336-3629ECE45454}"/>
              </a:ext>
            </a:extLst>
          </p:cNvPr>
          <p:cNvSpPr>
            <a:spLocks noGrp="1"/>
          </p:cNvSpPr>
          <p:nvPr>
            <p:ph sz="half" idx="1"/>
          </p:nvPr>
        </p:nvSpPr>
        <p:spPr>
          <a:xfrm>
            <a:off x="212343"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platzhalter 3">
            <a:extLst>
              <a:ext uri="{FF2B5EF4-FFF2-40B4-BE49-F238E27FC236}">
                <a16:creationId xmlns:a16="http://schemas.microsoft.com/office/drawing/2014/main" id="{D12C4920-9938-4405-8A15-1CF4F1C9099F}"/>
              </a:ext>
            </a:extLst>
          </p:cNvPr>
          <p:cNvSpPr>
            <a:spLocks noGrp="1"/>
          </p:cNvSpPr>
          <p:nvPr>
            <p:ph type="body" sz="half" idx="2"/>
          </p:nvPr>
        </p:nvSpPr>
        <p:spPr>
          <a:xfrm>
            <a:off x="6165595"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A7968547-6C9A-4A3F-9DF5-C094BF63FF4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6" name="Datumsplatzhalter 5">
            <a:extLst>
              <a:ext uri="{FF2B5EF4-FFF2-40B4-BE49-F238E27FC236}">
                <a16:creationId xmlns:a16="http://schemas.microsoft.com/office/drawing/2014/main" id="{9687ABFE-CCFA-4A9B-8529-F93712327C06}"/>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E41390A8-E354-4A21-9BC8-95E43BAF20C3}"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CB3FE862-F243-4638-A6BB-CD8B4AFF600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18554741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objAndTx" preserve="1">
  <p:cSld name="Titel, Inhalt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A809E2-FF1C-4220-B806-F7A2CBB45B5B}"/>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84C654F8-BF58-4B3A-B336-3629ECE45454}"/>
              </a:ext>
            </a:extLst>
          </p:cNvPr>
          <p:cNvSpPr>
            <a:spLocks noGrp="1"/>
          </p:cNvSpPr>
          <p:nvPr>
            <p:ph sz="half" idx="1"/>
          </p:nvPr>
        </p:nvSpPr>
        <p:spPr>
          <a:xfrm>
            <a:off x="212343"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platzhalter 3">
            <a:extLst>
              <a:ext uri="{FF2B5EF4-FFF2-40B4-BE49-F238E27FC236}">
                <a16:creationId xmlns:a16="http://schemas.microsoft.com/office/drawing/2014/main" id="{D12C4920-9938-4405-8A15-1CF4F1C9099F}"/>
              </a:ext>
            </a:extLst>
          </p:cNvPr>
          <p:cNvSpPr>
            <a:spLocks noGrp="1"/>
          </p:cNvSpPr>
          <p:nvPr>
            <p:ph type="body" sz="half" idx="2"/>
          </p:nvPr>
        </p:nvSpPr>
        <p:spPr>
          <a:xfrm>
            <a:off x="6165595"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A7968547-6C9A-4A3F-9DF5-C094BF63FF4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6" name="Datumsplatzhalter 5">
            <a:extLst>
              <a:ext uri="{FF2B5EF4-FFF2-40B4-BE49-F238E27FC236}">
                <a16:creationId xmlns:a16="http://schemas.microsoft.com/office/drawing/2014/main" id="{9687ABFE-CCFA-4A9B-8529-F93712327C06}"/>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E41390A8-E354-4A21-9BC8-95E43BAF20C3}"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5.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CB3FE862-F243-4638-A6BB-CD8B4AFF600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1855474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Only" preserve="1">
  <p:cSld name="Inhalt">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2CE1D32-E21C-47EA-A87F-E9B77F368C63}"/>
              </a:ext>
            </a:extLst>
          </p:cNvPr>
          <p:cNvSpPr>
            <a:spLocks noGrp="1"/>
          </p:cNvSpPr>
          <p:nvPr>
            <p:ph/>
          </p:nvPr>
        </p:nvSpPr>
        <p:spPr>
          <a:xfrm>
            <a:off x="212344" y="431800"/>
            <a:ext cx="11753977" cy="54403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3" name="Fußzeilenplatzhalter 2">
            <a:extLst>
              <a:ext uri="{FF2B5EF4-FFF2-40B4-BE49-F238E27FC236}">
                <a16:creationId xmlns:a16="http://schemas.microsoft.com/office/drawing/2014/main" id="{5F863ECE-AB9D-4E37-B422-CC40B5272EB4}"/>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4" name="Datumsplatzhalter 3">
            <a:extLst>
              <a:ext uri="{FF2B5EF4-FFF2-40B4-BE49-F238E27FC236}">
                <a16:creationId xmlns:a16="http://schemas.microsoft.com/office/drawing/2014/main" id="{7656F73E-08AD-4984-AA4D-6A2047EA1233}"/>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0CBFDB8-0ABA-4B5D-BB97-3F0F3764BA33}"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5" name="Foliennummernplatzhalter 4">
            <a:extLst>
              <a:ext uri="{FF2B5EF4-FFF2-40B4-BE49-F238E27FC236}">
                <a16:creationId xmlns:a16="http://schemas.microsoft.com/office/drawing/2014/main" id="{F2563ACE-B651-45D5-BB34-3B368EE9115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63577130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objOnly" preserve="1">
  <p:cSld name="Inhalt">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2CE1D32-E21C-47EA-A87F-E9B77F368C63}"/>
              </a:ext>
            </a:extLst>
          </p:cNvPr>
          <p:cNvSpPr>
            <a:spLocks noGrp="1"/>
          </p:cNvSpPr>
          <p:nvPr>
            <p:ph/>
          </p:nvPr>
        </p:nvSpPr>
        <p:spPr>
          <a:xfrm>
            <a:off x="212344" y="431800"/>
            <a:ext cx="11753977" cy="54403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3" name="Fußzeilenplatzhalter 2">
            <a:extLst>
              <a:ext uri="{FF2B5EF4-FFF2-40B4-BE49-F238E27FC236}">
                <a16:creationId xmlns:a16="http://schemas.microsoft.com/office/drawing/2014/main" id="{5F863ECE-AB9D-4E37-B422-CC40B5272EB4}"/>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4" name="Datumsplatzhalter 3">
            <a:extLst>
              <a:ext uri="{FF2B5EF4-FFF2-40B4-BE49-F238E27FC236}">
                <a16:creationId xmlns:a16="http://schemas.microsoft.com/office/drawing/2014/main" id="{7656F73E-08AD-4984-AA4D-6A2047EA1233}"/>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0CBFDB8-0ABA-4B5D-BB97-3F0F3764BA33}"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5.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5" name="Foliennummernplatzhalter 4">
            <a:extLst>
              <a:ext uri="{FF2B5EF4-FFF2-40B4-BE49-F238E27FC236}">
                <a16:creationId xmlns:a16="http://schemas.microsoft.com/office/drawing/2014/main" id="{F2563ACE-B651-45D5-BB34-3B368EE9115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6357713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080E89-1E40-4B0D-BD55-CBE3C39C66EE}"/>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2353CF28-13C9-4E5C-9A41-1F6D684F3F08}"/>
              </a:ext>
            </a:extLst>
          </p:cNvPr>
          <p:cNvSpPr>
            <a:spLocks noGrp="1"/>
          </p:cNvSpPr>
          <p:nvPr>
            <p:ph idx="1"/>
          </p:nvPr>
        </p:nvSpPr>
        <p:spPr>
          <a:xfrm>
            <a:off x="212345" y="1965579"/>
            <a:ext cx="11753977"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Fußzeilenplatzhalter 3">
            <a:extLst>
              <a:ext uri="{FF2B5EF4-FFF2-40B4-BE49-F238E27FC236}">
                <a16:creationId xmlns:a16="http://schemas.microsoft.com/office/drawing/2014/main" id="{DB55761B-B9A2-4920-9B0D-35C5A79C73E2}"/>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5" name="Datumsplatzhalter 4">
            <a:extLst>
              <a:ext uri="{FF2B5EF4-FFF2-40B4-BE49-F238E27FC236}">
                <a16:creationId xmlns:a16="http://schemas.microsoft.com/office/drawing/2014/main" id="{5F670AE4-0FCB-4883-B7E4-B5754A2694C6}"/>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9681CFB-FE37-42E9-972B-7EE5E370AF9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0045A95C-6833-4457-B077-68A9637FCAC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87878155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080E89-1E40-4B0D-BD55-CBE3C39C66EE}"/>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2353CF28-13C9-4E5C-9A41-1F6D684F3F08}"/>
              </a:ext>
            </a:extLst>
          </p:cNvPr>
          <p:cNvSpPr>
            <a:spLocks noGrp="1"/>
          </p:cNvSpPr>
          <p:nvPr>
            <p:ph idx="1"/>
          </p:nvPr>
        </p:nvSpPr>
        <p:spPr>
          <a:xfrm>
            <a:off x="212345" y="1965579"/>
            <a:ext cx="11753977"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Fußzeilenplatzhalter 3">
            <a:extLst>
              <a:ext uri="{FF2B5EF4-FFF2-40B4-BE49-F238E27FC236}">
                <a16:creationId xmlns:a16="http://schemas.microsoft.com/office/drawing/2014/main" id="{DB55761B-B9A2-4920-9B0D-35C5A79C73E2}"/>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5" name="Datumsplatzhalter 4">
            <a:extLst>
              <a:ext uri="{FF2B5EF4-FFF2-40B4-BE49-F238E27FC236}">
                <a16:creationId xmlns:a16="http://schemas.microsoft.com/office/drawing/2014/main" id="{5F670AE4-0FCB-4883-B7E4-B5754A2694C6}"/>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9681CFB-FE37-42E9-972B-7EE5E370AF9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5.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0045A95C-6833-4457-B077-68A9637FCAC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8787815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xAndMedia" preserve="1">
  <p:cSld name="Titel, Text und Mediencli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A26DD6-5478-44D5-9C22-EA6102171B17}"/>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EDDA7DB3-D147-40F5-A85A-F22CDDCC7764}"/>
              </a:ext>
            </a:extLst>
          </p:cNvPr>
          <p:cNvSpPr>
            <a:spLocks noGrp="1"/>
          </p:cNvSpPr>
          <p:nvPr>
            <p:ph type="body" sz="half" idx="1"/>
          </p:nvPr>
        </p:nvSpPr>
        <p:spPr>
          <a:xfrm>
            <a:off x="212343"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Medienplatzhalter 3">
            <a:extLst>
              <a:ext uri="{FF2B5EF4-FFF2-40B4-BE49-F238E27FC236}">
                <a16:creationId xmlns:a16="http://schemas.microsoft.com/office/drawing/2014/main" id="{60A14105-87B3-4C57-AD70-C6D6EB6C2BD5}"/>
              </a:ext>
            </a:extLst>
          </p:cNvPr>
          <p:cNvSpPr>
            <a:spLocks noGrp="1"/>
          </p:cNvSpPr>
          <p:nvPr>
            <p:ph type="media" sz="half" idx="2"/>
          </p:nvPr>
        </p:nvSpPr>
        <p:spPr>
          <a:xfrm>
            <a:off x="6165595" y="1965579"/>
            <a:ext cx="5800852" cy="3906012"/>
          </a:xfrm>
          <a:prstGeom prst="rect">
            <a:avLst/>
          </a:prstGeom>
        </p:spPr>
        <p:txBody>
          <a:bodyPr/>
          <a:lstStyle/>
          <a:p>
            <a:r>
              <a:rPr lang="en-US"/>
              <a:t>Click icon to add media</a:t>
            </a:r>
            <a:endParaRPr lang="de-DE"/>
          </a:p>
        </p:txBody>
      </p:sp>
      <p:sp>
        <p:nvSpPr>
          <p:cNvPr id="5" name="Fußzeilenplatzhalter 4">
            <a:extLst>
              <a:ext uri="{FF2B5EF4-FFF2-40B4-BE49-F238E27FC236}">
                <a16:creationId xmlns:a16="http://schemas.microsoft.com/office/drawing/2014/main" id="{26468F25-440D-4B20-B43E-2906F5F245F3}"/>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6" name="Datumsplatzhalter 5">
            <a:extLst>
              <a:ext uri="{FF2B5EF4-FFF2-40B4-BE49-F238E27FC236}">
                <a16:creationId xmlns:a16="http://schemas.microsoft.com/office/drawing/2014/main" id="{0574263A-04B4-4BB1-BA72-C60C07FA9681}"/>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2E9AD9D9-F800-41FA-B6C4-3F1480191AA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B444941E-A04D-406F-897B-1CB8D8B4F9D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92454379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txAndMedia" preserve="1">
  <p:cSld name="Titel, Text und Mediencli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A26DD6-5478-44D5-9C22-EA6102171B17}"/>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EDDA7DB3-D147-40F5-A85A-F22CDDCC7764}"/>
              </a:ext>
            </a:extLst>
          </p:cNvPr>
          <p:cNvSpPr>
            <a:spLocks noGrp="1"/>
          </p:cNvSpPr>
          <p:nvPr>
            <p:ph type="body" sz="half" idx="1"/>
          </p:nvPr>
        </p:nvSpPr>
        <p:spPr>
          <a:xfrm>
            <a:off x="212343"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Medienplatzhalter 3">
            <a:extLst>
              <a:ext uri="{FF2B5EF4-FFF2-40B4-BE49-F238E27FC236}">
                <a16:creationId xmlns:a16="http://schemas.microsoft.com/office/drawing/2014/main" id="{60A14105-87B3-4C57-AD70-C6D6EB6C2BD5}"/>
              </a:ext>
            </a:extLst>
          </p:cNvPr>
          <p:cNvSpPr>
            <a:spLocks noGrp="1"/>
          </p:cNvSpPr>
          <p:nvPr>
            <p:ph type="media" sz="half" idx="2"/>
          </p:nvPr>
        </p:nvSpPr>
        <p:spPr>
          <a:xfrm>
            <a:off x="6165595" y="1965579"/>
            <a:ext cx="5800852" cy="3906012"/>
          </a:xfrm>
          <a:prstGeom prst="rect">
            <a:avLst/>
          </a:prstGeom>
        </p:spPr>
        <p:txBody>
          <a:bodyPr/>
          <a:lstStyle/>
          <a:p>
            <a:r>
              <a:rPr lang="en-US"/>
              <a:t>Click icon to add media</a:t>
            </a:r>
            <a:endParaRPr lang="de-DE"/>
          </a:p>
        </p:txBody>
      </p:sp>
      <p:sp>
        <p:nvSpPr>
          <p:cNvPr id="5" name="Fußzeilenplatzhalter 4">
            <a:extLst>
              <a:ext uri="{FF2B5EF4-FFF2-40B4-BE49-F238E27FC236}">
                <a16:creationId xmlns:a16="http://schemas.microsoft.com/office/drawing/2014/main" id="{26468F25-440D-4B20-B43E-2906F5F245F3}"/>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6" name="Datumsplatzhalter 5">
            <a:extLst>
              <a:ext uri="{FF2B5EF4-FFF2-40B4-BE49-F238E27FC236}">
                <a16:creationId xmlns:a16="http://schemas.microsoft.com/office/drawing/2014/main" id="{0574263A-04B4-4BB1-BA72-C60C07FA9681}"/>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2E9AD9D9-F800-41FA-B6C4-3F1480191AA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5.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B444941E-A04D-406F-897B-1CB8D8B4F9D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9245437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mediaAndTx" preserve="1">
  <p:cSld name="Titel, Medienclip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639877-D01C-4856-BA52-624F29B860CE}"/>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Medienplatzhalter 2">
            <a:extLst>
              <a:ext uri="{FF2B5EF4-FFF2-40B4-BE49-F238E27FC236}">
                <a16:creationId xmlns:a16="http://schemas.microsoft.com/office/drawing/2014/main" id="{44221E77-11E0-4F51-8A81-F543833C9E60}"/>
              </a:ext>
            </a:extLst>
          </p:cNvPr>
          <p:cNvSpPr>
            <a:spLocks noGrp="1"/>
          </p:cNvSpPr>
          <p:nvPr>
            <p:ph type="media" sz="half" idx="1"/>
          </p:nvPr>
        </p:nvSpPr>
        <p:spPr>
          <a:xfrm>
            <a:off x="212343" y="1965579"/>
            <a:ext cx="5800852" cy="3906012"/>
          </a:xfrm>
          <a:prstGeom prst="rect">
            <a:avLst/>
          </a:prstGeom>
        </p:spPr>
        <p:txBody>
          <a:bodyPr/>
          <a:lstStyle/>
          <a:p>
            <a:r>
              <a:rPr lang="en-US"/>
              <a:t>Click icon to add media</a:t>
            </a:r>
            <a:endParaRPr lang="de-DE"/>
          </a:p>
        </p:txBody>
      </p:sp>
      <p:sp>
        <p:nvSpPr>
          <p:cNvPr id="4" name="Textplatzhalter 3">
            <a:extLst>
              <a:ext uri="{FF2B5EF4-FFF2-40B4-BE49-F238E27FC236}">
                <a16:creationId xmlns:a16="http://schemas.microsoft.com/office/drawing/2014/main" id="{D109FC1F-991B-4A03-80B8-3A8A5F2D0719}"/>
              </a:ext>
            </a:extLst>
          </p:cNvPr>
          <p:cNvSpPr>
            <a:spLocks noGrp="1"/>
          </p:cNvSpPr>
          <p:nvPr>
            <p:ph type="body" sz="half" idx="2"/>
          </p:nvPr>
        </p:nvSpPr>
        <p:spPr>
          <a:xfrm>
            <a:off x="6165595"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311A9557-B4F9-4FC2-9332-363ACA4D445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6" name="Datumsplatzhalter 5">
            <a:extLst>
              <a:ext uri="{FF2B5EF4-FFF2-40B4-BE49-F238E27FC236}">
                <a16:creationId xmlns:a16="http://schemas.microsoft.com/office/drawing/2014/main" id="{095E73B0-6F01-42C0-B398-DB7C7D7E05A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8192C09A-BEA4-4445-B8BC-DEC53FCADD78}"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D8FAA16F-81A1-4CEB-8939-4AA044CBF61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61561813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mediaAndTx" preserve="1">
  <p:cSld name="Titel, Medienclip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639877-D01C-4856-BA52-624F29B860CE}"/>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Medienplatzhalter 2">
            <a:extLst>
              <a:ext uri="{FF2B5EF4-FFF2-40B4-BE49-F238E27FC236}">
                <a16:creationId xmlns:a16="http://schemas.microsoft.com/office/drawing/2014/main" id="{44221E77-11E0-4F51-8A81-F543833C9E60}"/>
              </a:ext>
            </a:extLst>
          </p:cNvPr>
          <p:cNvSpPr>
            <a:spLocks noGrp="1"/>
          </p:cNvSpPr>
          <p:nvPr>
            <p:ph type="media" sz="half" idx="1"/>
          </p:nvPr>
        </p:nvSpPr>
        <p:spPr>
          <a:xfrm>
            <a:off x="212343" y="1965579"/>
            <a:ext cx="5800852" cy="3906012"/>
          </a:xfrm>
          <a:prstGeom prst="rect">
            <a:avLst/>
          </a:prstGeom>
        </p:spPr>
        <p:txBody>
          <a:bodyPr/>
          <a:lstStyle/>
          <a:p>
            <a:r>
              <a:rPr lang="en-US"/>
              <a:t>Click icon to add media</a:t>
            </a:r>
            <a:endParaRPr lang="de-DE"/>
          </a:p>
        </p:txBody>
      </p:sp>
      <p:sp>
        <p:nvSpPr>
          <p:cNvPr id="4" name="Textplatzhalter 3">
            <a:extLst>
              <a:ext uri="{FF2B5EF4-FFF2-40B4-BE49-F238E27FC236}">
                <a16:creationId xmlns:a16="http://schemas.microsoft.com/office/drawing/2014/main" id="{D109FC1F-991B-4A03-80B8-3A8A5F2D0719}"/>
              </a:ext>
            </a:extLst>
          </p:cNvPr>
          <p:cNvSpPr>
            <a:spLocks noGrp="1"/>
          </p:cNvSpPr>
          <p:nvPr>
            <p:ph type="body" sz="half" idx="2"/>
          </p:nvPr>
        </p:nvSpPr>
        <p:spPr>
          <a:xfrm>
            <a:off x="6165595"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311A9557-B4F9-4FC2-9332-363ACA4D445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6" name="Datumsplatzhalter 5">
            <a:extLst>
              <a:ext uri="{FF2B5EF4-FFF2-40B4-BE49-F238E27FC236}">
                <a16:creationId xmlns:a16="http://schemas.microsoft.com/office/drawing/2014/main" id="{095E73B0-6F01-42C0-B398-DB7C7D7E05A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8192C09A-BEA4-4445-B8BC-DEC53FCADD78}"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5.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D8FAA16F-81A1-4CEB-8939-4AA044CBF61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6156181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C5CC59-BC4F-4F35-899E-066A75D69A3B}"/>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Fußzeilenplatzhalter 2">
            <a:extLst>
              <a:ext uri="{FF2B5EF4-FFF2-40B4-BE49-F238E27FC236}">
                <a16:creationId xmlns:a16="http://schemas.microsoft.com/office/drawing/2014/main" id="{81FEAD91-A51C-43CD-8E4C-904A8749BF20}"/>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4" name="Datumsplatzhalter 3">
            <a:extLst>
              <a:ext uri="{FF2B5EF4-FFF2-40B4-BE49-F238E27FC236}">
                <a16:creationId xmlns:a16="http://schemas.microsoft.com/office/drawing/2014/main" id="{C6943F05-466E-47EB-A4DF-79F7329DE7AD}"/>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2E752000-55A0-4553-BBD4-CFFEEB173D51}"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5" name="Foliennummernplatzhalter 4">
            <a:extLst>
              <a:ext uri="{FF2B5EF4-FFF2-40B4-BE49-F238E27FC236}">
                <a16:creationId xmlns:a16="http://schemas.microsoft.com/office/drawing/2014/main" id="{EAAA4A8E-EFEB-4FA3-B265-63AFB751904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0309502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OverTx" preserve="1">
  <p:cSld name="Titel und Inhalt üb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8735A7-B28E-4745-8655-C9999B011673}"/>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135637BB-60B1-4488-8CF1-E3F06D5EBED0}"/>
              </a:ext>
            </a:extLst>
          </p:cNvPr>
          <p:cNvSpPr>
            <a:spLocks noGrp="1"/>
          </p:cNvSpPr>
          <p:nvPr>
            <p:ph sz="half" idx="1"/>
          </p:nvPr>
        </p:nvSpPr>
        <p:spPr>
          <a:xfrm>
            <a:off x="212344" y="1965579"/>
            <a:ext cx="11753977"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platzhalter 3">
            <a:extLst>
              <a:ext uri="{FF2B5EF4-FFF2-40B4-BE49-F238E27FC236}">
                <a16:creationId xmlns:a16="http://schemas.microsoft.com/office/drawing/2014/main" id="{D4D5F2FC-4B25-456C-A90C-64CEA05B29FB}"/>
              </a:ext>
            </a:extLst>
          </p:cNvPr>
          <p:cNvSpPr>
            <a:spLocks noGrp="1"/>
          </p:cNvSpPr>
          <p:nvPr>
            <p:ph type="body" sz="half" idx="2"/>
          </p:nvPr>
        </p:nvSpPr>
        <p:spPr>
          <a:xfrm>
            <a:off x="212344" y="3994785"/>
            <a:ext cx="11753977"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2BD6C371-FE65-4294-97AD-25A76E97810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6" name="Datumsplatzhalter 5">
            <a:extLst>
              <a:ext uri="{FF2B5EF4-FFF2-40B4-BE49-F238E27FC236}">
                <a16:creationId xmlns:a16="http://schemas.microsoft.com/office/drawing/2014/main" id="{FC86BFFF-93A4-440C-B3C4-802614E81B71}"/>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3B742DD-8773-4E2A-9EEB-2648EDB33355}"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042C8699-C73C-4568-AB42-D32BC3096EB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74540792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objOverTx" preserve="1">
  <p:cSld name="Titel und Inhalt üb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8735A7-B28E-4745-8655-C9999B011673}"/>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135637BB-60B1-4488-8CF1-E3F06D5EBED0}"/>
              </a:ext>
            </a:extLst>
          </p:cNvPr>
          <p:cNvSpPr>
            <a:spLocks noGrp="1"/>
          </p:cNvSpPr>
          <p:nvPr>
            <p:ph sz="half" idx="1"/>
          </p:nvPr>
        </p:nvSpPr>
        <p:spPr>
          <a:xfrm>
            <a:off x="212344" y="1965579"/>
            <a:ext cx="11753977"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platzhalter 3">
            <a:extLst>
              <a:ext uri="{FF2B5EF4-FFF2-40B4-BE49-F238E27FC236}">
                <a16:creationId xmlns:a16="http://schemas.microsoft.com/office/drawing/2014/main" id="{D4D5F2FC-4B25-456C-A90C-64CEA05B29FB}"/>
              </a:ext>
            </a:extLst>
          </p:cNvPr>
          <p:cNvSpPr>
            <a:spLocks noGrp="1"/>
          </p:cNvSpPr>
          <p:nvPr>
            <p:ph type="body" sz="half" idx="2"/>
          </p:nvPr>
        </p:nvSpPr>
        <p:spPr>
          <a:xfrm>
            <a:off x="212344" y="3994785"/>
            <a:ext cx="11753977"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2BD6C371-FE65-4294-97AD-25A76E97810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6" name="Datumsplatzhalter 5">
            <a:extLst>
              <a:ext uri="{FF2B5EF4-FFF2-40B4-BE49-F238E27FC236}">
                <a16:creationId xmlns:a16="http://schemas.microsoft.com/office/drawing/2014/main" id="{FC86BFFF-93A4-440C-B3C4-802614E81B71}"/>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3B742DD-8773-4E2A-9EEB-2648EDB33355}"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5.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042C8699-C73C-4568-AB42-D32BC3096EB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7454079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xOverObj" preserve="1">
  <p:cSld name="Titel und Text über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AB682FF-DD0C-46E2-8C1C-A06AF64F5952}"/>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5DD7F0EF-78BF-43F5-9C29-474B537D6FB6}"/>
              </a:ext>
            </a:extLst>
          </p:cNvPr>
          <p:cNvSpPr>
            <a:spLocks noGrp="1"/>
          </p:cNvSpPr>
          <p:nvPr>
            <p:ph type="body" sz="half" idx="1"/>
          </p:nvPr>
        </p:nvSpPr>
        <p:spPr>
          <a:xfrm>
            <a:off x="212344" y="1965579"/>
            <a:ext cx="11753977"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12F11F21-0ACE-496A-A93D-B817BF62CFF8}"/>
              </a:ext>
            </a:extLst>
          </p:cNvPr>
          <p:cNvSpPr>
            <a:spLocks noGrp="1"/>
          </p:cNvSpPr>
          <p:nvPr>
            <p:ph sz="half" idx="2"/>
          </p:nvPr>
        </p:nvSpPr>
        <p:spPr>
          <a:xfrm>
            <a:off x="212344" y="3994785"/>
            <a:ext cx="11753977"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7F9D28A9-F404-4434-9C9A-358402724C97}"/>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6" name="Datumsplatzhalter 5">
            <a:extLst>
              <a:ext uri="{FF2B5EF4-FFF2-40B4-BE49-F238E27FC236}">
                <a16:creationId xmlns:a16="http://schemas.microsoft.com/office/drawing/2014/main" id="{06E3F372-F58D-4CA4-BFB3-29426E8445D5}"/>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F107B34-1A56-43EE-86C9-2DAE19548ED2}"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E8C92BCB-A68D-4FE6-8DC3-18BD6C232DA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787094472"/>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txOverObj" preserve="1">
  <p:cSld name="Titel und Text über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AB682FF-DD0C-46E2-8C1C-A06AF64F5952}"/>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5DD7F0EF-78BF-43F5-9C29-474B537D6FB6}"/>
              </a:ext>
            </a:extLst>
          </p:cNvPr>
          <p:cNvSpPr>
            <a:spLocks noGrp="1"/>
          </p:cNvSpPr>
          <p:nvPr>
            <p:ph type="body" sz="half" idx="1"/>
          </p:nvPr>
        </p:nvSpPr>
        <p:spPr>
          <a:xfrm>
            <a:off x="212344" y="1965579"/>
            <a:ext cx="11753977"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12F11F21-0ACE-496A-A93D-B817BF62CFF8}"/>
              </a:ext>
            </a:extLst>
          </p:cNvPr>
          <p:cNvSpPr>
            <a:spLocks noGrp="1"/>
          </p:cNvSpPr>
          <p:nvPr>
            <p:ph sz="half" idx="2"/>
          </p:nvPr>
        </p:nvSpPr>
        <p:spPr>
          <a:xfrm>
            <a:off x="212344" y="3994785"/>
            <a:ext cx="11753977"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7F9D28A9-F404-4434-9C9A-358402724C97}"/>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6" name="Datumsplatzhalter 5">
            <a:extLst>
              <a:ext uri="{FF2B5EF4-FFF2-40B4-BE49-F238E27FC236}">
                <a16:creationId xmlns:a16="http://schemas.microsoft.com/office/drawing/2014/main" id="{06E3F372-F58D-4CA4-BFB3-29426E8445D5}"/>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F107B34-1A56-43EE-86C9-2DAE19548ED2}"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5.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E8C92BCB-A68D-4FE6-8DC3-18BD6C232DA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7870944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xAndTwoObj" preserve="1">
  <p:cSld name="Titel, Text und 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A49E15-3CC2-4EE0-92C8-91165D511DA8}"/>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CE50D0BD-1B65-4BC9-A974-4C55A3FDEF28}"/>
              </a:ext>
            </a:extLst>
          </p:cNvPr>
          <p:cNvSpPr>
            <a:spLocks noGrp="1"/>
          </p:cNvSpPr>
          <p:nvPr>
            <p:ph type="body" sz="half" idx="1"/>
          </p:nvPr>
        </p:nvSpPr>
        <p:spPr>
          <a:xfrm>
            <a:off x="212343"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DE89BA9B-96E6-486F-AB64-EA38AC71B787}"/>
              </a:ext>
            </a:extLst>
          </p:cNvPr>
          <p:cNvSpPr>
            <a:spLocks noGrp="1"/>
          </p:cNvSpPr>
          <p:nvPr>
            <p:ph sz="quarter" idx="2"/>
          </p:nvPr>
        </p:nvSpPr>
        <p:spPr>
          <a:xfrm>
            <a:off x="6165595" y="1965579"/>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Inhaltsplatzhalter 4">
            <a:extLst>
              <a:ext uri="{FF2B5EF4-FFF2-40B4-BE49-F238E27FC236}">
                <a16:creationId xmlns:a16="http://schemas.microsoft.com/office/drawing/2014/main" id="{E3A62A82-A2FB-4831-BF8E-0B8D27882DE9}"/>
              </a:ext>
            </a:extLst>
          </p:cNvPr>
          <p:cNvSpPr>
            <a:spLocks noGrp="1"/>
          </p:cNvSpPr>
          <p:nvPr>
            <p:ph sz="quarter" idx="3"/>
          </p:nvPr>
        </p:nvSpPr>
        <p:spPr>
          <a:xfrm>
            <a:off x="6165595" y="3994785"/>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ußzeilenplatzhalter 5">
            <a:extLst>
              <a:ext uri="{FF2B5EF4-FFF2-40B4-BE49-F238E27FC236}">
                <a16:creationId xmlns:a16="http://schemas.microsoft.com/office/drawing/2014/main" id="{07E8A134-6B88-4B2A-AE42-C5C2DE4BCF90}"/>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7" name="Datumsplatzhalter 6">
            <a:extLst>
              <a:ext uri="{FF2B5EF4-FFF2-40B4-BE49-F238E27FC236}">
                <a16:creationId xmlns:a16="http://schemas.microsoft.com/office/drawing/2014/main" id="{1C573FE7-AAD9-4572-A337-5461F2423AC5}"/>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0E0C30BE-3111-461B-8F9D-AEA244FE4A01}"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8" name="Foliennummernplatzhalter 7">
            <a:extLst>
              <a:ext uri="{FF2B5EF4-FFF2-40B4-BE49-F238E27FC236}">
                <a16:creationId xmlns:a16="http://schemas.microsoft.com/office/drawing/2014/main" id="{FF6D4B64-4848-48B9-9A84-A7C7BFCD319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01638526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txAndTwoObj" preserve="1">
  <p:cSld name="Titel, Text und 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A49E15-3CC2-4EE0-92C8-91165D511DA8}"/>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CE50D0BD-1B65-4BC9-A974-4C55A3FDEF28}"/>
              </a:ext>
            </a:extLst>
          </p:cNvPr>
          <p:cNvSpPr>
            <a:spLocks noGrp="1"/>
          </p:cNvSpPr>
          <p:nvPr>
            <p:ph type="body" sz="half" idx="1"/>
          </p:nvPr>
        </p:nvSpPr>
        <p:spPr>
          <a:xfrm>
            <a:off x="212343"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DE89BA9B-96E6-486F-AB64-EA38AC71B787}"/>
              </a:ext>
            </a:extLst>
          </p:cNvPr>
          <p:cNvSpPr>
            <a:spLocks noGrp="1"/>
          </p:cNvSpPr>
          <p:nvPr>
            <p:ph sz="quarter" idx="2"/>
          </p:nvPr>
        </p:nvSpPr>
        <p:spPr>
          <a:xfrm>
            <a:off x="6165595" y="1965579"/>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Inhaltsplatzhalter 4">
            <a:extLst>
              <a:ext uri="{FF2B5EF4-FFF2-40B4-BE49-F238E27FC236}">
                <a16:creationId xmlns:a16="http://schemas.microsoft.com/office/drawing/2014/main" id="{E3A62A82-A2FB-4831-BF8E-0B8D27882DE9}"/>
              </a:ext>
            </a:extLst>
          </p:cNvPr>
          <p:cNvSpPr>
            <a:spLocks noGrp="1"/>
          </p:cNvSpPr>
          <p:nvPr>
            <p:ph sz="quarter" idx="3"/>
          </p:nvPr>
        </p:nvSpPr>
        <p:spPr>
          <a:xfrm>
            <a:off x="6165595" y="3994785"/>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ußzeilenplatzhalter 5">
            <a:extLst>
              <a:ext uri="{FF2B5EF4-FFF2-40B4-BE49-F238E27FC236}">
                <a16:creationId xmlns:a16="http://schemas.microsoft.com/office/drawing/2014/main" id="{07E8A134-6B88-4B2A-AE42-C5C2DE4BCF90}"/>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7" name="Datumsplatzhalter 6">
            <a:extLst>
              <a:ext uri="{FF2B5EF4-FFF2-40B4-BE49-F238E27FC236}">
                <a16:creationId xmlns:a16="http://schemas.microsoft.com/office/drawing/2014/main" id="{1C573FE7-AAD9-4572-A337-5461F2423AC5}"/>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0E0C30BE-3111-461B-8F9D-AEA244FE4A01}"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5.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8" name="Foliennummernplatzhalter 7">
            <a:extLst>
              <a:ext uri="{FF2B5EF4-FFF2-40B4-BE49-F238E27FC236}">
                <a16:creationId xmlns:a16="http://schemas.microsoft.com/office/drawing/2014/main" id="{FF6D4B64-4848-48B9-9A84-A7C7BFCD319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0163852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AndTx" preserve="1">
  <p:cSld name="Titel, zwei Inhalte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2CBFF9-6AA9-4135-B013-124136065B66}"/>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6A8C003F-FDE2-4BCD-8446-E93BA74B902B}"/>
              </a:ext>
            </a:extLst>
          </p:cNvPr>
          <p:cNvSpPr>
            <a:spLocks noGrp="1"/>
          </p:cNvSpPr>
          <p:nvPr>
            <p:ph sz="quarter" idx="1"/>
          </p:nvPr>
        </p:nvSpPr>
        <p:spPr>
          <a:xfrm>
            <a:off x="212343" y="1965579"/>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7AF8FA0B-2B73-4F9E-8421-B7FAA861D2BC}"/>
              </a:ext>
            </a:extLst>
          </p:cNvPr>
          <p:cNvSpPr>
            <a:spLocks noGrp="1"/>
          </p:cNvSpPr>
          <p:nvPr>
            <p:ph sz="quarter" idx="2"/>
          </p:nvPr>
        </p:nvSpPr>
        <p:spPr>
          <a:xfrm>
            <a:off x="212343" y="3994785"/>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platzhalter 4">
            <a:extLst>
              <a:ext uri="{FF2B5EF4-FFF2-40B4-BE49-F238E27FC236}">
                <a16:creationId xmlns:a16="http://schemas.microsoft.com/office/drawing/2014/main" id="{B6A06705-80A7-42BF-B2C5-248EA2910CCE}"/>
              </a:ext>
            </a:extLst>
          </p:cNvPr>
          <p:cNvSpPr>
            <a:spLocks noGrp="1"/>
          </p:cNvSpPr>
          <p:nvPr>
            <p:ph type="body" sz="half" idx="3"/>
          </p:nvPr>
        </p:nvSpPr>
        <p:spPr>
          <a:xfrm>
            <a:off x="6165595"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ußzeilenplatzhalter 5">
            <a:extLst>
              <a:ext uri="{FF2B5EF4-FFF2-40B4-BE49-F238E27FC236}">
                <a16:creationId xmlns:a16="http://schemas.microsoft.com/office/drawing/2014/main" id="{68651DD0-4839-47C9-A9A9-3F5056FFCBA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7" name="Datumsplatzhalter 6">
            <a:extLst>
              <a:ext uri="{FF2B5EF4-FFF2-40B4-BE49-F238E27FC236}">
                <a16:creationId xmlns:a16="http://schemas.microsoft.com/office/drawing/2014/main" id="{38323B6D-9603-4517-B425-10C069E2500E}"/>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8AF7673-4E49-421A-A8F9-8B568C2E52E5}"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8" name="Foliennummernplatzhalter 7">
            <a:extLst>
              <a:ext uri="{FF2B5EF4-FFF2-40B4-BE49-F238E27FC236}">
                <a16:creationId xmlns:a16="http://schemas.microsoft.com/office/drawing/2014/main" id="{B1BFD5DC-90F2-4A91-AE88-C9A9192A247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411438320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twoObjAndTx" preserve="1">
  <p:cSld name="Titel, zwei Inhalte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2CBFF9-6AA9-4135-B013-124136065B66}"/>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6A8C003F-FDE2-4BCD-8446-E93BA74B902B}"/>
              </a:ext>
            </a:extLst>
          </p:cNvPr>
          <p:cNvSpPr>
            <a:spLocks noGrp="1"/>
          </p:cNvSpPr>
          <p:nvPr>
            <p:ph sz="quarter" idx="1"/>
          </p:nvPr>
        </p:nvSpPr>
        <p:spPr>
          <a:xfrm>
            <a:off x="212343" y="1965579"/>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7AF8FA0B-2B73-4F9E-8421-B7FAA861D2BC}"/>
              </a:ext>
            </a:extLst>
          </p:cNvPr>
          <p:cNvSpPr>
            <a:spLocks noGrp="1"/>
          </p:cNvSpPr>
          <p:nvPr>
            <p:ph sz="quarter" idx="2"/>
          </p:nvPr>
        </p:nvSpPr>
        <p:spPr>
          <a:xfrm>
            <a:off x="212343" y="3994785"/>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platzhalter 4">
            <a:extLst>
              <a:ext uri="{FF2B5EF4-FFF2-40B4-BE49-F238E27FC236}">
                <a16:creationId xmlns:a16="http://schemas.microsoft.com/office/drawing/2014/main" id="{B6A06705-80A7-42BF-B2C5-248EA2910CCE}"/>
              </a:ext>
            </a:extLst>
          </p:cNvPr>
          <p:cNvSpPr>
            <a:spLocks noGrp="1"/>
          </p:cNvSpPr>
          <p:nvPr>
            <p:ph type="body" sz="half" idx="3"/>
          </p:nvPr>
        </p:nvSpPr>
        <p:spPr>
          <a:xfrm>
            <a:off x="6165595"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ußzeilenplatzhalter 5">
            <a:extLst>
              <a:ext uri="{FF2B5EF4-FFF2-40B4-BE49-F238E27FC236}">
                <a16:creationId xmlns:a16="http://schemas.microsoft.com/office/drawing/2014/main" id="{68651DD0-4839-47C9-A9A9-3F5056FFCBA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7" name="Datumsplatzhalter 6">
            <a:extLst>
              <a:ext uri="{FF2B5EF4-FFF2-40B4-BE49-F238E27FC236}">
                <a16:creationId xmlns:a16="http://schemas.microsoft.com/office/drawing/2014/main" id="{38323B6D-9603-4517-B425-10C069E2500E}"/>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8AF7673-4E49-421A-A8F9-8B568C2E52E5}"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5.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8" name="Foliennummernplatzhalter 7">
            <a:extLst>
              <a:ext uri="{FF2B5EF4-FFF2-40B4-BE49-F238E27FC236}">
                <a16:creationId xmlns:a16="http://schemas.microsoft.com/office/drawing/2014/main" id="{B1BFD5DC-90F2-4A91-AE88-C9A9192A247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41143832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OverTx" preserve="1">
  <p:cSld name="Titel und 2 Inhalte üb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2E6BCF-F13B-4DAE-838C-D4CFDC543608}"/>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5E4072EF-C701-4F8C-9B31-1260A74B6366}"/>
              </a:ext>
            </a:extLst>
          </p:cNvPr>
          <p:cNvSpPr>
            <a:spLocks noGrp="1"/>
          </p:cNvSpPr>
          <p:nvPr>
            <p:ph sz="quarter" idx="1"/>
          </p:nvPr>
        </p:nvSpPr>
        <p:spPr>
          <a:xfrm>
            <a:off x="212343" y="1965579"/>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2516D008-2F5C-4820-A061-6C39F314126D}"/>
              </a:ext>
            </a:extLst>
          </p:cNvPr>
          <p:cNvSpPr>
            <a:spLocks noGrp="1"/>
          </p:cNvSpPr>
          <p:nvPr>
            <p:ph sz="quarter" idx="2"/>
          </p:nvPr>
        </p:nvSpPr>
        <p:spPr>
          <a:xfrm>
            <a:off x="6165595" y="1965579"/>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platzhalter 4">
            <a:extLst>
              <a:ext uri="{FF2B5EF4-FFF2-40B4-BE49-F238E27FC236}">
                <a16:creationId xmlns:a16="http://schemas.microsoft.com/office/drawing/2014/main" id="{6E0CE585-CC58-4405-A5B2-4146F97E314D}"/>
              </a:ext>
            </a:extLst>
          </p:cNvPr>
          <p:cNvSpPr>
            <a:spLocks noGrp="1"/>
          </p:cNvSpPr>
          <p:nvPr>
            <p:ph type="body" sz="half" idx="3"/>
          </p:nvPr>
        </p:nvSpPr>
        <p:spPr>
          <a:xfrm>
            <a:off x="212344" y="3994785"/>
            <a:ext cx="11753977"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ußzeilenplatzhalter 5">
            <a:extLst>
              <a:ext uri="{FF2B5EF4-FFF2-40B4-BE49-F238E27FC236}">
                <a16:creationId xmlns:a16="http://schemas.microsoft.com/office/drawing/2014/main" id="{D8156A72-D8B4-4EB6-8FFB-61C9B44B1EC3}"/>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7" name="Datumsplatzhalter 6">
            <a:extLst>
              <a:ext uri="{FF2B5EF4-FFF2-40B4-BE49-F238E27FC236}">
                <a16:creationId xmlns:a16="http://schemas.microsoft.com/office/drawing/2014/main" id="{D0EFBFB9-D2F6-40AF-BCCC-A2A94354C2D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A2F219F5-2D10-43F8-A53B-34A1ADD86956}"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8" name="Foliennummernplatzhalter 7">
            <a:extLst>
              <a:ext uri="{FF2B5EF4-FFF2-40B4-BE49-F238E27FC236}">
                <a16:creationId xmlns:a16="http://schemas.microsoft.com/office/drawing/2014/main" id="{D28F30A4-BEA8-4D3F-B414-562C963D889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70349301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twoObjOverTx" preserve="1">
  <p:cSld name="Titel und 2 Inhalte üb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2E6BCF-F13B-4DAE-838C-D4CFDC543608}"/>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5E4072EF-C701-4F8C-9B31-1260A74B6366}"/>
              </a:ext>
            </a:extLst>
          </p:cNvPr>
          <p:cNvSpPr>
            <a:spLocks noGrp="1"/>
          </p:cNvSpPr>
          <p:nvPr>
            <p:ph sz="quarter" idx="1"/>
          </p:nvPr>
        </p:nvSpPr>
        <p:spPr>
          <a:xfrm>
            <a:off x="212343" y="1965579"/>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2516D008-2F5C-4820-A061-6C39F314126D}"/>
              </a:ext>
            </a:extLst>
          </p:cNvPr>
          <p:cNvSpPr>
            <a:spLocks noGrp="1"/>
          </p:cNvSpPr>
          <p:nvPr>
            <p:ph sz="quarter" idx="2"/>
          </p:nvPr>
        </p:nvSpPr>
        <p:spPr>
          <a:xfrm>
            <a:off x="6165595" y="1965579"/>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platzhalter 4">
            <a:extLst>
              <a:ext uri="{FF2B5EF4-FFF2-40B4-BE49-F238E27FC236}">
                <a16:creationId xmlns:a16="http://schemas.microsoft.com/office/drawing/2014/main" id="{6E0CE585-CC58-4405-A5B2-4146F97E314D}"/>
              </a:ext>
            </a:extLst>
          </p:cNvPr>
          <p:cNvSpPr>
            <a:spLocks noGrp="1"/>
          </p:cNvSpPr>
          <p:nvPr>
            <p:ph type="body" sz="half" idx="3"/>
          </p:nvPr>
        </p:nvSpPr>
        <p:spPr>
          <a:xfrm>
            <a:off x="212344" y="3994785"/>
            <a:ext cx="11753977"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ußzeilenplatzhalter 5">
            <a:extLst>
              <a:ext uri="{FF2B5EF4-FFF2-40B4-BE49-F238E27FC236}">
                <a16:creationId xmlns:a16="http://schemas.microsoft.com/office/drawing/2014/main" id="{D8156A72-D8B4-4EB6-8FFB-61C9B44B1EC3}"/>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7" name="Datumsplatzhalter 6">
            <a:extLst>
              <a:ext uri="{FF2B5EF4-FFF2-40B4-BE49-F238E27FC236}">
                <a16:creationId xmlns:a16="http://schemas.microsoft.com/office/drawing/2014/main" id="{D0EFBFB9-D2F6-40AF-BCCC-A2A94354C2D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A2F219F5-2D10-43F8-A53B-34A1ADD86956}"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5.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8" name="Foliennummernplatzhalter 7">
            <a:extLst>
              <a:ext uri="{FF2B5EF4-FFF2-40B4-BE49-F238E27FC236}">
                <a16:creationId xmlns:a16="http://schemas.microsoft.com/office/drawing/2014/main" id="{D28F30A4-BEA8-4D3F-B414-562C963D889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7034930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fourObj" preserve="1">
  <p:cSld name="Titel und vier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4E88C9-2E13-4233-97E7-A58EA56BF533}"/>
              </a:ext>
            </a:extLst>
          </p:cNvPr>
          <p:cNvSpPr>
            <a:spLocks noGrp="1"/>
          </p:cNvSpPr>
          <p:nvPr>
            <p:ph type="title" sz="quarter"/>
          </p:nvPr>
        </p:nvSpPr>
        <p:spPr>
          <a:xfrm>
            <a:off x="219600" y="432000"/>
            <a:ext cx="11736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9D7B31FC-3EB7-4237-9F75-E570D381E0FE}"/>
              </a:ext>
            </a:extLst>
          </p:cNvPr>
          <p:cNvSpPr>
            <a:spLocks noGrp="1"/>
          </p:cNvSpPr>
          <p:nvPr>
            <p:ph sz="quarter" idx="1"/>
          </p:nvPr>
        </p:nvSpPr>
        <p:spPr>
          <a:xfrm>
            <a:off x="212344" y="1965579"/>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38A8875F-CFAA-4590-B879-3219CBD4BB93}"/>
              </a:ext>
            </a:extLst>
          </p:cNvPr>
          <p:cNvSpPr>
            <a:spLocks noGrp="1"/>
          </p:cNvSpPr>
          <p:nvPr>
            <p:ph sz="quarter" idx="2"/>
          </p:nvPr>
        </p:nvSpPr>
        <p:spPr>
          <a:xfrm>
            <a:off x="6165596" y="1965579"/>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Inhaltsplatzhalter 4">
            <a:extLst>
              <a:ext uri="{FF2B5EF4-FFF2-40B4-BE49-F238E27FC236}">
                <a16:creationId xmlns:a16="http://schemas.microsoft.com/office/drawing/2014/main" id="{CA4CB87F-0C22-4934-8CA1-76F88C95A477}"/>
              </a:ext>
            </a:extLst>
          </p:cNvPr>
          <p:cNvSpPr>
            <a:spLocks noGrp="1"/>
          </p:cNvSpPr>
          <p:nvPr>
            <p:ph sz="quarter" idx="3"/>
          </p:nvPr>
        </p:nvSpPr>
        <p:spPr>
          <a:xfrm>
            <a:off x="212344" y="3994785"/>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Inhaltsplatzhalter 5">
            <a:extLst>
              <a:ext uri="{FF2B5EF4-FFF2-40B4-BE49-F238E27FC236}">
                <a16:creationId xmlns:a16="http://schemas.microsoft.com/office/drawing/2014/main" id="{00020373-3ACB-4F0F-B502-F1E7C40F6322}"/>
              </a:ext>
            </a:extLst>
          </p:cNvPr>
          <p:cNvSpPr>
            <a:spLocks noGrp="1"/>
          </p:cNvSpPr>
          <p:nvPr>
            <p:ph sz="quarter" idx="4"/>
          </p:nvPr>
        </p:nvSpPr>
        <p:spPr>
          <a:xfrm>
            <a:off x="6165596" y="3994785"/>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Fußzeilenplatzhalter 6">
            <a:extLst>
              <a:ext uri="{FF2B5EF4-FFF2-40B4-BE49-F238E27FC236}">
                <a16:creationId xmlns:a16="http://schemas.microsoft.com/office/drawing/2014/main" id="{A7AE7A61-0107-4725-BF07-B2F2AA671499}"/>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8" name="Datumsplatzhalter 7">
            <a:extLst>
              <a:ext uri="{FF2B5EF4-FFF2-40B4-BE49-F238E27FC236}">
                <a16:creationId xmlns:a16="http://schemas.microsoft.com/office/drawing/2014/main" id="{42470242-CC3A-40B7-95C1-B059AF43DE2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4497A7C5-BC5F-48E8-AE9A-063AD7EF3F55}"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9" name="Foliennummernplatzhalter 8">
            <a:extLst>
              <a:ext uri="{FF2B5EF4-FFF2-40B4-BE49-F238E27FC236}">
                <a16:creationId xmlns:a16="http://schemas.microsoft.com/office/drawing/2014/main" id="{7F8F0835-9080-41B3-9513-4B6330021B2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4062902037"/>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fourObj" preserve="1">
  <p:cSld name="Titel und vier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4E88C9-2E13-4233-97E7-A58EA56BF533}"/>
              </a:ext>
            </a:extLst>
          </p:cNvPr>
          <p:cNvSpPr>
            <a:spLocks noGrp="1"/>
          </p:cNvSpPr>
          <p:nvPr>
            <p:ph type="title" sz="quarter"/>
          </p:nvPr>
        </p:nvSpPr>
        <p:spPr>
          <a:xfrm>
            <a:off x="219600" y="432000"/>
            <a:ext cx="11736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9D7B31FC-3EB7-4237-9F75-E570D381E0FE}"/>
              </a:ext>
            </a:extLst>
          </p:cNvPr>
          <p:cNvSpPr>
            <a:spLocks noGrp="1"/>
          </p:cNvSpPr>
          <p:nvPr>
            <p:ph sz="quarter" idx="1"/>
          </p:nvPr>
        </p:nvSpPr>
        <p:spPr>
          <a:xfrm>
            <a:off x="212344" y="1965579"/>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38A8875F-CFAA-4590-B879-3219CBD4BB93}"/>
              </a:ext>
            </a:extLst>
          </p:cNvPr>
          <p:cNvSpPr>
            <a:spLocks noGrp="1"/>
          </p:cNvSpPr>
          <p:nvPr>
            <p:ph sz="quarter" idx="2"/>
          </p:nvPr>
        </p:nvSpPr>
        <p:spPr>
          <a:xfrm>
            <a:off x="6165596" y="1965579"/>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Inhaltsplatzhalter 4">
            <a:extLst>
              <a:ext uri="{FF2B5EF4-FFF2-40B4-BE49-F238E27FC236}">
                <a16:creationId xmlns:a16="http://schemas.microsoft.com/office/drawing/2014/main" id="{CA4CB87F-0C22-4934-8CA1-76F88C95A477}"/>
              </a:ext>
            </a:extLst>
          </p:cNvPr>
          <p:cNvSpPr>
            <a:spLocks noGrp="1"/>
          </p:cNvSpPr>
          <p:nvPr>
            <p:ph sz="quarter" idx="3"/>
          </p:nvPr>
        </p:nvSpPr>
        <p:spPr>
          <a:xfrm>
            <a:off x="212344" y="3994785"/>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Inhaltsplatzhalter 5">
            <a:extLst>
              <a:ext uri="{FF2B5EF4-FFF2-40B4-BE49-F238E27FC236}">
                <a16:creationId xmlns:a16="http://schemas.microsoft.com/office/drawing/2014/main" id="{00020373-3ACB-4F0F-B502-F1E7C40F6322}"/>
              </a:ext>
            </a:extLst>
          </p:cNvPr>
          <p:cNvSpPr>
            <a:spLocks noGrp="1"/>
          </p:cNvSpPr>
          <p:nvPr>
            <p:ph sz="quarter" idx="4"/>
          </p:nvPr>
        </p:nvSpPr>
        <p:spPr>
          <a:xfrm>
            <a:off x="6165596" y="3994785"/>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Fußzeilenplatzhalter 6">
            <a:extLst>
              <a:ext uri="{FF2B5EF4-FFF2-40B4-BE49-F238E27FC236}">
                <a16:creationId xmlns:a16="http://schemas.microsoft.com/office/drawing/2014/main" id="{A7AE7A61-0107-4725-BF07-B2F2AA671499}"/>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8" name="Datumsplatzhalter 7">
            <a:extLst>
              <a:ext uri="{FF2B5EF4-FFF2-40B4-BE49-F238E27FC236}">
                <a16:creationId xmlns:a16="http://schemas.microsoft.com/office/drawing/2014/main" id="{42470242-CC3A-40B7-95C1-B059AF43DE2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4497A7C5-BC5F-48E8-AE9A-063AD7EF3F55}"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5.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9" name="Foliennummernplatzhalter 8">
            <a:extLst>
              <a:ext uri="{FF2B5EF4-FFF2-40B4-BE49-F238E27FC236}">
                <a16:creationId xmlns:a16="http://schemas.microsoft.com/office/drawing/2014/main" id="{7F8F0835-9080-41B3-9513-4B6330021B2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40629020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ASF_Finale_V10_2">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6C158954-2A4D-4D8C-BF47-5F0868C6CF35}"/>
              </a:ext>
            </a:extLst>
          </p:cNvPr>
          <p:cNvGrpSpPr/>
          <p:nvPr/>
        </p:nvGrpSpPr>
        <p:grpSpPr>
          <a:xfrm>
            <a:off x="2120" y="3"/>
            <a:ext cx="12187766" cy="6858001"/>
            <a:chOff x="2119" y="3"/>
            <a:chExt cx="12186180" cy="6858001"/>
          </a:xfrm>
        </p:grpSpPr>
        <p:pic>
          <p:nvPicPr>
            <p:cNvPr id="3" name="Picture 5" descr="C:\Documents and Settings\ROESSO\My Documents\Ablage\Corporate Design\PowerPoint\Logos Wizard\BASFc_Q_PPT_38_rot.tif"/>
            <p:cNvPicPr>
              <a:picLocks noChangeAspect="1" noChangeArrowheads="1"/>
            </p:cNvPicPr>
            <p:nvPr/>
          </p:nvPicPr>
          <p:blipFill>
            <a:blip r:embed="rId2">
              <a:extLst>
                <a:ext uri="{28A0092B-C50C-407E-A947-70E740481C1C}">
                  <a14:useLocalDpi xmlns:a14="http://schemas.microsoft.com/office/drawing/2010/main" val="0"/>
                </a:ext>
              </a:extLst>
            </a:blip>
            <a:srcRect t="89996"/>
            <a:stretch>
              <a:fillRect/>
            </a:stretch>
          </p:blipFill>
          <p:spPr bwMode="auto">
            <a:xfrm>
              <a:off x="2119" y="3"/>
              <a:ext cx="12186180" cy="6858001"/>
            </a:xfrm>
            <a:prstGeom prst="rect">
              <a:avLst/>
            </a:prstGeom>
            <a:noFill/>
            <a:extLst>
              <a:ext uri="{909E8E84-426E-40DD-AFC4-6F175D3DCCD1}">
                <a14:hiddenFill xmlns:a14="http://schemas.microsoft.com/office/drawing/2010/main">
                  <a:solidFill>
                    <a:srgbClr val="FFFFFF"/>
                  </a:solidFill>
                </a14:hiddenFill>
              </a:ext>
            </a:extLst>
          </p:spPr>
        </p:pic>
        <p:pic>
          <p:nvPicPr>
            <p:cNvPr id="6" name="Grafik 5">
              <a:extLst>
                <a:ext uri="{FF2B5EF4-FFF2-40B4-BE49-F238E27FC236}">
                  <a16:creationId xmlns:a16="http://schemas.microsoft.com/office/drawing/2014/main" id="{3F0E9031-C6CC-4AD9-A413-D4FEDA99303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37439" y="2317598"/>
              <a:ext cx="6183516" cy="2234254"/>
            </a:xfrm>
            <a:prstGeom prst="rect">
              <a:avLst/>
            </a:prstGeom>
          </p:spPr>
        </p:pic>
      </p:grpSp>
    </p:spTree>
    <p:extLst>
      <p:ext uri="{BB962C8B-B14F-4D97-AF65-F5344CB8AC3E}">
        <p14:creationId xmlns:p14="http://schemas.microsoft.com/office/powerpoint/2010/main" val="24802275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7" name="Titelplatzhalter 4">
            <a:extLst>
              <a:ext uri="{FF2B5EF4-FFF2-40B4-BE49-F238E27FC236}">
                <a16:creationId xmlns:a16="http://schemas.microsoft.com/office/drawing/2014/main" id="{A94417B2-1C89-4436-8BBC-864B7CF5F261}"/>
              </a:ext>
            </a:extLst>
          </p:cNvPr>
          <p:cNvSpPr>
            <a:spLocks noGrp="1"/>
          </p:cNvSpPr>
          <p:nvPr>
            <p:ph type="title"/>
          </p:nvPr>
        </p:nvSpPr>
        <p:spPr>
          <a:xfrm>
            <a:off x="218334" y="430442"/>
            <a:ext cx="11737914" cy="853200"/>
          </a:xfrm>
          <a:prstGeom prst="rect">
            <a:avLst/>
          </a:prstGeom>
        </p:spPr>
        <p:txBody>
          <a:bodyPr vert="horz" lIns="0" tIns="0" rIns="0" bIns="0" rtlCol="0" anchor="t" anchorCtr="0">
            <a:noAutofit/>
          </a:bodyPr>
          <a:lstStyle/>
          <a:p>
            <a:r>
              <a:rPr lang="de-DE"/>
              <a:t>Titelmasterformat durch Klicken bearbeiten</a:t>
            </a:r>
          </a:p>
        </p:txBody>
      </p:sp>
      <p:sp>
        <p:nvSpPr>
          <p:cNvPr id="8" name="Textplatzhalter 2">
            <a:extLst>
              <a:ext uri="{FF2B5EF4-FFF2-40B4-BE49-F238E27FC236}">
                <a16:creationId xmlns:a16="http://schemas.microsoft.com/office/drawing/2014/main" id="{6DB10D25-8F57-4AEE-A617-D7DFB9CE1279}"/>
              </a:ext>
            </a:extLst>
          </p:cNvPr>
          <p:cNvSpPr>
            <a:spLocks noGrp="1"/>
          </p:cNvSpPr>
          <p:nvPr>
            <p:ph idx="1"/>
          </p:nvPr>
        </p:nvSpPr>
        <p:spPr>
          <a:xfrm>
            <a:off x="216029" y="1944000"/>
            <a:ext cx="11753889" cy="3960000"/>
          </a:xfrm>
          <a:prstGeom prst="rect">
            <a:avLst/>
          </a:prstGeom>
        </p:spPr>
        <p:txBody>
          <a:bodyPr vert="horz" lIns="0" tIns="0" rIns="0" bIns="0" rtlCol="0">
            <a:noAutofit/>
          </a:bodyPr>
          <a:lstStyle>
            <a:lvl1pPr>
              <a:spcBef>
                <a:spcPts val="1800"/>
              </a:spcBef>
              <a:defRPr/>
            </a:lvl1pPr>
          </a:lstStyle>
          <a:p>
            <a:pPr marL="342900" marR="0" lvl="0" indent="-342900" algn="l" defTabSz="914400" rtl="0" eaLnBrk="1" fontAlgn="auto" latinLnBrk="0" hangingPunct="1">
              <a:lnSpc>
                <a:spcPct val="110000"/>
              </a:lnSpc>
              <a:spcBef>
                <a:spcPts val="0"/>
              </a:spcBef>
              <a:spcAft>
                <a:spcPts val="0"/>
              </a:spcAft>
              <a:buClr>
                <a:srgbClr val="C50022"/>
              </a:buClr>
              <a:buSzTx/>
              <a:buFont typeface="Wingdings"/>
              <a:buChar char="n"/>
              <a:tabLst/>
              <a:defRPr/>
            </a:pPr>
            <a:r>
              <a:rPr kumimoji="0" lang="de-DE" sz="2000" b="0" i="0" u="none" strike="noStrike" kern="1200" cap="none" spc="0" normalizeH="0" baseline="0" noProof="0">
                <a:ln>
                  <a:noFill/>
                </a:ln>
                <a:solidFill>
                  <a:srgbClr val="000000"/>
                </a:solidFill>
                <a:effectLst/>
                <a:uLnTx/>
                <a:uFillTx/>
                <a:latin typeface="Arial"/>
                <a:ea typeface="+mn-ea"/>
                <a:cs typeface="+mn-cs"/>
              </a:rPr>
              <a:t>Formatvorlagen des Textmasters bearbeiten</a:t>
            </a:r>
          </a:p>
          <a:p>
            <a:pPr marL="719138" marR="0" lvl="1" indent="-361950" algn="l" defTabSz="914400" rtl="0" eaLnBrk="1" fontAlgn="auto" latinLnBrk="0" hangingPunct="1">
              <a:lnSpc>
                <a:spcPct val="110000"/>
              </a:lnSpc>
              <a:spcBef>
                <a:spcPts val="600"/>
              </a:spcBef>
              <a:spcAft>
                <a:spcPts val="0"/>
              </a:spcAft>
              <a:buClr>
                <a:srgbClr val="C50022"/>
              </a:buClr>
              <a:buSzTx/>
              <a:buFont typeface="Wingdings 3" panose="05040102010807070707" pitchFamily="18" charset="2"/>
              <a:buChar char=""/>
              <a:tabLst/>
              <a:defRPr/>
            </a:pPr>
            <a:r>
              <a:rPr kumimoji="0" lang="de-DE" sz="2000" b="0" i="0" u="none" strike="noStrike" kern="1200" cap="none" spc="0" normalizeH="0" baseline="0" noProof="0">
                <a:ln>
                  <a:noFill/>
                </a:ln>
                <a:solidFill>
                  <a:srgbClr val="000000"/>
                </a:solidFill>
                <a:effectLst/>
                <a:uLnTx/>
                <a:uFillTx/>
                <a:latin typeface="Arial"/>
                <a:ea typeface="+mn-ea"/>
                <a:cs typeface="+mn-cs"/>
              </a:rPr>
              <a:t>Zweite Ebene</a:t>
            </a:r>
          </a:p>
          <a:p>
            <a:pPr marL="1074738" marR="0" lvl="2" indent="-355600" algn="l" defTabSz="914400" rtl="0" eaLnBrk="1" fontAlgn="auto" latinLnBrk="0" hangingPunct="1">
              <a:lnSpc>
                <a:spcPct val="110000"/>
              </a:lnSpc>
              <a:spcBef>
                <a:spcPts val="300"/>
              </a:spcBef>
              <a:spcAft>
                <a:spcPts val="0"/>
              </a:spcAft>
              <a:buClr>
                <a:srgbClr val="C50022"/>
              </a:buClr>
              <a:buSzTx/>
              <a:buFont typeface="Arial" panose="020B0604020202020204" pitchFamily="34" charset="0"/>
              <a:buChar char="●"/>
              <a:tabLst/>
              <a:defRPr/>
            </a:pPr>
            <a:r>
              <a:rPr kumimoji="0" lang="de-DE" sz="2000" b="0" i="0" u="none" strike="noStrike" kern="1200" cap="none" spc="0" normalizeH="0" baseline="0" noProof="0">
                <a:ln>
                  <a:noFill/>
                </a:ln>
                <a:solidFill>
                  <a:srgbClr val="000000"/>
                </a:solidFill>
                <a:effectLst/>
                <a:uLnTx/>
                <a:uFillTx/>
                <a:latin typeface="Arial"/>
                <a:ea typeface="+mn-ea"/>
                <a:cs typeface="+mn-cs"/>
              </a:rPr>
              <a:t>Dritte Ebene</a:t>
            </a:r>
          </a:p>
          <a:p>
            <a:pPr marL="1433513" marR="0" lvl="3" indent="-358775" algn="l" defTabSz="914400" rtl="0" eaLnBrk="1" fontAlgn="auto" latinLnBrk="0" hangingPunct="1">
              <a:lnSpc>
                <a:spcPct val="110000"/>
              </a:lnSpc>
              <a:spcBef>
                <a:spcPts val="0"/>
              </a:spcBef>
              <a:spcAft>
                <a:spcPts val="0"/>
              </a:spcAft>
              <a:buClr>
                <a:srgbClr val="C50022"/>
              </a:buClr>
              <a:buSzTx/>
              <a:buFont typeface="Arial" panose="020B0604020202020204" pitchFamily="34" charset="0"/>
              <a:buChar char="−"/>
              <a:tabLst/>
              <a:defRPr/>
            </a:pPr>
            <a:r>
              <a:rPr kumimoji="0" lang="de-DE" sz="2000" b="0" i="0" u="none" strike="noStrike" kern="1200" cap="none" spc="0" normalizeH="0" baseline="0" noProof="0">
                <a:ln>
                  <a:noFill/>
                </a:ln>
                <a:solidFill>
                  <a:srgbClr val="000000"/>
                </a:solidFill>
                <a:effectLst/>
                <a:uLnTx/>
                <a:uFillTx/>
                <a:latin typeface="Arial"/>
                <a:ea typeface="+mn-ea"/>
                <a:cs typeface="+mn-cs"/>
              </a:rPr>
              <a:t>Vierte Ebene</a:t>
            </a:r>
          </a:p>
        </p:txBody>
      </p:sp>
      <p:sp>
        <p:nvSpPr>
          <p:cNvPr id="9" name="Datumsplatzhalter 5">
            <a:extLst>
              <a:ext uri="{FF2B5EF4-FFF2-40B4-BE49-F238E27FC236}">
                <a16:creationId xmlns:a16="http://schemas.microsoft.com/office/drawing/2014/main" id="{0813D924-BFC8-46F0-9A9C-5BC24A959171}"/>
              </a:ext>
            </a:extLst>
          </p:cNvPr>
          <p:cNvSpPr>
            <a:spLocks noGrp="1"/>
          </p:cNvSpPr>
          <p:nvPr>
            <p:ph type="dt" sz="half" idx="2"/>
          </p:nvPr>
        </p:nvSpPr>
        <p:spPr>
          <a:xfrm>
            <a:off x="685849" y="6516409"/>
            <a:ext cx="468187" cy="175322"/>
          </a:xfrm>
          <a:prstGeom prst="rect">
            <a:avLst/>
          </a:prstGeom>
        </p:spPr>
        <p:txBody>
          <a:bodyPr wrap="none" lIns="0" tIns="0" rIns="0" bIns="0"/>
          <a:lstStyle>
            <a:lvl1pPr>
              <a:defRPr sz="900"/>
            </a:lvl1pPr>
          </a:lstStyle>
          <a:p>
            <a:fld id="{65010B03-D230-4701-9F37-B6F131066B93}" type="datetime1">
              <a:rPr lang="de-DE" smtClean="0"/>
              <a:t>16.02.25</a:t>
            </a:fld>
            <a:endParaRPr lang="de-DE"/>
          </a:p>
        </p:txBody>
      </p:sp>
      <p:sp>
        <p:nvSpPr>
          <p:cNvPr id="10" name="Fußzeilenplatzhalter 6">
            <a:extLst>
              <a:ext uri="{FF2B5EF4-FFF2-40B4-BE49-F238E27FC236}">
                <a16:creationId xmlns:a16="http://schemas.microsoft.com/office/drawing/2014/main" id="{AB6FC698-896C-4B8E-B7DC-AE6C25E29770}"/>
              </a:ext>
            </a:extLst>
          </p:cNvPr>
          <p:cNvSpPr>
            <a:spLocks noGrp="1"/>
          </p:cNvSpPr>
          <p:nvPr>
            <p:ph type="ftr" sz="quarter" idx="3"/>
          </p:nvPr>
        </p:nvSpPr>
        <p:spPr>
          <a:xfrm>
            <a:off x="1368179" y="6516111"/>
            <a:ext cx="3364707" cy="167933"/>
          </a:xfrm>
          <a:prstGeom prst="rect">
            <a:avLst/>
          </a:prstGeom>
        </p:spPr>
        <p:txBody>
          <a:bodyPr lIns="0" tIns="0" rIns="0" bIns="0"/>
          <a:lstStyle>
            <a:lvl1pPr>
              <a:defRPr sz="900">
                <a:solidFill>
                  <a:srgbClr val="000000"/>
                </a:solidFill>
              </a:defRPr>
            </a:lvl1pPr>
          </a:lstStyle>
          <a:p>
            <a:r>
              <a:rPr lang="de-DE"/>
              <a:t>|  Optionale Zusatzinformationen</a:t>
            </a:r>
          </a:p>
        </p:txBody>
      </p:sp>
      <p:sp>
        <p:nvSpPr>
          <p:cNvPr id="11" name="Foliennummernplatzhalter 7">
            <a:extLst>
              <a:ext uri="{FF2B5EF4-FFF2-40B4-BE49-F238E27FC236}">
                <a16:creationId xmlns:a16="http://schemas.microsoft.com/office/drawing/2014/main" id="{81ED557E-1394-4AA2-ACA6-280C1FA0EE43}"/>
              </a:ext>
            </a:extLst>
          </p:cNvPr>
          <p:cNvSpPr>
            <a:spLocks noGrp="1"/>
          </p:cNvSpPr>
          <p:nvPr>
            <p:ph type="sldNum" sz="quarter" idx="4"/>
          </p:nvPr>
        </p:nvSpPr>
        <p:spPr>
          <a:xfrm>
            <a:off x="227043" y="6514798"/>
            <a:ext cx="384267" cy="151200"/>
          </a:xfrm>
          <a:prstGeom prst="rect">
            <a:avLst/>
          </a:prstGeom>
        </p:spPr>
        <p:txBody>
          <a:bodyPr lIns="0" tIns="0" rIns="0" bIns="0"/>
          <a:lstStyle>
            <a:lvl1pPr>
              <a:defRPr sz="900" b="1"/>
            </a:lvl1pPr>
          </a:lstStyle>
          <a:p>
            <a:fld id="{82EA1D04-CA53-4DE3-84A8-2B63E41036C9}" type="slidenum">
              <a:rPr lang="de-DE" smtClean="0"/>
              <a:pPr/>
              <a:t>‹#›</a:t>
            </a:fld>
            <a:endParaRPr lang="de-DE"/>
          </a:p>
        </p:txBody>
      </p:sp>
    </p:spTree>
    <p:extLst>
      <p:ext uri="{BB962C8B-B14F-4D97-AF65-F5344CB8AC3E}">
        <p14:creationId xmlns:p14="http://schemas.microsoft.com/office/powerpoint/2010/main" val="2225364260"/>
      </p:ext>
    </p:extLst>
  </p:cSld>
  <p:clrMapOvr>
    <a:masterClrMapping/>
  </p:clrMapOvr>
  <p:hf hdr="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7" name="Titelplatzhalter 4">
            <a:extLst>
              <a:ext uri="{FF2B5EF4-FFF2-40B4-BE49-F238E27FC236}">
                <a16:creationId xmlns:a16="http://schemas.microsoft.com/office/drawing/2014/main" id="{A94417B2-1C89-4436-8BBC-864B7CF5F261}"/>
              </a:ext>
            </a:extLst>
          </p:cNvPr>
          <p:cNvSpPr>
            <a:spLocks noGrp="1"/>
          </p:cNvSpPr>
          <p:nvPr>
            <p:ph type="title"/>
          </p:nvPr>
        </p:nvSpPr>
        <p:spPr>
          <a:xfrm>
            <a:off x="218334" y="430442"/>
            <a:ext cx="11737914" cy="853200"/>
          </a:xfrm>
          <a:prstGeom prst="rect">
            <a:avLst/>
          </a:prstGeom>
        </p:spPr>
        <p:txBody>
          <a:bodyPr vert="horz" lIns="0" tIns="0" rIns="0" bIns="0" rtlCol="0" anchor="t" anchorCtr="0">
            <a:noAutofit/>
          </a:bodyPr>
          <a:lstStyle/>
          <a:p>
            <a:r>
              <a:rPr lang="de-DE"/>
              <a:t>Titelmasterformat durch Klicken bearbeiten</a:t>
            </a:r>
          </a:p>
        </p:txBody>
      </p:sp>
      <p:sp>
        <p:nvSpPr>
          <p:cNvPr id="9" name="Datumsplatzhalter 5">
            <a:extLst>
              <a:ext uri="{FF2B5EF4-FFF2-40B4-BE49-F238E27FC236}">
                <a16:creationId xmlns:a16="http://schemas.microsoft.com/office/drawing/2014/main" id="{0813D924-BFC8-46F0-9A9C-5BC24A959171}"/>
              </a:ext>
            </a:extLst>
          </p:cNvPr>
          <p:cNvSpPr>
            <a:spLocks noGrp="1"/>
          </p:cNvSpPr>
          <p:nvPr>
            <p:ph type="dt" sz="half" idx="2"/>
          </p:nvPr>
        </p:nvSpPr>
        <p:spPr>
          <a:xfrm>
            <a:off x="685849" y="6516409"/>
            <a:ext cx="468187" cy="175322"/>
          </a:xfrm>
          <a:prstGeom prst="rect">
            <a:avLst/>
          </a:prstGeom>
        </p:spPr>
        <p:txBody>
          <a:bodyPr wrap="none" lIns="0" tIns="0" rIns="0" bIns="0"/>
          <a:lstStyle>
            <a:lvl1pPr>
              <a:defRPr sz="900"/>
            </a:lvl1pPr>
          </a:lstStyle>
          <a:p>
            <a:fld id="{65010B03-D230-4701-9F37-B6F131066B93}" type="datetime1">
              <a:rPr lang="de-DE" smtClean="0"/>
              <a:t>16.02.25</a:t>
            </a:fld>
            <a:endParaRPr lang="de-DE"/>
          </a:p>
        </p:txBody>
      </p:sp>
      <p:sp>
        <p:nvSpPr>
          <p:cNvPr id="10" name="Fußzeilenplatzhalter 6">
            <a:extLst>
              <a:ext uri="{FF2B5EF4-FFF2-40B4-BE49-F238E27FC236}">
                <a16:creationId xmlns:a16="http://schemas.microsoft.com/office/drawing/2014/main" id="{AB6FC698-896C-4B8E-B7DC-AE6C25E29770}"/>
              </a:ext>
            </a:extLst>
          </p:cNvPr>
          <p:cNvSpPr>
            <a:spLocks noGrp="1"/>
          </p:cNvSpPr>
          <p:nvPr>
            <p:ph type="ftr" sz="quarter" idx="3"/>
          </p:nvPr>
        </p:nvSpPr>
        <p:spPr>
          <a:xfrm>
            <a:off x="1368179" y="6516111"/>
            <a:ext cx="3364707" cy="167933"/>
          </a:xfrm>
          <a:prstGeom prst="rect">
            <a:avLst/>
          </a:prstGeom>
        </p:spPr>
        <p:txBody>
          <a:bodyPr lIns="0" tIns="0" rIns="0" bIns="0"/>
          <a:lstStyle>
            <a:lvl1pPr>
              <a:defRPr sz="900">
                <a:solidFill>
                  <a:srgbClr val="000000"/>
                </a:solidFill>
              </a:defRPr>
            </a:lvl1pPr>
          </a:lstStyle>
          <a:p>
            <a:r>
              <a:rPr lang="de-DE"/>
              <a:t>|  Optionale Zusatzinformationen</a:t>
            </a:r>
          </a:p>
        </p:txBody>
      </p:sp>
      <p:sp>
        <p:nvSpPr>
          <p:cNvPr id="11" name="Foliennummernplatzhalter 7">
            <a:extLst>
              <a:ext uri="{FF2B5EF4-FFF2-40B4-BE49-F238E27FC236}">
                <a16:creationId xmlns:a16="http://schemas.microsoft.com/office/drawing/2014/main" id="{81ED557E-1394-4AA2-ACA6-280C1FA0EE43}"/>
              </a:ext>
            </a:extLst>
          </p:cNvPr>
          <p:cNvSpPr>
            <a:spLocks noGrp="1"/>
          </p:cNvSpPr>
          <p:nvPr>
            <p:ph type="sldNum" sz="quarter" idx="4"/>
          </p:nvPr>
        </p:nvSpPr>
        <p:spPr>
          <a:xfrm>
            <a:off x="227043" y="6514798"/>
            <a:ext cx="384267" cy="151200"/>
          </a:xfrm>
          <a:prstGeom prst="rect">
            <a:avLst/>
          </a:prstGeom>
        </p:spPr>
        <p:txBody>
          <a:bodyPr lIns="0" tIns="0" rIns="0" bIns="0"/>
          <a:lstStyle>
            <a:lvl1pPr>
              <a:defRPr sz="900" b="1"/>
            </a:lvl1pPr>
          </a:lstStyle>
          <a:p>
            <a:fld id="{82EA1D04-CA53-4DE3-84A8-2B63E41036C9}" type="slidenum">
              <a:rPr lang="de-DE" smtClean="0"/>
              <a:pPr/>
              <a:t>‹#›</a:t>
            </a:fld>
            <a:endParaRPr lang="de-DE"/>
          </a:p>
        </p:txBody>
      </p:sp>
    </p:spTree>
    <p:extLst>
      <p:ext uri="{BB962C8B-B14F-4D97-AF65-F5344CB8AC3E}">
        <p14:creationId xmlns:p14="http://schemas.microsoft.com/office/powerpoint/2010/main" val="521798114"/>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type="twoColTx" preserve="1">
  <p:cSld name="Titel und zweispaltig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A8E6BF-CDDE-4BBA-B7C7-CD86C7261BC8}"/>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8FC1550A-B9C7-4F29-A06E-E6249E7B3610}"/>
              </a:ext>
            </a:extLst>
          </p:cNvPr>
          <p:cNvSpPr>
            <a:spLocks noGrp="1"/>
          </p:cNvSpPr>
          <p:nvPr>
            <p:ph type="body" sz="half" idx="1"/>
          </p:nvPr>
        </p:nvSpPr>
        <p:spPr>
          <a:xfrm>
            <a:off x="212344" y="1965579"/>
            <a:ext cx="5800852" cy="3906012"/>
          </a:xfrm>
          <a:prstGeom prst="rect">
            <a:avLst/>
          </a:prstGeo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platzhalter 3">
            <a:extLst>
              <a:ext uri="{FF2B5EF4-FFF2-40B4-BE49-F238E27FC236}">
                <a16:creationId xmlns:a16="http://schemas.microsoft.com/office/drawing/2014/main" id="{877FDF47-10EC-4B98-BEFE-5F17608FD7AF}"/>
              </a:ext>
            </a:extLst>
          </p:cNvPr>
          <p:cNvSpPr>
            <a:spLocks noGrp="1"/>
          </p:cNvSpPr>
          <p:nvPr>
            <p:ph type="body" sz="half" idx="2"/>
          </p:nvPr>
        </p:nvSpPr>
        <p:spPr>
          <a:xfrm>
            <a:off x="6165596" y="1965579"/>
            <a:ext cx="5800852" cy="3906012"/>
          </a:xfrm>
          <a:prstGeom prst="rect">
            <a:avLst/>
          </a:prstGeo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E08B4501-4886-4F90-AABA-29D3BFD5977B}"/>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6" name="Datumsplatzhalter 5">
            <a:extLst>
              <a:ext uri="{FF2B5EF4-FFF2-40B4-BE49-F238E27FC236}">
                <a16:creationId xmlns:a16="http://schemas.microsoft.com/office/drawing/2014/main" id="{BB037D59-CDCB-4605-A031-5C299A6851E3}"/>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C0E33138-ACF4-4AA0-BCDB-3A9F2443B8D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162E148D-DA16-4D47-86F8-5AC4C3F0BE9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5103390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ColTx" preserve="1">
  <p:cSld name="Titel und zweispaltig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A8E6BF-CDDE-4BBA-B7C7-CD86C7261BC8}"/>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8FC1550A-B9C7-4F29-A06E-E6249E7B3610}"/>
              </a:ext>
            </a:extLst>
          </p:cNvPr>
          <p:cNvSpPr>
            <a:spLocks noGrp="1"/>
          </p:cNvSpPr>
          <p:nvPr>
            <p:ph type="body" sz="half" idx="1"/>
          </p:nvPr>
        </p:nvSpPr>
        <p:spPr>
          <a:xfrm>
            <a:off x="212344" y="1965579"/>
            <a:ext cx="5800852" cy="3906012"/>
          </a:xfrm>
          <a:prstGeom prst="rect">
            <a:avLst/>
          </a:prstGeo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platzhalter 3">
            <a:extLst>
              <a:ext uri="{FF2B5EF4-FFF2-40B4-BE49-F238E27FC236}">
                <a16:creationId xmlns:a16="http://schemas.microsoft.com/office/drawing/2014/main" id="{877FDF47-10EC-4B98-BEFE-5F17608FD7AF}"/>
              </a:ext>
            </a:extLst>
          </p:cNvPr>
          <p:cNvSpPr>
            <a:spLocks noGrp="1"/>
          </p:cNvSpPr>
          <p:nvPr>
            <p:ph type="body" sz="half" idx="2"/>
          </p:nvPr>
        </p:nvSpPr>
        <p:spPr>
          <a:xfrm>
            <a:off x="6165596" y="1965579"/>
            <a:ext cx="5800852" cy="3906012"/>
          </a:xfrm>
          <a:prstGeom prst="rect">
            <a:avLst/>
          </a:prstGeo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E08B4501-4886-4F90-AABA-29D3BFD5977B}"/>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6" name="Datumsplatzhalter 5">
            <a:extLst>
              <a:ext uri="{FF2B5EF4-FFF2-40B4-BE49-F238E27FC236}">
                <a16:creationId xmlns:a16="http://schemas.microsoft.com/office/drawing/2014/main" id="{BB037D59-CDCB-4605-A031-5C299A6851E3}"/>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C0E33138-ACF4-4AA0-BCDB-3A9F2443B8D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5.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162E148D-DA16-4D47-86F8-5AC4C3F0BE9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5103390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x" preserve="1">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4EE502-26F1-4C14-8006-E86D8F1E927C}"/>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2049500F-CC95-49B3-830F-417100FC6694}"/>
              </a:ext>
            </a:extLst>
          </p:cNvPr>
          <p:cNvSpPr>
            <a:spLocks noGrp="1"/>
          </p:cNvSpPr>
          <p:nvPr>
            <p:ph type="body" idx="1"/>
          </p:nvPr>
        </p:nvSpPr>
        <p:spPr>
          <a:xfrm>
            <a:off x="212345" y="1965579"/>
            <a:ext cx="11753977"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Fußzeilenplatzhalter 3">
            <a:extLst>
              <a:ext uri="{FF2B5EF4-FFF2-40B4-BE49-F238E27FC236}">
                <a16:creationId xmlns:a16="http://schemas.microsoft.com/office/drawing/2014/main" id="{2C95302F-267A-4618-91A0-E4C43D68A43B}"/>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5" name="Datumsplatzhalter 4">
            <a:extLst>
              <a:ext uri="{FF2B5EF4-FFF2-40B4-BE49-F238E27FC236}">
                <a16:creationId xmlns:a16="http://schemas.microsoft.com/office/drawing/2014/main" id="{6337AE33-605D-4070-AE5D-63D17AF9551A}"/>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368FC967-E25B-4DC7-87C0-1C454DF70C3D}"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272BBEB6-46D3-4689-9C2A-D1A144321A8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25160163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x" preserve="1">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4EE502-26F1-4C14-8006-E86D8F1E927C}"/>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2049500F-CC95-49B3-830F-417100FC6694}"/>
              </a:ext>
            </a:extLst>
          </p:cNvPr>
          <p:cNvSpPr>
            <a:spLocks noGrp="1"/>
          </p:cNvSpPr>
          <p:nvPr>
            <p:ph type="body" idx="1"/>
          </p:nvPr>
        </p:nvSpPr>
        <p:spPr>
          <a:xfrm>
            <a:off x="212345" y="1965579"/>
            <a:ext cx="11753977"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Fußzeilenplatzhalter 3">
            <a:extLst>
              <a:ext uri="{FF2B5EF4-FFF2-40B4-BE49-F238E27FC236}">
                <a16:creationId xmlns:a16="http://schemas.microsoft.com/office/drawing/2014/main" id="{2C95302F-267A-4618-91A0-E4C43D68A43B}"/>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5" name="Datumsplatzhalter 4">
            <a:extLst>
              <a:ext uri="{FF2B5EF4-FFF2-40B4-BE49-F238E27FC236}">
                <a16:creationId xmlns:a16="http://schemas.microsoft.com/office/drawing/2014/main" id="{6337AE33-605D-4070-AE5D-63D17AF9551A}"/>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368FC967-E25B-4DC7-87C0-1C454DF70C3D}"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5.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272BBEB6-46D3-4689-9C2A-D1A144321A8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2516016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bl" preserve="1">
  <p:cSld name="Titel und Tabel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AE6E8A-5BA7-486D-B947-003A611BE206}"/>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abellenplatzhalter 2">
            <a:extLst>
              <a:ext uri="{FF2B5EF4-FFF2-40B4-BE49-F238E27FC236}">
                <a16:creationId xmlns:a16="http://schemas.microsoft.com/office/drawing/2014/main" id="{929C18BF-1B0A-4AB1-9EE5-095436AB506C}"/>
              </a:ext>
            </a:extLst>
          </p:cNvPr>
          <p:cNvSpPr>
            <a:spLocks noGrp="1"/>
          </p:cNvSpPr>
          <p:nvPr>
            <p:ph type="tbl" idx="1"/>
          </p:nvPr>
        </p:nvSpPr>
        <p:spPr>
          <a:xfrm>
            <a:off x="212345" y="1965579"/>
            <a:ext cx="11753977" cy="3906012"/>
          </a:xfrm>
          <a:prstGeom prst="rect">
            <a:avLst/>
          </a:prstGeom>
        </p:spPr>
        <p:txBody>
          <a:bodyPr/>
          <a:lstStyle/>
          <a:p>
            <a:r>
              <a:rPr lang="en-US"/>
              <a:t>Click icon to add table</a:t>
            </a:r>
            <a:endParaRPr lang="de-DE"/>
          </a:p>
        </p:txBody>
      </p:sp>
      <p:sp>
        <p:nvSpPr>
          <p:cNvPr id="4" name="Fußzeilenplatzhalter 3">
            <a:extLst>
              <a:ext uri="{FF2B5EF4-FFF2-40B4-BE49-F238E27FC236}">
                <a16:creationId xmlns:a16="http://schemas.microsoft.com/office/drawing/2014/main" id="{A8A05E60-490C-4331-A427-E892863F6E3B}"/>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5" name="Datumsplatzhalter 4">
            <a:extLst>
              <a:ext uri="{FF2B5EF4-FFF2-40B4-BE49-F238E27FC236}">
                <a16:creationId xmlns:a16="http://schemas.microsoft.com/office/drawing/2014/main" id="{61CD60CA-E7F1-42CF-8422-C37F5528F46F}"/>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EA828A8A-A900-4765-BE54-8F6A7A59D33A}"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AF2BE9BB-1EE3-4AE2-8BF7-B88FBE8733D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16505436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bl" preserve="1">
  <p:cSld name="Titel und Tabel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AE6E8A-5BA7-486D-B947-003A611BE206}"/>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abellenplatzhalter 2">
            <a:extLst>
              <a:ext uri="{FF2B5EF4-FFF2-40B4-BE49-F238E27FC236}">
                <a16:creationId xmlns:a16="http://schemas.microsoft.com/office/drawing/2014/main" id="{929C18BF-1B0A-4AB1-9EE5-095436AB506C}"/>
              </a:ext>
            </a:extLst>
          </p:cNvPr>
          <p:cNvSpPr>
            <a:spLocks noGrp="1"/>
          </p:cNvSpPr>
          <p:nvPr>
            <p:ph type="tbl" idx="1"/>
          </p:nvPr>
        </p:nvSpPr>
        <p:spPr>
          <a:xfrm>
            <a:off x="212345" y="1965579"/>
            <a:ext cx="11753977" cy="3906012"/>
          </a:xfrm>
          <a:prstGeom prst="rect">
            <a:avLst/>
          </a:prstGeom>
        </p:spPr>
        <p:txBody>
          <a:bodyPr/>
          <a:lstStyle/>
          <a:p>
            <a:r>
              <a:rPr lang="en-US"/>
              <a:t>Click icon to add table</a:t>
            </a:r>
            <a:endParaRPr lang="de-DE"/>
          </a:p>
        </p:txBody>
      </p:sp>
      <p:sp>
        <p:nvSpPr>
          <p:cNvPr id="4" name="Fußzeilenplatzhalter 3">
            <a:extLst>
              <a:ext uri="{FF2B5EF4-FFF2-40B4-BE49-F238E27FC236}">
                <a16:creationId xmlns:a16="http://schemas.microsoft.com/office/drawing/2014/main" id="{A8A05E60-490C-4331-A427-E892863F6E3B}"/>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5" name="Datumsplatzhalter 4">
            <a:extLst>
              <a:ext uri="{FF2B5EF4-FFF2-40B4-BE49-F238E27FC236}">
                <a16:creationId xmlns:a16="http://schemas.microsoft.com/office/drawing/2014/main" id="{61CD60CA-E7F1-42CF-8422-C37F5528F46F}"/>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EA828A8A-A900-4765-BE54-8F6A7A59D33A}"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5.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AF2BE9BB-1EE3-4AE2-8BF7-B88FBE8733D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1650543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xAndChart" preserve="1">
  <p:cSld name="Titel, Text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570CFC-19A3-4FC1-8679-96D023530C0F}"/>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99065C2F-7019-46C6-80C2-90C127178AB8}"/>
              </a:ext>
            </a:extLst>
          </p:cNvPr>
          <p:cNvSpPr>
            <a:spLocks noGrp="1"/>
          </p:cNvSpPr>
          <p:nvPr>
            <p:ph type="body" sz="half" idx="1"/>
          </p:nvPr>
        </p:nvSpPr>
        <p:spPr>
          <a:xfrm>
            <a:off x="212343"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iagrammplatzhalter 3">
            <a:extLst>
              <a:ext uri="{FF2B5EF4-FFF2-40B4-BE49-F238E27FC236}">
                <a16:creationId xmlns:a16="http://schemas.microsoft.com/office/drawing/2014/main" id="{88B10754-5428-423A-93CA-445D5DE8B485}"/>
              </a:ext>
            </a:extLst>
          </p:cNvPr>
          <p:cNvSpPr>
            <a:spLocks noGrp="1"/>
          </p:cNvSpPr>
          <p:nvPr>
            <p:ph type="chart" sz="half" idx="2"/>
          </p:nvPr>
        </p:nvSpPr>
        <p:spPr>
          <a:xfrm>
            <a:off x="6165595" y="1965579"/>
            <a:ext cx="5800852" cy="3906012"/>
          </a:xfrm>
          <a:prstGeom prst="rect">
            <a:avLst/>
          </a:prstGeom>
        </p:spPr>
        <p:txBody>
          <a:bodyPr/>
          <a:lstStyle/>
          <a:p>
            <a:r>
              <a:rPr lang="en-US"/>
              <a:t>Click icon to add chart</a:t>
            </a:r>
            <a:endParaRPr lang="de-DE"/>
          </a:p>
        </p:txBody>
      </p:sp>
      <p:sp>
        <p:nvSpPr>
          <p:cNvPr id="5" name="Fußzeilenplatzhalter 4">
            <a:extLst>
              <a:ext uri="{FF2B5EF4-FFF2-40B4-BE49-F238E27FC236}">
                <a16:creationId xmlns:a16="http://schemas.microsoft.com/office/drawing/2014/main" id="{9815BF5D-3067-4438-8FD2-AB351B3A436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6" name="Datumsplatzhalter 5">
            <a:extLst>
              <a:ext uri="{FF2B5EF4-FFF2-40B4-BE49-F238E27FC236}">
                <a16:creationId xmlns:a16="http://schemas.microsoft.com/office/drawing/2014/main" id="{08593090-51CA-4CA4-8050-35DEF5113D5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C0F31EDC-29F8-4FDE-A096-1A8A5A19E28A}"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38686210-6ED2-4620-8AD0-9A0AECDE200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73980696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xAndChart" preserve="1">
  <p:cSld name="Titel, Text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570CFC-19A3-4FC1-8679-96D023530C0F}"/>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99065C2F-7019-46C6-80C2-90C127178AB8}"/>
              </a:ext>
            </a:extLst>
          </p:cNvPr>
          <p:cNvSpPr>
            <a:spLocks noGrp="1"/>
          </p:cNvSpPr>
          <p:nvPr>
            <p:ph type="body" sz="half" idx="1"/>
          </p:nvPr>
        </p:nvSpPr>
        <p:spPr>
          <a:xfrm>
            <a:off x="212343"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iagrammplatzhalter 3">
            <a:extLst>
              <a:ext uri="{FF2B5EF4-FFF2-40B4-BE49-F238E27FC236}">
                <a16:creationId xmlns:a16="http://schemas.microsoft.com/office/drawing/2014/main" id="{88B10754-5428-423A-93CA-445D5DE8B485}"/>
              </a:ext>
            </a:extLst>
          </p:cNvPr>
          <p:cNvSpPr>
            <a:spLocks noGrp="1"/>
          </p:cNvSpPr>
          <p:nvPr>
            <p:ph type="chart" sz="half" idx="2"/>
          </p:nvPr>
        </p:nvSpPr>
        <p:spPr>
          <a:xfrm>
            <a:off x="6165595" y="1965579"/>
            <a:ext cx="5800852" cy="3906012"/>
          </a:xfrm>
          <a:prstGeom prst="rect">
            <a:avLst/>
          </a:prstGeom>
        </p:spPr>
        <p:txBody>
          <a:bodyPr/>
          <a:lstStyle/>
          <a:p>
            <a:r>
              <a:rPr lang="en-US"/>
              <a:t>Click icon to add chart</a:t>
            </a:r>
            <a:endParaRPr lang="de-DE"/>
          </a:p>
        </p:txBody>
      </p:sp>
      <p:sp>
        <p:nvSpPr>
          <p:cNvPr id="5" name="Fußzeilenplatzhalter 4">
            <a:extLst>
              <a:ext uri="{FF2B5EF4-FFF2-40B4-BE49-F238E27FC236}">
                <a16:creationId xmlns:a16="http://schemas.microsoft.com/office/drawing/2014/main" id="{9815BF5D-3067-4438-8FD2-AB351B3A436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6" name="Datumsplatzhalter 5">
            <a:extLst>
              <a:ext uri="{FF2B5EF4-FFF2-40B4-BE49-F238E27FC236}">
                <a16:creationId xmlns:a16="http://schemas.microsoft.com/office/drawing/2014/main" id="{08593090-51CA-4CA4-8050-35DEF5113D5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C0F31EDC-29F8-4FDE-A096-1A8A5A19E28A}"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5.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38686210-6ED2-4620-8AD0-9A0AECDE200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7398069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chartAndTx" preserve="1">
  <p:cSld name="Titel, Diagramm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739942-E2E1-4118-934D-4EDEBD70569B}"/>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Diagrammplatzhalter 2">
            <a:extLst>
              <a:ext uri="{FF2B5EF4-FFF2-40B4-BE49-F238E27FC236}">
                <a16:creationId xmlns:a16="http://schemas.microsoft.com/office/drawing/2014/main" id="{EFA9D9D7-18E2-4D2F-97C2-B5B56484A2CC}"/>
              </a:ext>
            </a:extLst>
          </p:cNvPr>
          <p:cNvSpPr>
            <a:spLocks noGrp="1"/>
          </p:cNvSpPr>
          <p:nvPr>
            <p:ph type="chart" sz="half" idx="1"/>
          </p:nvPr>
        </p:nvSpPr>
        <p:spPr>
          <a:xfrm>
            <a:off x="212343" y="1965579"/>
            <a:ext cx="5800852" cy="3906012"/>
          </a:xfrm>
          <a:prstGeom prst="rect">
            <a:avLst/>
          </a:prstGeom>
        </p:spPr>
        <p:txBody>
          <a:bodyPr/>
          <a:lstStyle/>
          <a:p>
            <a:r>
              <a:rPr lang="en-US"/>
              <a:t>Click icon to add chart</a:t>
            </a:r>
            <a:endParaRPr lang="de-DE"/>
          </a:p>
        </p:txBody>
      </p:sp>
      <p:sp>
        <p:nvSpPr>
          <p:cNvPr id="4" name="Textplatzhalter 3">
            <a:extLst>
              <a:ext uri="{FF2B5EF4-FFF2-40B4-BE49-F238E27FC236}">
                <a16:creationId xmlns:a16="http://schemas.microsoft.com/office/drawing/2014/main" id="{67270A36-07B9-4B5B-8EA5-FC4A36502F14}"/>
              </a:ext>
            </a:extLst>
          </p:cNvPr>
          <p:cNvSpPr>
            <a:spLocks noGrp="1"/>
          </p:cNvSpPr>
          <p:nvPr>
            <p:ph type="body" sz="half" idx="2"/>
          </p:nvPr>
        </p:nvSpPr>
        <p:spPr>
          <a:xfrm>
            <a:off x="6165595"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835D6173-567C-4DF7-8E5A-2F4401EC5BCC}"/>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6" name="Datumsplatzhalter 5">
            <a:extLst>
              <a:ext uri="{FF2B5EF4-FFF2-40B4-BE49-F238E27FC236}">
                <a16:creationId xmlns:a16="http://schemas.microsoft.com/office/drawing/2014/main" id="{19182B75-E9DD-4C82-8759-EC7BCDD8895A}"/>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CAFAA40D-DF08-40E5-9F38-B7BC60CAE2A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F53177F6-3049-4C1A-BBCE-63A3197B4DA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59799709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chartAndTx" preserve="1">
  <p:cSld name="Titel, Diagramm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739942-E2E1-4118-934D-4EDEBD70569B}"/>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Diagrammplatzhalter 2">
            <a:extLst>
              <a:ext uri="{FF2B5EF4-FFF2-40B4-BE49-F238E27FC236}">
                <a16:creationId xmlns:a16="http://schemas.microsoft.com/office/drawing/2014/main" id="{EFA9D9D7-18E2-4D2F-97C2-B5B56484A2CC}"/>
              </a:ext>
            </a:extLst>
          </p:cNvPr>
          <p:cNvSpPr>
            <a:spLocks noGrp="1"/>
          </p:cNvSpPr>
          <p:nvPr>
            <p:ph type="chart" sz="half" idx="1"/>
          </p:nvPr>
        </p:nvSpPr>
        <p:spPr>
          <a:xfrm>
            <a:off x="212343" y="1965579"/>
            <a:ext cx="5800852" cy="3906012"/>
          </a:xfrm>
          <a:prstGeom prst="rect">
            <a:avLst/>
          </a:prstGeom>
        </p:spPr>
        <p:txBody>
          <a:bodyPr/>
          <a:lstStyle/>
          <a:p>
            <a:r>
              <a:rPr lang="en-US"/>
              <a:t>Click icon to add chart</a:t>
            </a:r>
            <a:endParaRPr lang="de-DE"/>
          </a:p>
        </p:txBody>
      </p:sp>
      <p:sp>
        <p:nvSpPr>
          <p:cNvPr id="4" name="Textplatzhalter 3">
            <a:extLst>
              <a:ext uri="{FF2B5EF4-FFF2-40B4-BE49-F238E27FC236}">
                <a16:creationId xmlns:a16="http://schemas.microsoft.com/office/drawing/2014/main" id="{67270A36-07B9-4B5B-8EA5-FC4A36502F14}"/>
              </a:ext>
            </a:extLst>
          </p:cNvPr>
          <p:cNvSpPr>
            <a:spLocks noGrp="1"/>
          </p:cNvSpPr>
          <p:nvPr>
            <p:ph type="body" sz="half" idx="2"/>
          </p:nvPr>
        </p:nvSpPr>
        <p:spPr>
          <a:xfrm>
            <a:off x="6165595"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835D6173-567C-4DF7-8E5A-2F4401EC5BCC}"/>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6" name="Datumsplatzhalter 5">
            <a:extLst>
              <a:ext uri="{FF2B5EF4-FFF2-40B4-BE49-F238E27FC236}">
                <a16:creationId xmlns:a16="http://schemas.microsoft.com/office/drawing/2014/main" id="{19182B75-E9DD-4C82-8759-EC7BCDD8895A}"/>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CAFAA40D-DF08-40E5-9F38-B7BC60CAE2A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5.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F53177F6-3049-4C1A-BBCE-63A3197B4DA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5979970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dgm" preserve="1">
  <p:cSld name="Titel und Diagramm oder Organi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97F078-4BE0-4FCC-A4F6-3F47654B1DE4}"/>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SmartArt-Platzhalter 2">
            <a:extLst>
              <a:ext uri="{FF2B5EF4-FFF2-40B4-BE49-F238E27FC236}">
                <a16:creationId xmlns:a16="http://schemas.microsoft.com/office/drawing/2014/main" id="{59842522-B689-4429-8668-A12EAE0FF73B}"/>
              </a:ext>
            </a:extLst>
          </p:cNvPr>
          <p:cNvSpPr>
            <a:spLocks noGrp="1"/>
          </p:cNvSpPr>
          <p:nvPr>
            <p:ph type="dgm" idx="1"/>
          </p:nvPr>
        </p:nvSpPr>
        <p:spPr>
          <a:xfrm>
            <a:off x="212345" y="1965579"/>
            <a:ext cx="11753977" cy="3906012"/>
          </a:xfrm>
          <a:prstGeom prst="rect">
            <a:avLst/>
          </a:prstGeom>
        </p:spPr>
        <p:txBody>
          <a:bodyPr/>
          <a:lstStyle/>
          <a:p>
            <a:r>
              <a:rPr lang="en-US"/>
              <a:t>Click icon to add SmartArt graphic</a:t>
            </a:r>
            <a:endParaRPr lang="de-DE"/>
          </a:p>
        </p:txBody>
      </p:sp>
      <p:sp>
        <p:nvSpPr>
          <p:cNvPr id="4" name="Fußzeilenplatzhalter 3">
            <a:extLst>
              <a:ext uri="{FF2B5EF4-FFF2-40B4-BE49-F238E27FC236}">
                <a16:creationId xmlns:a16="http://schemas.microsoft.com/office/drawing/2014/main" id="{DE2008AD-EC4B-49B9-92D6-1B8D349A637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5" name="Datumsplatzhalter 4">
            <a:extLst>
              <a:ext uri="{FF2B5EF4-FFF2-40B4-BE49-F238E27FC236}">
                <a16:creationId xmlns:a16="http://schemas.microsoft.com/office/drawing/2014/main" id="{B2C8BA3A-C496-4C05-B63D-8AB93B2B95C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F458B07D-B1E9-499A-953F-B5C3869B847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C2D12463-DC1C-4D03-BD29-5BAED045002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57399339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dgm" preserve="1">
  <p:cSld name="Titel und Diagramm oder Organi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97F078-4BE0-4FCC-A4F6-3F47654B1DE4}"/>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SmartArt-Platzhalter 2">
            <a:extLst>
              <a:ext uri="{FF2B5EF4-FFF2-40B4-BE49-F238E27FC236}">
                <a16:creationId xmlns:a16="http://schemas.microsoft.com/office/drawing/2014/main" id="{59842522-B689-4429-8668-A12EAE0FF73B}"/>
              </a:ext>
            </a:extLst>
          </p:cNvPr>
          <p:cNvSpPr>
            <a:spLocks noGrp="1"/>
          </p:cNvSpPr>
          <p:nvPr>
            <p:ph type="dgm" idx="1"/>
          </p:nvPr>
        </p:nvSpPr>
        <p:spPr>
          <a:xfrm>
            <a:off x="212345" y="1965579"/>
            <a:ext cx="11753977" cy="3906012"/>
          </a:xfrm>
          <a:prstGeom prst="rect">
            <a:avLst/>
          </a:prstGeom>
        </p:spPr>
        <p:txBody>
          <a:bodyPr/>
          <a:lstStyle/>
          <a:p>
            <a:r>
              <a:rPr lang="en-US"/>
              <a:t>Click icon to add SmartArt graphic</a:t>
            </a:r>
            <a:endParaRPr lang="de-DE"/>
          </a:p>
        </p:txBody>
      </p:sp>
      <p:sp>
        <p:nvSpPr>
          <p:cNvPr id="4" name="Fußzeilenplatzhalter 3">
            <a:extLst>
              <a:ext uri="{FF2B5EF4-FFF2-40B4-BE49-F238E27FC236}">
                <a16:creationId xmlns:a16="http://schemas.microsoft.com/office/drawing/2014/main" id="{DE2008AD-EC4B-49B9-92D6-1B8D349A637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5" name="Datumsplatzhalter 4">
            <a:extLst>
              <a:ext uri="{FF2B5EF4-FFF2-40B4-BE49-F238E27FC236}">
                <a16:creationId xmlns:a16="http://schemas.microsoft.com/office/drawing/2014/main" id="{B2C8BA3A-C496-4C05-B63D-8AB93B2B95C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F458B07D-B1E9-499A-953F-B5C3869B847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5.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C2D12463-DC1C-4D03-BD29-5BAED045002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5739933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chart" preserve="1">
  <p:cSld name="Titel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021F22-9201-4312-82BB-977424A9FDC8}"/>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Diagrammplatzhalter 2">
            <a:extLst>
              <a:ext uri="{FF2B5EF4-FFF2-40B4-BE49-F238E27FC236}">
                <a16:creationId xmlns:a16="http://schemas.microsoft.com/office/drawing/2014/main" id="{3B4E2F07-E33A-4677-B67C-2A8D3D8F588D}"/>
              </a:ext>
            </a:extLst>
          </p:cNvPr>
          <p:cNvSpPr>
            <a:spLocks noGrp="1"/>
          </p:cNvSpPr>
          <p:nvPr>
            <p:ph type="chart" idx="1"/>
          </p:nvPr>
        </p:nvSpPr>
        <p:spPr>
          <a:xfrm>
            <a:off x="212345" y="1965579"/>
            <a:ext cx="11753977" cy="3906012"/>
          </a:xfrm>
          <a:prstGeom prst="rect">
            <a:avLst/>
          </a:prstGeom>
        </p:spPr>
        <p:txBody>
          <a:bodyPr/>
          <a:lstStyle/>
          <a:p>
            <a:r>
              <a:rPr lang="en-US"/>
              <a:t>Click icon to add chart</a:t>
            </a:r>
            <a:endParaRPr lang="de-DE"/>
          </a:p>
        </p:txBody>
      </p:sp>
      <p:sp>
        <p:nvSpPr>
          <p:cNvPr id="4" name="Fußzeilenplatzhalter 3">
            <a:extLst>
              <a:ext uri="{FF2B5EF4-FFF2-40B4-BE49-F238E27FC236}">
                <a16:creationId xmlns:a16="http://schemas.microsoft.com/office/drawing/2014/main" id="{259A8878-DBD1-4A55-8181-4E9D32DD386A}"/>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5" name="Datumsplatzhalter 4">
            <a:extLst>
              <a:ext uri="{FF2B5EF4-FFF2-40B4-BE49-F238E27FC236}">
                <a16:creationId xmlns:a16="http://schemas.microsoft.com/office/drawing/2014/main" id="{595FA3F9-A4B2-4E51-BF05-870A2E94510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550AD6C-84CC-4A5E-86D3-FC3E11464A67}"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B8E24E94-7A64-4263-93F5-D84EB45D40F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73613251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chart" preserve="1">
  <p:cSld name="Titel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021F22-9201-4312-82BB-977424A9FDC8}"/>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Diagrammplatzhalter 2">
            <a:extLst>
              <a:ext uri="{FF2B5EF4-FFF2-40B4-BE49-F238E27FC236}">
                <a16:creationId xmlns:a16="http://schemas.microsoft.com/office/drawing/2014/main" id="{3B4E2F07-E33A-4677-B67C-2A8D3D8F588D}"/>
              </a:ext>
            </a:extLst>
          </p:cNvPr>
          <p:cNvSpPr>
            <a:spLocks noGrp="1"/>
          </p:cNvSpPr>
          <p:nvPr>
            <p:ph type="chart" idx="1"/>
          </p:nvPr>
        </p:nvSpPr>
        <p:spPr>
          <a:xfrm>
            <a:off x="212345" y="1965579"/>
            <a:ext cx="11753977" cy="3906012"/>
          </a:xfrm>
          <a:prstGeom prst="rect">
            <a:avLst/>
          </a:prstGeom>
        </p:spPr>
        <p:txBody>
          <a:bodyPr/>
          <a:lstStyle/>
          <a:p>
            <a:r>
              <a:rPr lang="en-US"/>
              <a:t>Click icon to add chart</a:t>
            </a:r>
            <a:endParaRPr lang="de-DE"/>
          </a:p>
        </p:txBody>
      </p:sp>
      <p:sp>
        <p:nvSpPr>
          <p:cNvPr id="4" name="Fußzeilenplatzhalter 3">
            <a:extLst>
              <a:ext uri="{FF2B5EF4-FFF2-40B4-BE49-F238E27FC236}">
                <a16:creationId xmlns:a16="http://schemas.microsoft.com/office/drawing/2014/main" id="{259A8878-DBD1-4A55-8181-4E9D32DD386A}"/>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5" name="Datumsplatzhalter 4">
            <a:extLst>
              <a:ext uri="{FF2B5EF4-FFF2-40B4-BE49-F238E27FC236}">
                <a16:creationId xmlns:a16="http://schemas.microsoft.com/office/drawing/2014/main" id="{595FA3F9-A4B2-4E51-BF05-870A2E94510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550AD6C-84CC-4A5E-86D3-FC3E11464A67}"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5.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B8E24E94-7A64-4263-93F5-D84EB45D40F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73613251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18" Type="http://schemas.openxmlformats.org/officeDocument/2006/relationships/slideLayout" Target="../slideLayouts/slideLayout20.xml"/><Relationship Id="rId3" Type="http://schemas.openxmlformats.org/officeDocument/2006/relationships/slideLayout" Target="../slideLayouts/slideLayout5.xml"/><Relationship Id="rId21" Type="http://schemas.openxmlformats.org/officeDocument/2006/relationships/slideLayout" Target="../slideLayouts/slideLayout23.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image" Target="../media/image1.png"/><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theme" Target="../theme/theme2.xml"/><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slideLayout" Target="../slideLayouts/slideLayout25.xml"/><Relationship Id="rId10" Type="http://schemas.openxmlformats.org/officeDocument/2006/relationships/slideLayout" Target="../slideLayouts/slideLayout12.xml"/><Relationship Id="rId19" Type="http://schemas.openxmlformats.org/officeDocument/2006/relationships/slideLayout" Target="../slideLayouts/slideLayout21.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50.xml"/><Relationship Id="rId18" Type="http://schemas.openxmlformats.org/officeDocument/2006/relationships/slideLayout" Target="../slideLayouts/slideLayout200.xml"/><Relationship Id="rId3" Type="http://schemas.openxmlformats.org/officeDocument/2006/relationships/slideLayout" Target="../slideLayouts/slideLayout50.xml"/><Relationship Id="rId21" Type="http://schemas.openxmlformats.org/officeDocument/2006/relationships/slideLayout" Target="../slideLayouts/slideLayout230.xml"/><Relationship Id="rId7" Type="http://schemas.openxmlformats.org/officeDocument/2006/relationships/slideLayout" Target="../slideLayouts/slideLayout90.xml"/><Relationship Id="rId12" Type="http://schemas.openxmlformats.org/officeDocument/2006/relationships/slideLayout" Target="../slideLayouts/slideLayout140.xml"/><Relationship Id="rId17" Type="http://schemas.openxmlformats.org/officeDocument/2006/relationships/slideLayout" Target="../slideLayouts/slideLayout190.xml"/><Relationship Id="rId25" Type="http://schemas.openxmlformats.org/officeDocument/2006/relationships/image" Target="../media/image1.png"/><Relationship Id="rId2" Type="http://schemas.openxmlformats.org/officeDocument/2006/relationships/slideLayout" Target="../slideLayouts/slideLayout40.xml"/><Relationship Id="rId16" Type="http://schemas.openxmlformats.org/officeDocument/2006/relationships/slideLayout" Target="../slideLayouts/slideLayout180.xml"/><Relationship Id="rId20" Type="http://schemas.openxmlformats.org/officeDocument/2006/relationships/slideLayout" Target="../slideLayouts/slideLayout220.xml"/><Relationship Id="rId1" Type="http://schemas.openxmlformats.org/officeDocument/2006/relationships/slideLayout" Target="../slideLayouts/slideLayout30.xml"/><Relationship Id="rId6" Type="http://schemas.openxmlformats.org/officeDocument/2006/relationships/slideLayout" Target="../slideLayouts/slideLayout80.xml"/><Relationship Id="rId11" Type="http://schemas.openxmlformats.org/officeDocument/2006/relationships/slideLayout" Target="../slideLayouts/slideLayout130.xml"/><Relationship Id="rId24" Type="http://schemas.openxmlformats.org/officeDocument/2006/relationships/theme" Target="../theme/theme20.xml"/><Relationship Id="rId5" Type="http://schemas.openxmlformats.org/officeDocument/2006/relationships/slideLayout" Target="../slideLayouts/slideLayout70.xml"/><Relationship Id="rId15" Type="http://schemas.openxmlformats.org/officeDocument/2006/relationships/slideLayout" Target="../slideLayouts/slideLayout170.xml"/><Relationship Id="rId23" Type="http://schemas.openxmlformats.org/officeDocument/2006/relationships/slideLayout" Target="../slideLayouts/slideLayout250.xml"/><Relationship Id="rId10" Type="http://schemas.openxmlformats.org/officeDocument/2006/relationships/slideLayout" Target="../slideLayouts/slideLayout120.xml"/><Relationship Id="rId19" Type="http://schemas.openxmlformats.org/officeDocument/2006/relationships/slideLayout" Target="../slideLayouts/slideLayout210.xml"/><Relationship Id="rId4" Type="http://schemas.openxmlformats.org/officeDocument/2006/relationships/slideLayout" Target="../slideLayouts/slideLayout60.xml"/><Relationship Id="rId9" Type="http://schemas.openxmlformats.org/officeDocument/2006/relationships/slideLayout" Target="../slideLayouts/slideLayout110.xml"/><Relationship Id="rId14" Type="http://schemas.openxmlformats.org/officeDocument/2006/relationships/slideLayout" Target="../slideLayouts/slideLayout160.xml"/><Relationship Id="rId22" Type="http://schemas.openxmlformats.org/officeDocument/2006/relationships/slideLayout" Target="../slideLayouts/slideLayout240.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3.xml"/><Relationship Id="rId1" Type="http://schemas.openxmlformats.org/officeDocument/2006/relationships/slideLayout" Target="../slideLayouts/slideLayout26.xml"/><Relationship Id="rId5" Type="http://schemas.openxmlformats.org/officeDocument/2006/relationships/image" Target="../media/image2.emf"/><Relationship Id="rId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28.xml"/><Relationship Id="rId1" Type="http://schemas.openxmlformats.org/officeDocument/2006/relationships/slideLayout" Target="../slideLayouts/slideLayout27.xml"/><Relationship Id="rId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Datumsplatzhalter 5">
            <a:extLst>
              <a:ext uri="{FF2B5EF4-FFF2-40B4-BE49-F238E27FC236}">
                <a16:creationId xmlns:a16="http://schemas.microsoft.com/office/drawing/2014/main" id="{44D2B04B-1A28-4740-887F-6AE17A61FB1D}"/>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71B88AF3-4541-4F5C-AF26-37E7C0CE22A2}" type="datetimeFigureOut">
              <a:rPr lang="de-DE" smtClean="0"/>
              <a:t>16.02.25</a:t>
            </a:fld>
            <a:endParaRPr lang="de-DE"/>
          </a:p>
        </p:txBody>
      </p:sp>
      <p:sp>
        <p:nvSpPr>
          <p:cNvPr id="5" name="Fußzeilenplatzhalter 6">
            <a:extLst>
              <a:ext uri="{FF2B5EF4-FFF2-40B4-BE49-F238E27FC236}">
                <a16:creationId xmlns:a16="http://schemas.microsoft.com/office/drawing/2014/main" id="{367FD070-A64E-48E3-982E-4565503869A1}"/>
              </a:ext>
            </a:extLst>
          </p:cNvPr>
          <p:cNvSpPr>
            <a:spLocks noGrp="1"/>
          </p:cNvSpPr>
          <p:nvPr>
            <p:ph type="ftr" sz="quarter" idx="3"/>
          </p:nvPr>
        </p:nvSpPr>
        <p:spPr>
          <a:xfrm>
            <a:off x="1368000" y="6516110"/>
            <a:ext cx="3364269" cy="167933"/>
          </a:xfrm>
          <a:prstGeom prst="rect">
            <a:avLst/>
          </a:prstGeom>
        </p:spPr>
        <p:txBody>
          <a:bodyPr lIns="0" tIns="0" rIns="0" bIns="0"/>
          <a:lstStyle>
            <a:lvl1pPr>
              <a:defRPr sz="900">
                <a:solidFill>
                  <a:srgbClr val="000000"/>
                </a:solidFill>
              </a:defRPr>
            </a:lvl1pPr>
          </a:lstStyle>
          <a:p>
            <a:r>
              <a:rPr lang="de-DE"/>
              <a:t>| Optional</a:t>
            </a:r>
          </a:p>
        </p:txBody>
      </p:sp>
      <p:sp>
        <p:nvSpPr>
          <p:cNvPr id="6" name="Foliennummernplatzhalter 7">
            <a:extLst>
              <a:ext uri="{FF2B5EF4-FFF2-40B4-BE49-F238E27FC236}">
                <a16:creationId xmlns:a16="http://schemas.microsoft.com/office/drawing/2014/main" id="{08AB417C-C855-4F55-B8B7-4214CFB7ADB8}"/>
              </a:ext>
            </a:extLst>
          </p:cNvPr>
          <p:cNvSpPr>
            <a:spLocks noGrp="1"/>
          </p:cNvSpPr>
          <p:nvPr>
            <p:ph type="sldNum" sz="quarter" idx="4"/>
          </p:nvPr>
        </p:nvSpPr>
        <p:spPr>
          <a:xfrm>
            <a:off x="227013" y="6514798"/>
            <a:ext cx="384217" cy="151200"/>
          </a:xfrm>
          <a:prstGeom prst="rect">
            <a:avLst/>
          </a:prstGeom>
        </p:spPr>
        <p:txBody>
          <a:bodyPr lIns="0" tIns="0" rIns="0" bIns="0"/>
          <a:lstStyle>
            <a:lvl1pPr>
              <a:defRPr sz="900" b="1"/>
            </a:lvl1pPr>
          </a:lstStyle>
          <a:p>
            <a:fld id="{A1CA324B-5236-48D7-A1E0-8B075E23CB27}" type="slidenum">
              <a:rPr lang="de-DE" smtClean="0"/>
              <a:t>‹#›</a:t>
            </a:fld>
            <a:endParaRPr lang="de-DE"/>
          </a:p>
        </p:txBody>
      </p:sp>
      <p:sp>
        <p:nvSpPr>
          <p:cNvPr id="7" name="Title Placeholder 6">
            <a:extLst>
              <a:ext uri="{FF2B5EF4-FFF2-40B4-BE49-F238E27FC236}">
                <a16:creationId xmlns:a16="http://schemas.microsoft.com/office/drawing/2014/main" id="{1096BB1C-8958-5C08-204C-052E02E0511B}"/>
              </a:ext>
            </a:extLst>
          </p:cNvPr>
          <p:cNvSpPr>
            <a:spLocks noGrp="1"/>
          </p:cNvSpPr>
          <p:nvPr>
            <p:ph type="title"/>
          </p:nvPr>
        </p:nvSpPr>
        <p:spPr>
          <a:xfrm>
            <a:off x="838200" y="365125"/>
            <a:ext cx="10515600" cy="1325563"/>
          </a:xfrm>
          <a:prstGeom prst="rect">
            <a:avLst/>
          </a:prstGeom>
        </p:spPr>
        <p:txBody>
          <a:bodyPr vert="horz" lIns="0" tIns="0" rIns="0" bIns="0" rtlCol="0" anchor="t">
            <a:normAutofit/>
          </a:bodyPr>
          <a:lstStyle/>
          <a:p>
            <a:r>
              <a:rPr lang="en-GB"/>
              <a:t>Click to edit Master title style</a:t>
            </a:r>
            <a:endParaRPr lang="de-DE"/>
          </a:p>
        </p:txBody>
      </p:sp>
      <p:sp>
        <p:nvSpPr>
          <p:cNvPr id="8" name="Text Placeholder 7">
            <a:extLst>
              <a:ext uri="{FF2B5EF4-FFF2-40B4-BE49-F238E27FC236}">
                <a16:creationId xmlns:a16="http://schemas.microsoft.com/office/drawing/2014/main" id="{DBA692F9-53DF-0085-A870-A2028794C5C5}"/>
              </a:ext>
            </a:extLst>
          </p:cNvPr>
          <p:cNvSpPr>
            <a:spLocks noGrp="1"/>
          </p:cNvSpPr>
          <p:nvPr>
            <p:ph type="body" idx="1"/>
          </p:nvPr>
        </p:nvSpPr>
        <p:spPr>
          <a:xfrm>
            <a:off x="838200" y="1825625"/>
            <a:ext cx="10515600" cy="435133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a:p>
        </p:txBody>
      </p:sp>
    </p:spTree>
    <p:extLst>
      <p:ext uri="{BB962C8B-B14F-4D97-AF65-F5344CB8AC3E}">
        <p14:creationId xmlns:p14="http://schemas.microsoft.com/office/powerpoint/2010/main" val="1112927922"/>
      </p:ext>
    </p:extLst>
  </p:cSld>
  <p:clrMap bg1="lt1" tx1="dk1" bg2="lt2" tx2="dk2" accent1="accent1" accent2="accent2" accent3="accent3" accent4="accent4" accent5="accent5" accent6="accent6" hlink="hlink" folHlink="folHlink"/>
  <p:sldLayoutIdLst>
    <p:sldLayoutId id="2147483734" r:id="rId1"/>
    <p:sldLayoutId id="2147483765" r:id="rId2"/>
  </p:sldLayoutIdLst>
  <p:txStyles>
    <p:titleStyle>
      <a:lvl1pPr algn="l" defTabSz="914400" rtl="0" eaLnBrk="1" latinLnBrk="0" hangingPunct="1">
        <a:lnSpc>
          <a:spcPct val="90000"/>
        </a:lnSpc>
        <a:spcBef>
          <a:spcPct val="0"/>
        </a:spcBef>
        <a:buNone/>
        <a:defRPr sz="3400" kern="1200">
          <a:solidFill>
            <a:schemeClr val="accent1"/>
          </a:solidFill>
          <a:latin typeface="+mj-lt"/>
          <a:ea typeface="+mj-ea"/>
          <a:cs typeface="+mj-cs"/>
        </a:defRPr>
      </a:lvl1pPr>
    </p:titleStyle>
    <p:bodyStyle>
      <a:lvl1pPr marL="342000" indent="-342000" algn="l" defTabSz="914400" rtl="0" eaLnBrk="1" latinLnBrk="0" hangingPunct="1">
        <a:lnSpc>
          <a:spcPct val="95000"/>
        </a:lnSpc>
        <a:spcBef>
          <a:spcPts val="1800"/>
        </a:spcBef>
        <a:spcAft>
          <a:spcPts val="0"/>
        </a:spcAft>
        <a:buClr>
          <a:schemeClr val="accent1"/>
        </a:buClr>
        <a:buSzPct val="100000"/>
        <a:buFont typeface="Wingdings" panose="05000000000000000000" pitchFamily="2" charset="2"/>
        <a:buChar char=""/>
        <a:defRPr lang="de-DE" sz="2000" b="0" i="0" kern="1200" baseline="0" dirty="0">
          <a:solidFill>
            <a:schemeClr val="tx1"/>
          </a:solidFill>
          <a:latin typeface="Arial" panose="020B0604020202020204" pitchFamily="34" charset="0"/>
          <a:ea typeface="+mn-ea"/>
          <a:cs typeface="+mn-cs"/>
        </a:defRPr>
      </a:lvl1pPr>
      <a:lvl2pPr marL="622800" indent="-266400" algn="l" defTabSz="914400" rtl="0" eaLnBrk="1" latinLnBrk="0" hangingPunct="1">
        <a:lnSpc>
          <a:spcPct val="95000"/>
        </a:lnSpc>
        <a:spcBef>
          <a:spcPts val="600"/>
        </a:spcBef>
        <a:spcAft>
          <a:spcPts val="0"/>
        </a:spcAft>
        <a:buClr>
          <a:schemeClr val="accent1"/>
        </a:buClr>
        <a:buSzPct val="100000"/>
        <a:buFont typeface="Wingdings 3" panose="05040102010807070707" pitchFamily="18" charset="2"/>
        <a:buChar char=""/>
        <a:defRPr lang="de-DE" sz="2000" b="0" i="0" kern="1200" baseline="0" dirty="0">
          <a:solidFill>
            <a:schemeClr val="tx1"/>
          </a:solidFill>
          <a:latin typeface="Arial" panose="020B0604020202020204" pitchFamily="34" charset="0"/>
          <a:ea typeface="+mn-ea"/>
          <a:cs typeface="+mn-cs"/>
        </a:defRPr>
      </a:lvl2pPr>
      <a:lvl3pPr marL="900000" indent="-277200" algn="l" defTabSz="9144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lang="de-DE" sz="2000" b="0" i="0" kern="1200" baseline="0" dirty="0">
          <a:solidFill>
            <a:schemeClr val="tx1"/>
          </a:solidFill>
          <a:latin typeface="Arial" panose="020B0604020202020204" pitchFamily="34" charset="0"/>
          <a:ea typeface="+mn-ea"/>
          <a:cs typeface="+mn-cs"/>
        </a:defRPr>
      </a:lvl3pPr>
      <a:lvl4pPr marL="11664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lang="de-DE" sz="2000" b="0" i="0" kern="1200" baseline="0" dirty="0">
          <a:solidFill>
            <a:schemeClr val="tx1"/>
          </a:solidFill>
          <a:latin typeface="Arial" panose="020B0604020202020204" pitchFamily="34" charset="0"/>
          <a:ea typeface="+mn-ea"/>
          <a:cs typeface="+mn-cs"/>
        </a:defRPr>
      </a:lvl4pPr>
      <a:lvl5pPr marL="16236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lang="de-DE" sz="2000" b="0" i="0" kern="1200" baseline="0" dirty="0">
          <a:solidFill>
            <a:schemeClr val="tx1"/>
          </a:solidFill>
          <a:latin typeface="Arial" panose="020B0604020202020204" pitchFamily="34" charset="0"/>
          <a:ea typeface="+mn-ea"/>
          <a:cs typeface="+mn-cs"/>
        </a:defRPr>
      </a:lvl5pPr>
      <a:lvl6pPr marL="2080800" indent="-266400" algn="l" defTabSz="914400" rtl="0" eaLnBrk="1" latinLnBrk="0" hangingPunct="1">
        <a:lnSpc>
          <a:spcPct val="90000"/>
        </a:lnSpc>
        <a:spcBef>
          <a:spcPts val="500"/>
        </a:spcBef>
        <a:buFont typeface="Arial" panose="020B0604020202020204" pitchFamily="34" charset="0"/>
        <a:buChar char="•"/>
        <a:defRPr lang="de-DE" sz="2000" b="0" i="0" kern="1200" baseline="0" dirty="0" smtClean="0">
          <a:solidFill>
            <a:schemeClr val="tx1"/>
          </a:solidFill>
          <a:latin typeface="Arial" panose="020B0604020202020204" pitchFamily="34" charset="0"/>
          <a:ea typeface="+mn-ea"/>
          <a:cs typeface="+mn-cs"/>
        </a:defRPr>
      </a:lvl6pPr>
      <a:lvl7pPr marL="2538000" indent="-266400" algn="l" defTabSz="914400" rtl="0" eaLnBrk="1" latinLnBrk="0" hangingPunct="1">
        <a:lnSpc>
          <a:spcPct val="90000"/>
        </a:lnSpc>
        <a:spcBef>
          <a:spcPts val="500"/>
        </a:spcBef>
        <a:buFont typeface="Arial" panose="020B0604020202020204" pitchFamily="34" charset="0"/>
        <a:buChar char="•"/>
        <a:defRPr lang="de-DE" sz="2000" b="0" i="0" kern="1200" baseline="0" dirty="0" smtClean="0">
          <a:solidFill>
            <a:schemeClr val="tx1"/>
          </a:solidFill>
          <a:latin typeface="Arial" panose="020B0604020202020204" pitchFamily="34" charset="0"/>
          <a:ea typeface="+mn-ea"/>
          <a:cs typeface="+mn-cs"/>
        </a:defRPr>
      </a:lvl7pPr>
      <a:lvl8pPr marL="2995200" indent="-266400" algn="l" defTabSz="914400" rtl="0" eaLnBrk="1" latinLnBrk="0" hangingPunct="1">
        <a:lnSpc>
          <a:spcPct val="90000"/>
        </a:lnSpc>
        <a:spcBef>
          <a:spcPts val="500"/>
        </a:spcBef>
        <a:buFont typeface="Arial" panose="020B0604020202020204" pitchFamily="34" charset="0"/>
        <a:buChar char="•"/>
        <a:defRPr lang="de-DE" sz="2000" b="0" i="0" kern="1200" baseline="0" dirty="0" smtClean="0">
          <a:solidFill>
            <a:schemeClr val="tx1"/>
          </a:solidFill>
          <a:latin typeface="Arial" panose="020B0604020202020204" pitchFamily="34" charset="0"/>
          <a:ea typeface="+mn-ea"/>
          <a:cs typeface="+mn-cs"/>
        </a:defRPr>
      </a:lvl8pPr>
      <a:lvl9pPr marL="3452400" indent="-266400" algn="l" defTabSz="914400" rtl="0" eaLnBrk="1" latinLnBrk="0" hangingPunct="1">
        <a:lnSpc>
          <a:spcPct val="90000"/>
        </a:lnSpc>
        <a:spcBef>
          <a:spcPts val="500"/>
        </a:spcBef>
        <a:buFont typeface="Arial" panose="020B0604020202020204" pitchFamily="34" charset="0"/>
        <a:buChar char="•"/>
        <a:defRPr lang="de-DE" sz="2000" b="0" i="0" kern="1200" baseline="0" dirty="0">
          <a:solidFill>
            <a:schemeClr val="tx1"/>
          </a:solidFill>
          <a:latin typeface="Arial" panose="020B0604020202020204" pitchFamily="34" charset="0"/>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136">
          <p15:clr>
            <a:srgbClr val="F26B43"/>
          </p15:clr>
        </p15:guide>
        <p15:guide id="4" pos="7544">
          <p15:clr>
            <a:srgbClr val="F26B43"/>
          </p15:clr>
        </p15:guide>
        <p15:guide id="5" orient="horz" pos="136">
          <p15:clr>
            <a:srgbClr val="F26B43"/>
          </p15:clr>
        </p15:guide>
        <p15:guide id="6" orient="horz" pos="41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Fußzeilenplatzhalter 4"/>
          <p:cNvSpPr>
            <a:spLocks noGrp="1"/>
          </p:cNvSpPr>
          <p:nvPr>
            <p:ph type="ftr" sz="quarter" idx="3"/>
          </p:nvPr>
        </p:nvSpPr>
        <p:spPr>
          <a:xfrm>
            <a:off x="1368000" y="6516000"/>
            <a:ext cx="7920000" cy="169200"/>
          </a:xfrm>
          <a:prstGeom prst="rect">
            <a:avLst/>
          </a:prstGeom>
        </p:spPr>
        <p:txBody>
          <a:bodyPr vert="horz" lIns="0" tIns="0" rIns="0" bIns="0" rtlCol="0" anchor="t" anchorCtr="0">
            <a:noAutofit/>
          </a:bodyPr>
          <a:lstStyle>
            <a:lvl1pPr marL="0" algn="l" defTabSz="914400" rtl="0" eaLnBrk="1" latinLnBrk="0" hangingPunct="1">
              <a:lnSpc>
                <a:spcPct val="100000"/>
              </a:lnSpc>
              <a:spcBef>
                <a:spcPts val="110"/>
              </a:spcBef>
              <a:spcAft>
                <a:spcPts val="110"/>
              </a:spcAft>
              <a:buNone/>
              <a:defRPr sz="900" b="0" i="0">
                <a:solidFill>
                  <a:schemeClr val="tx1"/>
                </a:solidFill>
                <a:latin typeface="+mn-lt"/>
              </a:defRPr>
            </a:lvl1p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4" name="Datumsplatzhalter 3"/>
          <p:cNvSpPr>
            <a:spLocks noGrp="1"/>
          </p:cNvSpPr>
          <p:nvPr>
            <p:ph type="dt" sz="half" idx="2"/>
          </p:nvPr>
        </p:nvSpPr>
        <p:spPr>
          <a:xfrm>
            <a:off x="687600" y="6516000"/>
            <a:ext cx="468000" cy="151200"/>
          </a:xfrm>
          <a:prstGeom prst="rect">
            <a:avLst/>
          </a:prstGeom>
        </p:spPr>
        <p:txBody>
          <a:bodyPr vert="horz" wrap="none" lIns="0" tIns="0" rIns="0" bIns="0" rtlCol="0" anchor="t" anchorCtr="0">
            <a:noAutofit/>
          </a:bodyPr>
          <a:lstStyle>
            <a:lvl1pPr marL="0" algn="l" defTabSz="914400" rtl="0" eaLnBrk="1" latinLnBrk="0" hangingPunct="1">
              <a:lnSpc>
                <a:spcPct val="100000"/>
              </a:lnSpc>
              <a:spcBef>
                <a:spcPts val="110"/>
              </a:spcBef>
              <a:spcAft>
                <a:spcPts val="110"/>
              </a:spcAft>
              <a:buNone/>
              <a:defRPr sz="900" b="0" i="0">
                <a:solidFill>
                  <a:schemeClr val="tx1"/>
                </a:solidFill>
                <a:latin typeface="+mn-lt"/>
              </a:defRPr>
            </a:lvl1pPr>
          </a:lstStyle>
          <a:p>
            <a:pPr marL="0" marR="0" lvl="0" indent="0" algn="l" defTabSz="914400" rtl="0" eaLnBrk="1" fontAlgn="auto" latinLnBrk="0" hangingPunct="1">
              <a:lnSpc>
                <a:spcPct val="100000"/>
              </a:lnSpc>
              <a:spcBef>
                <a:spcPts val="110"/>
              </a:spcBef>
              <a:spcAft>
                <a:spcPts val="110"/>
              </a:spcAft>
              <a:buClrTx/>
              <a:buSzTx/>
              <a:buFontTx/>
              <a:buNone/>
              <a:tabLst/>
              <a:defRPr/>
            </a:pPr>
            <a:fld id="{C2DB60D2-BC6A-46E6-9CF7-E32531D2CD2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6" name="Foliennummernplatzhalter 5"/>
          <p:cNvSpPr>
            <a:spLocks noGrp="1"/>
          </p:cNvSpPr>
          <p:nvPr>
            <p:ph type="sldNum" sz="quarter" idx="4"/>
          </p:nvPr>
        </p:nvSpPr>
        <p:spPr>
          <a:xfrm>
            <a:off x="226800" y="6516000"/>
            <a:ext cx="360000" cy="151200"/>
          </a:xfrm>
          <a:prstGeom prst="rect">
            <a:avLst/>
          </a:prstGeom>
        </p:spPr>
        <p:txBody>
          <a:bodyPr vert="horz" lIns="0" tIns="0" rIns="0" bIns="0" rtlCol="0" anchor="t">
            <a:noAutofit/>
          </a:bodyPr>
          <a:lstStyle>
            <a:lvl1pPr marL="0" algn="l" defTabSz="914400" rtl="0" eaLnBrk="1" latinLnBrk="0" hangingPunct="1">
              <a:lnSpc>
                <a:spcPct val="100000"/>
              </a:lnSpc>
              <a:spcBef>
                <a:spcPts val="110"/>
              </a:spcBef>
              <a:spcAft>
                <a:spcPts val="110"/>
              </a:spcAft>
              <a:buNone/>
              <a:defRPr sz="900" b="1" i="0">
                <a:solidFill>
                  <a:schemeClr val="tx1"/>
                </a:solidFill>
                <a:latin typeface="+mn-lt"/>
              </a:defRPr>
            </a:lvl1p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grpSp>
        <p:nvGrpSpPr>
          <p:cNvPr id="7" name="Gruppieren 6">
            <a:extLst>
              <a:ext uri="{FF2B5EF4-FFF2-40B4-BE49-F238E27FC236}">
                <a16:creationId xmlns:a16="http://schemas.microsoft.com/office/drawing/2014/main" id="{6DAAB4C8-AEFE-4A52-B5FE-12254CCF05E3}"/>
              </a:ext>
            </a:extLst>
          </p:cNvPr>
          <p:cNvGrpSpPr/>
          <p:nvPr/>
        </p:nvGrpSpPr>
        <p:grpSpPr>
          <a:xfrm>
            <a:off x="9601200" y="6091200"/>
            <a:ext cx="2592000" cy="540000"/>
            <a:chOff x="9597600" y="6091200"/>
            <a:chExt cx="2592000" cy="540000"/>
          </a:xfrm>
        </p:grpSpPr>
        <p:sp>
          <p:nvSpPr>
            <p:cNvPr id="10" name="Rechteck 9">
              <a:extLst>
                <a:ext uri="{FF2B5EF4-FFF2-40B4-BE49-F238E27FC236}">
                  <a16:creationId xmlns:a16="http://schemas.microsoft.com/office/drawing/2014/main" id="{197E5F5D-9039-493D-9DC1-A5E70DAEDE09}"/>
                </a:ext>
              </a:extLst>
            </p:cNvPr>
            <p:cNvSpPr/>
            <p:nvPr userDrawn="1"/>
          </p:nvSpPr>
          <p:spPr>
            <a:xfrm>
              <a:off x="9597600" y="6091200"/>
              <a:ext cx="2592000" cy="54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panose="020B0604020202020204"/>
                <a:cs typeface="Arial"/>
              </a:endParaRPr>
            </a:p>
          </p:txBody>
        </p:sp>
        <p:pic>
          <p:nvPicPr>
            <p:cNvPr id="11" name="Grafik 10">
              <a:extLst>
                <a:ext uri="{FF2B5EF4-FFF2-40B4-BE49-F238E27FC236}">
                  <a16:creationId xmlns:a16="http://schemas.microsoft.com/office/drawing/2014/main" id="{30DF2564-4DFA-485C-B2BF-1D3760A38745}"/>
                </a:ext>
              </a:extLst>
            </p:cNvPr>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9730800" y="6224400"/>
              <a:ext cx="808391" cy="292882"/>
            </a:xfrm>
            <a:prstGeom prst="rect">
              <a:avLst/>
            </a:prstGeom>
          </p:spPr>
        </p:pic>
      </p:grpSp>
      <p:sp>
        <p:nvSpPr>
          <p:cNvPr id="8" name="Title Placeholder 7">
            <a:extLst>
              <a:ext uri="{FF2B5EF4-FFF2-40B4-BE49-F238E27FC236}">
                <a16:creationId xmlns:a16="http://schemas.microsoft.com/office/drawing/2014/main" id="{AB671A4D-0D82-D439-228E-4FFE930DCB8D}"/>
              </a:ext>
            </a:extLst>
          </p:cNvPr>
          <p:cNvSpPr>
            <a:spLocks noGrp="1"/>
          </p:cNvSpPr>
          <p:nvPr>
            <p:ph type="title"/>
          </p:nvPr>
        </p:nvSpPr>
        <p:spPr>
          <a:xfrm>
            <a:off x="219600" y="432000"/>
            <a:ext cx="11736000" cy="853200"/>
          </a:xfrm>
          <a:prstGeom prst="rect">
            <a:avLst/>
          </a:prstGeom>
        </p:spPr>
        <p:txBody>
          <a:bodyPr vert="horz" lIns="0" tIns="0" rIns="0" bIns="0" rtlCol="0" anchor="t">
            <a:noAutofit/>
          </a:bodyPr>
          <a:lstStyle/>
          <a:p>
            <a:r>
              <a:rPr lang="en-US"/>
              <a:t>Click to edit Master title style</a:t>
            </a:r>
            <a:endParaRPr lang="de-DE"/>
          </a:p>
        </p:txBody>
      </p:sp>
      <p:sp>
        <p:nvSpPr>
          <p:cNvPr id="9" name="Text Placeholder 8">
            <a:extLst>
              <a:ext uri="{FF2B5EF4-FFF2-40B4-BE49-F238E27FC236}">
                <a16:creationId xmlns:a16="http://schemas.microsoft.com/office/drawing/2014/main" id="{DF2152D4-D40A-EE6D-1CE5-C5657582DD2A}"/>
              </a:ext>
            </a:extLst>
          </p:cNvPr>
          <p:cNvSpPr>
            <a:spLocks noGrp="1"/>
          </p:cNvSpPr>
          <p:nvPr>
            <p:ph type="body" idx="1"/>
          </p:nvPr>
        </p:nvSpPr>
        <p:spPr>
          <a:xfrm>
            <a:off x="212400" y="1965600"/>
            <a:ext cx="11754000" cy="3906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2326681311"/>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 id="2147483757" r:id="rId22"/>
    <p:sldLayoutId id="2147483758" r:id="rId23"/>
  </p:sldLayoutIdLst>
  <p:hf hdr="0" ftr="0"/>
  <p:txStyles>
    <p:titleStyle>
      <a:lvl1pPr algn="l" defTabSz="914400" rtl="0" eaLnBrk="1" latinLnBrk="0" hangingPunct="1">
        <a:lnSpc>
          <a:spcPct val="100000"/>
        </a:lnSpc>
        <a:spcBef>
          <a:spcPts val="110"/>
        </a:spcBef>
        <a:spcAft>
          <a:spcPts val="110"/>
        </a:spcAft>
        <a:buNone/>
        <a:defRPr sz="2800" b="1" i="0" kern="1200">
          <a:solidFill>
            <a:schemeClr val="accent1"/>
          </a:solidFill>
          <a:latin typeface="Arial" panose="020B0604020202020204" pitchFamily="34" charset="0"/>
          <a:ea typeface="+mj-ea"/>
          <a:cs typeface="+mj-cs"/>
        </a:defRPr>
      </a:lvl1pPr>
    </p:titleStyle>
    <p:bodyStyle>
      <a:lvl1pPr marL="342000" indent="-342000" algn="l" defTabSz="914400" rtl="0" eaLnBrk="1" latinLnBrk="0" hangingPunct="1">
        <a:lnSpc>
          <a:spcPct val="95000"/>
        </a:lnSpc>
        <a:spcBef>
          <a:spcPts val="180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1pPr>
      <a:lvl2pPr marL="622800" indent="-266400" algn="l" defTabSz="914400" rtl="0" eaLnBrk="1" latinLnBrk="0" hangingPunct="1">
        <a:lnSpc>
          <a:spcPct val="95000"/>
        </a:lnSpc>
        <a:spcBef>
          <a:spcPts val="600"/>
        </a:spcBef>
        <a:spcAft>
          <a:spcPts val="0"/>
        </a:spcAft>
        <a:buClr>
          <a:schemeClr val="accent1"/>
        </a:buClr>
        <a:buSzPct val="100000"/>
        <a:buFont typeface="Wingdings 3" panose="05040102010807070707" pitchFamily="18" charset="2"/>
        <a:buChar char=""/>
        <a:defRPr sz="2000" b="0" i="0" kern="1200" baseline="0">
          <a:solidFill>
            <a:schemeClr val="tx1"/>
          </a:solidFill>
          <a:latin typeface="Arial" panose="020B0604020202020204" pitchFamily="34" charset="0"/>
          <a:ea typeface="+mn-ea"/>
          <a:cs typeface="+mn-cs"/>
        </a:defRPr>
      </a:lvl2pPr>
      <a:lvl3pPr marL="900000" indent="-277200" algn="l" defTabSz="9144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3pPr>
      <a:lvl4pPr marL="11664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4pPr>
      <a:lvl5pPr marL="16236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8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4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36">
          <p15:clr>
            <a:srgbClr val="F26B43"/>
          </p15:clr>
        </p15:guide>
        <p15:guide id="2" orient="horz" pos="4184">
          <p15:clr>
            <a:srgbClr val="F26B43"/>
          </p15:clr>
        </p15:guide>
        <p15:guide id="3" orient="horz" pos="4048">
          <p15:clr>
            <a:srgbClr val="F26B43"/>
          </p15:clr>
        </p15:guide>
        <p15:guide id="4" orient="horz" pos="1272">
          <p15:clr>
            <a:srgbClr val="F26B43"/>
          </p15:clr>
        </p15:guide>
        <p15:guide id="5" pos="144">
          <p15:clr>
            <a:srgbClr val="F26B43"/>
          </p15:clr>
        </p15:guide>
        <p15:guide id="6" orient="horz" pos="3840">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Fußzeilenplatzhalter 4"/>
          <p:cNvSpPr>
            <a:spLocks noGrp="1"/>
          </p:cNvSpPr>
          <p:nvPr>
            <p:ph type="ftr" sz="quarter" idx="3"/>
          </p:nvPr>
        </p:nvSpPr>
        <p:spPr>
          <a:xfrm>
            <a:off x="1368000" y="6516000"/>
            <a:ext cx="7920000" cy="169200"/>
          </a:xfrm>
          <a:prstGeom prst="rect">
            <a:avLst/>
          </a:prstGeom>
        </p:spPr>
        <p:txBody>
          <a:bodyPr vert="horz" lIns="0" tIns="0" rIns="0" bIns="0" rtlCol="0" anchor="t" anchorCtr="0">
            <a:noAutofit/>
          </a:bodyPr>
          <a:lstStyle>
            <a:lvl1pPr marL="0" algn="l" defTabSz="914400" rtl="0" eaLnBrk="1" latinLnBrk="0" hangingPunct="1">
              <a:lnSpc>
                <a:spcPct val="100000"/>
              </a:lnSpc>
              <a:spcBef>
                <a:spcPts val="110"/>
              </a:spcBef>
              <a:spcAft>
                <a:spcPts val="110"/>
              </a:spcAft>
              <a:buNone/>
              <a:defRPr sz="900" b="0" i="0">
                <a:solidFill>
                  <a:schemeClr val="tx1"/>
                </a:solidFill>
                <a:latin typeface="+mn-lt"/>
              </a:defRPr>
            </a:lvl1p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4" name="Datumsplatzhalter 3"/>
          <p:cNvSpPr>
            <a:spLocks noGrp="1"/>
          </p:cNvSpPr>
          <p:nvPr>
            <p:ph type="dt" sz="half" idx="2"/>
          </p:nvPr>
        </p:nvSpPr>
        <p:spPr>
          <a:xfrm>
            <a:off x="687600" y="6516000"/>
            <a:ext cx="468000" cy="151200"/>
          </a:xfrm>
          <a:prstGeom prst="rect">
            <a:avLst/>
          </a:prstGeom>
        </p:spPr>
        <p:txBody>
          <a:bodyPr vert="horz" wrap="none" lIns="0" tIns="0" rIns="0" bIns="0" rtlCol="0" anchor="t" anchorCtr="0">
            <a:noAutofit/>
          </a:bodyPr>
          <a:lstStyle>
            <a:lvl1pPr marL="0" algn="l" defTabSz="914400" rtl="0" eaLnBrk="1" latinLnBrk="0" hangingPunct="1">
              <a:lnSpc>
                <a:spcPct val="100000"/>
              </a:lnSpc>
              <a:spcBef>
                <a:spcPts val="110"/>
              </a:spcBef>
              <a:spcAft>
                <a:spcPts val="110"/>
              </a:spcAft>
              <a:buNone/>
              <a:defRPr sz="900" b="0" i="0">
                <a:solidFill>
                  <a:schemeClr val="tx1"/>
                </a:solidFill>
                <a:latin typeface="+mn-lt"/>
              </a:defRPr>
            </a:lvl1pPr>
          </a:lstStyle>
          <a:p>
            <a:pPr marL="0" marR="0" lvl="0" indent="0" algn="l" defTabSz="914400" rtl="0" eaLnBrk="1" fontAlgn="auto" latinLnBrk="0" hangingPunct="1">
              <a:lnSpc>
                <a:spcPct val="100000"/>
              </a:lnSpc>
              <a:spcBef>
                <a:spcPts val="110"/>
              </a:spcBef>
              <a:spcAft>
                <a:spcPts val="110"/>
              </a:spcAft>
              <a:buClrTx/>
              <a:buSzTx/>
              <a:buFontTx/>
              <a:buNone/>
              <a:tabLst/>
              <a:defRPr/>
            </a:pPr>
            <a:fld id="{C2DB60D2-BC6A-46E6-9CF7-E32531D2CD2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5.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6" name="Foliennummernplatzhalter 5"/>
          <p:cNvSpPr>
            <a:spLocks noGrp="1"/>
          </p:cNvSpPr>
          <p:nvPr>
            <p:ph type="sldNum" sz="quarter" idx="4"/>
          </p:nvPr>
        </p:nvSpPr>
        <p:spPr>
          <a:xfrm>
            <a:off x="226800" y="6516000"/>
            <a:ext cx="360000" cy="151200"/>
          </a:xfrm>
          <a:prstGeom prst="rect">
            <a:avLst/>
          </a:prstGeom>
        </p:spPr>
        <p:txBody>
          <a:bodyPr vert="horz" lIns="0" tIns="0" rIns="0" bIns="0" rtlCol="0" anchor="t">
            <a:noAutofit/>
          </a:bodyPr>
          <a:lstStyle>
            <a:lvl1pPr marL="0" algn="l" defTabSz="914400" rtl="0" eaLnBrk="1" latinLnBrk="0" hangingPunct="1">
              <a:lnSpc>
                <a:spcPct val="100000"/>
              </a:lnSpc>
              <a:spcBef>
                <a:spcPts val="110"/>
              </a:spcBef>
              <a:spcAft>
                <a:spcPts val="110"/>
              </a:spcAft>
              <a:buNone/>
              <a:defRPr sz="900" b="1" i="0">
                <a:solidFill>
                  <a:schemeClr val="tx1"/>
                </a:solidFill>
                <a:latin typeface="+mn-lt"/>
              </a:defRPr>
            </a:lvl1p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grpSp>
        <p:nvGrpSpPr>
          <p:cNvPr id="7" name="Gruppieren 6">
            <a:extLst>
              <a:ext uri="{FF2B5EF4-FFF2-40B4-BE49-F238E27FC236}">
                <a16:creationId xmlns:a16="http://schemas.microsoft.com/office/drawing/2014/main" id="{6DAAB4C8-AEFE-4A52-B5FE-12254CCF05E3}"/>
              </a:ext>
            </a:extLst>
          </p:cNvPr>
          <p:cNvGrpSpPr/>
          <p:nvPr/>
        </p:nvGrpSpPr>
        <p:grpSpPr>
          <a:xfrm>
            <a:off x="9601200" y="6091200"/>
            <a:ext cx="2592000" cy="540000"/>
            <a:chOff x="9597600" y="6091200"/>
            <a:chExt cx="2592000" cy="540000"/>
          </a:xfrm>
        </p:grpSpPr>
        <p:sp>
          <p:nvSpPr>
            <p:cNvPr id="10" name="Rechteck 9">
              <a:extLst>
                <a:ext uri="{FF2B5EF4-FFF2-40B4-BE49-F238E27FC236}">
                  <a16:creationId xmlns:a16="http://schemas.microsoft.com/office/drawing/2014/main" id="{197E5F5D-9039-493D-9DC1-A5E70DAEDE09}"/>
                </a:ext>
              </a:extLst>
            </p:cNvPr>
            <p:cNvSpPr/>
            <p:nvPr userDrawn="1"/>
          </p:nvSpPr>
          <p:spPr>
            <a:xfrm>
              <a:off x="9597600" y="6091200"/>
              <a:ext cx="2592000" cy="54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panose="020B0604020202020204"/>
                <a:cs typeface="Arial"/>
              </a:endParaRPr>
            </a:p>
          </p:txBody>
        </p:sp>
        <p:pic>
          <p:nvPicPr>
            <p:cNvPr id="11" name="Grafik 10">
              <a:extLst>
                <a:ext uri="{FF2B5EF4-FFF2-40B4-BE49-F238E27FC236}">
                  <a16:creationId xmlns:a16="http://schemas.microsoft.com/office/drawing/2014/main" id="{30DF2564-4DFA-485C-B2BF-1D3760A38745}"/>
                </a:ext>
              </a:extLst>
            </p:cNvPr>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9730800" y="6224400"/>
              <a:ext cx="808391" cy="292882"/>
            </a:xfrm>
            <a:prstGeom prst="rect">
              <a:avLst/>
            </a:prstGeom>
          </p:spPr>
        </p:pic>
      </p:grpSp>
      <p:sp>
        <p:nvSpPr>
          <p:cNvPr id="8" name="Title Placeholder 7">
            <a:extLst>
              <a:ext uri="{FF2B5EF4-FFF2-40B4-BE49-F238E27FC236}">
                <a16:creationId xmlns:a16="http://schemas.microsoft.com/office/drawing/2014/main" id="{AB671A4D-0D82-D439-228E-4FFE930DCB8D}"/>
              </a:ext>
            </a:extLst>
          </p:cNvPr>
          <p:cNvSpPr>
            <a:spLocks noGrp="1"/>
          </p:cNvSpPr>
          <p:nvPr>
            <p:ph type="title"/>
          </p:nvPr>
        </p:nvSpPr>
        <p:spPr>
          <a:xfrm>
            <a:off x="219600" y="432000"/>
            <a:ext cx="11736000" cy="853200"/>
          </a:xfrm>
          <a:prstGeom prst="rect">
            <a:avLst/>
          </a:prstGeom>
        </p:spPr>
        <p:txBody>
          <a:bodyPr vert="horz" lIns="0" tIns="0" rIns="0" bIns="0" rtlCol="0" anchor="t">
            <a:noAutofit/>
          </a:bodyPr>
          <a:lstStyle/>
          <a:p>
            <a:r>
              <a:rPr lang="en-US"/>
              <a:t>Click to edit Master title style</a:t>
            </a:r>
            <a:endParaRPr lang="de-DE"/>
          </a:p>
        </p:txBody>
      </p:sp>
      <p:sp>
        <p:nvSpPr>
          <p:cNvPr id="9" name="Text Placeholder 8">
            <a:extLst>
              <a:ext uri="{FF2B5EF4-FFF2-40B4-BE49-F238E27FC236}">
                <a16:creationId xmlns:a16="http://schemas.microsoft.com/office/drawing/2014/main" id="{DF2152D4-D40A-EE6D-1CE5-C5657582DD2A}"/>
              </a:ext>
            </a:extLst>
          </p:cNvPr>
          <p:cNvSpPr>
            <a:spLocks noGrp="1"/>
          </p:cNvSpPr>
          <p:nvPr>
            <p:ph type="body" idx="1"/>
          </p:nvPr>
        </p:nvSpPr>
        <p:spPr>
          <a:xfrm>
            <a:off x="212400" y="1965600"/>
            <a:ext cx="11754000" cy="3906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2326681311"/>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 id="2147483757" r:id="rId22"/>
    <p:sldLayoutId id="2147483758" r:id="rId23"/>
  </p:sldLayoutIdLst>
  <p:hf hdr="0" ftr="0"/>
  <p:txStyles>
    <p:titleStyle>
      <a:lvl1pPr algn="l" defTabSz="914400" rtl="0" eaLnBrk="1" latinLnBrk="0" hangingPunct="1">
        <a:lnSpc>
          <a:spcPct val="100000"/>
        </a:lnSpc>
        <a:spcBef>
          <a:spcPts val="110"/>
        </a:spcBef>
        <a:spcAft>
          <a:spcPts val="110"/>
        </a:spcAft>
        <a:buNone/>
        <a:defRPr sz="2800" b="1" i="0" kern="1200">
          <a:solidFill>
            <a:schemeClr val="accent1"/>
          </a:solidFill>
          <a:latin typeface="Arial" panose="020B0604020202020204" pitchFamily="34" charset="0"/>
          <a:ea typeface="+mj-ea"/>
          <a:cs typeface="+mj-cs"/>
        </a:defRPr>
      </a:lvl1pPr>
    </p:titleStyle>
    <p:bodyStyle>
      <a:lvl1pPr marL="342000" indent="-342000" algn="l" defTabSz="914400" rtl="0" eaLnBrk="1" latinLnBrk="0" hangingPunct="1">
        <a:lnSpc>
          <a:spcPct val="95000"/>
        </a:lnSpc>
        <a:spcBef>
          <a:spcPts val="180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1pPr>
      <a:lvl2pPr marL="622800" indent="-266400" algn="l" defTabSz="914400" rtl="0" eaLnBrk="1" latinLnBrk="0" hangingPunct="1">
        <a:lnSpc>
          <a:spcPct val="95000"/>
        </a:lnSpc>
        <a:spcBef>
          <a:spcPts val="600"/>
        </a:spcBef>
        <a:spcAft>
          <a:spcPts val="0"/>
        </a:spcAft>
        <a:buClr>
          <a:schemeClr val="accent1"/>
        </a:buClr>
        <a:buSzPct val="100000"/>
        <a:buFont typeface="Wingdings 3" panose="05040102010807070707" pitchFamily="18" charset="2"/>
        <a:buChar char=""/>
        <a:defRPr sz="2000" b="0" i="0" kern="1200" baseline="0">
          <a:solidFill>
            <a:schemeClr val="tx1"/>
          </a:solidFill>
          <a:latin typeface="Arial" panose="020B0604020202020204" pitchFamily="34" charset="0"/>
          <a:ea typeface="+mn-ea"/>
          <a:cs typeface="+mn-cs"/>
        </a:defRPr>
      </a:lvl2pPr>
      <a:lvl3pPr marL="900000" indent="-277200" algn="l" defTabSz="9144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3pPr>
      <a:lvl4pPr marL="11664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4pPr>
      <a:lvl5pPr marL="16236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8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4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36">
          <p15:clr>
            <a:srgbClr val="F26B43"/>
          </p15:clr>
        </p15:guide>
        <p15:guide id="2" orient="horz" pos="4184">
          <p15:clr>
            <a:srgbClr val="F26B43"/>
          </p15:clr>
        </p15:guide>
        <p15:guide id="3" orient="horz" pos="4048">
          <p15:clr>
            <a:srgbClr val="F26B43"/>
          </p15:clr>
        </p15:guide>
        <p15:guide id="4" orient="horz" pos="1272">
          <p15:clr>
            <a:srgbClr val="F26B43"/>
          </p15:clr>
        </p15:guide>
        <p15:guide id="5" pos="144">
          <p15:clr>
            <a:srgbClr val="F26B43"/>
          </p15:clr>
        </p15:guide>
        <p15:guide id="6" orient="horz"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3"/>
            </p:custDataLst>
            <p:extLst>
              <p:ext uri="{D42A27DB-BD31-4B8C-83A1-F6EECF244321}">
                <p14:modId xmlns:p14="http://schemas.microsoft.com/office/powerpoint/2010/main" val="1894447314"/>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1305691806"/>
      </p:ext>
    </p:extLst>
  </p:cSld>
  <p:clrMap bg1="lt1" tx1="dk1" bg2="lt2" tx2="dk2" accent1="accent1" accent2="accent2" accent3="accent3" accent4="accent4" accent5="accent5" accent6="accent6" hlink="hlink" folHlink="folHlink"/>
  <p:sldLayoutIdLst>
    <p:sldLayoutId id="2147483761" r:id="rId1"/>
  </p:sldLayoutIdLst>
  <p:hf hdr="0" ftr="0" dt="0"/>
  <p:txStyles>
    <p:titleStyle>
      <a:lvl1pPr algn="l" defTabSz="914400" rtl="0" eaLnBrk="1" latinLnBrk="0" hangingPunct="1">
        <a:lnSpc>
          <a:spcPct val="100000"/>
        </a:lnSpc>
        <a:spcBef>
          <a:spcPct val="110000"/>
        </a:spcBef>
        <a:spcAft>
          <a:spcPct val="110000"/>
        </a:spcAft>
        <a:buNone/>
        <a:defRPr sz="3000" b="1" i="0" kern="1200">
          <a:solidFill>
            <a:srgbClr val="000000"/>
          </a:solidFill>
          <a:latin typeface="Arial"/>
          <a:ea typeface="+mj-ea"/>
          <a:cs typeface="+mj-cs"/>
        </a:defRPr>
      </a:lvl1pPr>
    </p:titleStyle>
    <p:bodyStyle>
      <a:lvl1pPr marL="342900" indent="-34290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1pPr>
      <a:lvl2pPr marL="742950" indent="-28575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2pPr>
      <a:lvl3pPr marL="11430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3pPr>
      <a:lvl4pPr marL="16002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4pPr>
      <a:lvl5pPr marL="20574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9" name="Gruppieren 8">
            <a:extLst>
              <a:ext uri="{FF2B5EF4-FFF2-40B4-BE49-F238E27FC236}">
                <a16:creationId xmlns:a16="http://schemas.microsoft.com/office/drawing/2014/main" id="{019727A9-58A4-450B-85B7-AB5600E35075}"/>
              </a:ext>
            </a:extLst>
          </p:cNvPr>
          <p:cNvGrpSpPr/>
          <p:nvPr userDrawn="1"/>
        </p:nvGrpSpPr>
        <p:grpSpPr>
          <a:xfrm>
            <a:off x="9598860" y="6092575"/>
            <a:ext cx="2592337" cy="540000"/>
            <a:chOff x="9597610" y="6092575"/>
            <a:chExt cx="2592000" cy="540000"/>
          </a:xfrm>
        </p:grpSpPr>
        <p:sp>
          <p:nvSpPr>
            <p:cNvPr id="10" name="Rechteck 9">
              <a:extLst>
                <a:ext uri="{FF2B5EF4-FFF2-40B4-BE49-F238E27FC236}">
                  <a16:creationId xmlns:a16="http://schemas.microsoft.com/office/drawing/2014/main" id="{1A2237DA-812D-49A5-880B-59C900E2462E}"/>
                </a:ext>
              </a:extLst>
            </p:cNvPr>
            <p:cNvSpPr/>
            <p:nvPr userDrawn="1"/>
          </p:nvSpPr>
          <p:spPr>
            <a:xfrm>
              <a:off x="9597610" y="6092575"/>
              <a:ext cx="2592000"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11" name="Grafik 10">
              <a:extLst>
                <a:ext uri="{FF2B5EF4-FFF2-40B4-BE49-F238E27FC236}">
                  <a16:creationId xmlns:a16="http://schemas.microsoft.com/office/drawing/2014/main" id="{4CED1A46-1DE1-4998-B697-4ACAD64CF6D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727294" y="6228712"/>
              <a:ext cx="808391" cy="292882"/>
            </a:xfrm>
            <a:prstGeom prst="rect">
              <a:avLst/>
            </a:prstGeom>
          </p:spPr>
        </p:pic>
      </p:grpSp>
      <p:sp>
        <p:nvSpPr>
          <p:cNvPr id="12" name="Datumsplatzhalter 5">
            <a:extLst>
              <a:ext uri="{FF2B5EF4-FFF2-40B4-BE49-F238E27FC236}">
                <a16:creationId xmlns:a16="http://schemas.microsoft.com/office/drawing/2014/main" id="{666DEA71-D083-48C2-8F30-C154D2E34E11}"/>
              </a:ext>
            </a:extLst>
          </p:cNvPr>
          <p:cNvSpPr>
            <a:spLocks noGrp="1"/>
          </p:cNvSpPr>
          <p:nvPr>
            <p:ph type="dt" sz="half" idx="2"/>
          </p:nvPr>
        </p:nvSpPr>
        <p:spPr>
          <a:xfrm>
            <a:off x="685849" y="6516409"/>
            <a:ext cx="468187" cy="175322"/>
          </a:xfrm>
          <a:prstGeom prst="rect">
            <a:avLst/>
          </a:prstGeom>
        </p:spPr>
        <p:txBody>
          <a:bodyPr wrap="none" lIns="0" tIns="0" rIns="0" bIns="0"/>
          <a:lstStyle>
            <a:lvl1pPr>
              <a:defRPr sz="900"/>
            </a:lvl1pPr>
          </a:lstStyle>
          <a:p>
            <a:fld id="{65010B03-D230-4701-9F37-B6F131066B93}" type="datetime1">
              <a:rPr lang="de-DE" smtClean="0"/>
              <a:t>16.02.25</a:t>
            </a:fld>
            <a:endParaRPr lang="de-DE"/>
          </a:p>
        </p:txBody>
      </p:sp>
      <p:sp>
        <p:nvSpPr>
          <p:cNvPr id="13" name="Fußzeilenplatzhalter 6">
            <a:extLst>
              <a:ext uri="{FF2B5EF4-FFF2-40B4-BE49-F238E27FC236}">
                <a16:creationId xmlns:a16="http://schemas.microsoft.com/office/drawing/2014/main" id="{0BA311D6-0D2D-46B8-BFD1-1652D3D8B1C7}"/>
              </a:ext>
            </a:extLst>
          </p:cNvPr>
          <p:cNvSpPr>
            <a:spLocks noGrp="1"/>
          </p:cNvSpPr>
          <p:nvPr>
            <p:ph type="ftr" sz="quarter" idx="3"/>
          </p:nvPr>
        </p:nvSpPr>
        <p:spPr>
          <a:xfrm>
            <a:off x="1368179" y="6516111"/>
            <a:ext cx="3364707" cy="167933"/>
          </a:xfrm>
          <a:prstGeom prst="rect">
            <a:avLst/>
          </a:prstGeom>
        </p:spPr>
        <p:txBody>
          <a:bodyPr lIns="0" tIns="0" rIns="0" bIns="0"/>
          <a:lstStyle>
            <a:lvl1pPr>
              <a:defRPr sz="900">
                <a:solidFill>
                  <a:srgbClr val="000000"/>
                </a:solidFill>
              </a:defRPr>
            </a:lvl1pPr>
          </a:lstStyle>
          <a:p>
            <a:r>
              <a:rPr lang="de-DE"/>
              <a:t>|  Optionale Zusatzinformationen</a:t>
            </a:r>
          </a:p>
        </p:txBody>
      </p:sp>
      <p:sp>
        <p:nvSpPr>
          <p:cNvPr id="14" name="Foliennummernplatzhalter 7">
            <a:extLst>
              <a:ext uri="{FF2B5EF4-FFF2-40B4-BE49-F238E27FC236}">
                <a16:creationId xmlns:a16="http://schemas.microsoft.com/office/drawing/2014/main" id="{D90F37CD-FC06-4358-9BBD-497DE36F27D3}"/>
              </a:ext>
            </a:extLst>
          </p:cNvPr>
          <p:cNvSpPr>
            <a:spLocks noGrp="1"/>
          </p:cNvSpPr>
          <p:nvPr>
            <p:ph type="sldNum" sz="quarter" idx="4"/>
          </p:nvPr>
        </p:nvSpPr>
        <p:spPr>
          <a:xfrm>
            <a:off x="227043" y="6514798"/>
            <a:ext cx="384267" cy="151200"/>
          </a:xfrm>
          <a:prstGeom prst="rect">
            <a:avLst/>
          </a:prstGeom>
        </p:spPr>
        <p:txBody>
          <a:bodyPr lIns="0" tIns="0" rIns="0" bIns="0"/>
          <a:lstStyle>
            <a:lvl1pPr>
              <a:defRPr sz="900" b="1"/>
            </a:lvl1pPr>
          </a:lstStyle>
          <a:p>
            <a:fld id="{82EA1D04-CA53-4DE3-84A8-2B63E41036C9}" type="slidenum">
              <a:rPr lang="de-DE" smtClean="0"/>
              <a:pPr/>
              <a:t>‹#›</a:t>
            </a:fld>
            <a:endParaRPr lang="de-DE"/>
          </a:p>
        </p:txBody>
      </p:sp>
      <p:sp>
        <p:nvSpPr>
          <p:cNvPr id="15" name="Titelplatzhalter 4">
            <a:extLst>
              <a:ext uri="{FF2B5EF4-FFF2-40B4-BE49-F238E27FC236}">
                <a16:creationId xmlns:a16="http://schemas.microsoft.com/office/drawing/2014/main" id="{1064C7D5-6350-4018-8628-11634D608F14}"/>
              </a:ext>
            </a:extLst>
          </p:cNvPr>
          <p:cNvSpPr>
            <a:spLocks noGrp="1"/>
          </p:cNvSpPr>
          <p:nvPr>
            <p:ph type="title"/>
          </p:nvPr>
        </p:nvSpPr>
        <p:spPr>
          <a:xfrm>
            <a:off x="218334" y="430442"/>
            <a:ext cx="11737914" cy="853200"/>
          </a:xfrm>
          <a:prstGeom prst="rect">
            <a:avLst/>
          </a:prstGeom>
        </p:spPr>
        <p:txBody>
          <a:bodyPr vert="horz" lIns="0" tIns="0" rIns="0" bIns="0" rtlCol="0" anchor="t" anchorCtr="0">
            <a:noAutofit/>
          </a:bodyPr>
          <a:lstStyle/>
          <a:p>
            <a:r>
              <a:rPr lang="de-DE"/>
              <a:t>Titelmasterformat durch Klicken bearbeiten</a:t>
            </a:r>
          </a:p>
        </p:txBody>
      </p:sp>
      <p:sp>
        <p:nvSpPr>
          <p:cNvPr id="18" name="Textplatzhalter 2">
            <a:extLst>
              <a:ext uri="{FF2B5EF4-FFF2-40B4-BE49-F238E27FC236}">
                <a16:creationId xmlns:a16="http://schemas.microsoft.com/office/drawing/2014/main" id="{60D1BFC3-531B-4D6B-9F10-EF2C87660098}"/>
              </a:ext>
            </a:extLst>
          </p:cNvPr>
          <p:cNvSpPr>
            <a:spLocks noGrp="1"/>
          </p:cNvSpPr>
          <p:nvPr>
            <p:ph type="body" idx="1"/>
          </p:nvPr>
        </p:nvSpPr>
        <p:spPr>
          <a:xfrm>
            <a:off x="216029" y="1943999"/>
            <a:ext cx="11753889" cy="3960000"/>
          </a:xfrm>
          <a:prstGeom prst="rect">
            <a:avLst/>
          </a:prstGeom>
        </p:spPr>
        <p:txBody>
          <a:bodyPr vert="horz" lIns="0" tIns="0" rIns="0" bIns="0" rtlCol="0">
            <a:noAutofit/>
          </a:bodyPr>
          <a:lstStyle/>
          <a:p>
            <a:pPr marL="342900" marR="0" lvl="0" indent="-342900" algn="l" defTabSz="914400" rtl="0" eaLnBrk="1" fontAlgn="auto" latinLnBrk="0" hangingPunct="1">
              <a:lnSpc>
                <a:spcPct val="110000"/>
              </a:lnSpc>
              <a:spcBef>
                <a:spcPts val="0"/>
              </a:spcBef>
              <a:spcAft>
                <a:spcPts val="0"/>
              </a:spcAft>
              <a:buClr>
                <a:srgbClr val="C50022"/>
              </a:buClr>
              <a:buSzTx/>
              <a:buFont typeface="Wingdings"/>
              <a:buChar char="n"/>
              <a:tabLst/>
              <a:defRPr/>
            </a:pPr>
            <a:r>
              <a:rPr kumimoji="0" lang="de-DE" sz="2000" b="0" i="0" u="none" strike="noStrike" kern="1200" cap="none" spc="0" normalizeH="0" baseline="0" noProof="0">
                <a:ln>
                  <a:noFill/>
                </a:ln>
                <a:solidFill>
                  <a:srgbClr val="000000"/>
                </a:solidFill>
                <a:effectLst/>
                <a:uLnTx/>
                <a:uFillTx/>
                <a:latin typeface="Arial"/>
                <a:ea typeface="+mn-ea"/>
                <a:cs typeface="+mn-cs"/>
              </a:rPr>
              <a:t>Formatvorlagen des Textmasters bearbeiten</a:t>
            </a:r>
          </a:p>
          <a:p>
            <a:pPr marL="719138" marR="0" lvl="1" indent="-361950" algn="l" defTabSz="914400" rtl="0" eaLnBrk="1" fontAlgn="auto" latinLnBrk="0" hangingPunct="1">
              <a:lnSpc>
                <a:spcPct val="110000"/>
              </a:lnSpc>
              <a:spcBef>
                <a:spcPts val="600"/>
              </a:spcBef>
              <a:spcAft>
                <a:spcPts val="0"/>
              </a:spcAft>
              <a:buClr>
                <a:srgbClr val="C50022"/>
              </a:buClr>
              <a:buSzTx/>
              <a:buFont typeface="Wingdings 3" panose="05040102010807070707" pitchFamily="18" charset="2"/>
              <a:buChar char=""/>
              <a:tabLst/>
              <a:defRPr/>
            </a:pPr>
            <a:r>
              <a:rPr kumimoji="0" lang="de-DE" sz="2000" b="0" i="0" u="none" strike="noStrike" kern="1200" cap="none" spc="0" normalizeH="0" baseline="0" noProof="0">
                <a:ln>
                  <a:noFill/>
                </a:ln>
                <a:solidFill>
                  <a:srgbClr val="000000"/>
                </a:solidFill>
                <a:effectLst/>
                <a:uLnTx/>
                <a:uFillTx/>
                <a:latin typeface="Arial"/>
                <a:ea typeface="+mn-ea"/>
                <a:cs typeface="+mn-cs"/>
              </a:rPr>
              <a:t>Zweite Ebene</a:t>
            </a:r>
          </a:p>
          <a:p>
            <a:pPr marL="1074738" marR="0" lvl="2" indent="-355600" algn="l" defTabSz="914400" rtl="0" eaLnBrk="1" fontAlgn="auto" latinLnBrk="0" hangingPunct="1">
              <a:lnSpc>
                <a:spcPct val="110000"/>
              </a:lnSpc>
              <a:spcBef>
                <a:spcPts val="300"/>
              </a:spcBef>
              <a:spcAft>
                <a:spcPts val="0"/>
              </a:spcAft>
              <a:buClr>
                <a:srgbClr val="C50022"/>
              </a:buClr>
              <a:buSzTx/>
              <a:buFont typeface="Arial" panose="020B0604020202020204" pitchFamily="34" charset="0"/>
              <a:buChar char="●"/>
              <a:tabLst/>
              <a:defRPr/>
            </a:pPr>
            <a:r>
              <a:rPr kumimoji="0" lang="de-DE" sz="2000" b="0" i="0" u="none" strike="noStrike" kern="1200" cap="none" spc="0" normalizeH="0" baseline="0" noProof="0">
                <a:ln>
                  <a:noFill/>
                </a:ln>
                <a:solidFill>
                  <a:srgbClr val="000000"/>
                </a:solidFill>
                <a:effectLst/>
                <a:uLnTx/>
                <a:uFillTx/>
                <a:latin typeface="Arial"/>
                <a:ea typeface="+mn-ea"/>
                <a:cs typeface="+mn-cs"/>
              </a:rPr>
              <a:t>Dritte Ebene</a:t>
            </a:r>
          </a:p>
          <a:p>
            <a:pPr marL="1433513" marR="0" lvl="3" indent="-358775" algn="l" defTabSz="914400" rtl="0" eaLnBrk="1" fontAlgn="auto" latinLnBrk="0" hangingPunct="1">
              <a:lnSpc>
                <a:spcPct val="110000"/>
              </a:lnSpc>
              <a:spcBef>
                <a:spcPts val="0"/>
              </a:spcBef>
              <a:spcAft>
                <a:spcPts val="0"/>
              </a:spcAft>
              <a:buClr>
                <a:srgbClr val="C50022"/>
              </a:buClr>
              <a:buSzTx/>
              <a:buFont typeface="Arial" panose="020B0604020202020204" pitchFamily="34" charset="0"/>
              <a:buChar char="−"/>
              <a:tabLst/>
              <a:defRPr/>
            </a:pPr>
            <a:r>
              <a:rPr kumimoji="0" lang="de-DE" sz="2000" b="0" i="0" u="none" strike="noStrike" kern="1200" cap="none" spc="0" normalizeH="0" baseline="0" noProof="0">
                <a:ln>
                  <a:noFill/>
                </a:ln>
                <a:solidFill>
                  <a:srgbClr val="000000"/>
                </a:solidFill>
                <a:effectLst/>
                <a:uLnTx/>
                <a:uFillTx/>
                <a:latin typeface="Arial"/>
                <a:ea typeface="+mn-ea"/>
                <a:cs typeface="+mn-cs"/>
              </a:rPr>
              <a:t>Vierte Ebene</a:t>
            </a:r>
          </a:p>
        </p:txBody>
      </p:sp>
    </p:spTree>
    <p:extLst>
      <p:ext uri="{BB962C8B-B14F-4D97-AF65-F5344CB8AC3E}">
        <p14:creationId xmlns:p14="http://schemas.microsoft.com/office/powerpoint/2010/main" val="2820267292"/>
      </p:ext>
    </p:extLst>
  </p:cSld>
  <p:clrMap bg1="lt1" tx1="dk1" bg2="lt2" tx2="dk2" accent1="accent1" accent2="accent2" accent3="accent3" accent4="accent4" accent5="accent5" accent6="accent6" hlink="hlink" folHlink="folHlink"/>
  <p:sldLayoutIdLst>
    <p:sldLayoutId id="2147483763" r:id="rId1"/>
    <p:sldLayoutId id="2147483764" r:id="rId2"/>
  </p:sldLayoutIdLst>
  <p:hf hdr="0"/>
  <p:txStyles>
    <p:titleStyle>
      <a:lvl1pPr algn="l" defTabSz="914309" rtl="0" eaLnBrk="1" latinLnBrk="0" hangingPunct="1">
        <a:lnSpc>
          <a:spcPct val="100000"/>
        </a:lnSpc>
        <a:spcBef>
          <a:spcPts val="110"/>
        </a:spcBef>
        <a:spcAft>
          <a:spcPts val="110"/>
        </a:spcAft>
        <a:buNone/>
        <a:defRPr sz="2800" b="1" i="0" kern="1200">
          <a:solidFill>
            <a:schemeClr val="accent1"/>
          </a:solidFill>
          <a:latin typeface="Arial" panose="020B0604020202020204" pitchFamily="34" charset="0"/>
          <a:ea typeface="+mj-ea"/>
          <a:cs typeface="+mj-cs"/>
        </a:defRPr>
      </a:lvl1pPr>
    </p:titleStyle>
    <p:bodyStyle>
      <a:lvl1pPr marL="342900" marR="0" indent="-342900" algn="l" defTabSz="914400" rtl="0" eaLnBrk="1" fontAlgn="auto" latinLnBrk="0" hangingPunct="1">
        <a:lnSpc>
          <a:spcPct val="110000"/>
        </a:lnSpc>
        <a:spcBef>
          <a:spcPts val="1800"/>
        </a:spcBef>
        <a:spcAft>
          <a:spcPts val="0"/>
        </a:spcAft>
        <a:buClr>
          <a:schemeClr val="accent1"/>
        </a:buClr>
        <a:buSzTx/>
        <a:buFont typeface="Wingdings"/>
        <a:buChar char="n"/>
        <a:tabLst/>
        <a:defRPr sz="2000" b="0" i="0" kern="1200" baseline="0">
          <a:solidFill>
            <a:schemeClr val="tx1"/>
          </a:solidFill>
          <a:latin typeface="Arial" panose="020B0604020202020204" pitchFamily="34" charset="0"/>
          <a:ea typeface="+mn-ea"/>
          <a:cs typeface="+mn-cs"/>
        </a:defRPr>
      </a:lvl1pPr>
      <a:lvl2pPr marL="719138" marR="0" indent="-361950" algn="l" defTabSz="914400" rtl="0" eaLnBrk="1" fontAlgn="auto" latinLnBrk="0" hangingPunct="1">
        <a:lnSpc>
          <a:spcPct val="110000"/>
        </a:lnSpc>
        <a:spcBef>
          <a:spcPts val="600"/>
        </a:spcBef>
        <a:spcAft>
          <a:spcPts val="0"/>
        </a:spcAft>
        <a:buClr>
          <a:srgbClr val="C5002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4738" marR="0" indent="-355600" algn="l" defTabSz="914400" rtl="0" eaLnBrk="1" fontAlgn="auto" latinLnBrk="0" hangingPunct="1">
        <a:lnSpc>
          <a:spcPct val="110000"/>
        </a:lnSpc>
        <a:spcBef>
          <a:spcPts val="300"/>
        </a:spcBef>
        <a:spcAft>
          <a:spcPts val="0"/>
        </a:spcAft>
        <a:buClr>
          <a:srgbClr val="C5002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3513" marR="0" indent="-358775" algn="l" defTabSz="914400" rtl="0" eaLnBrk="1" fontAlgn="auto" latinLnBrk="0" hangingPunct="1">
        <a:lnSpc>
          <a:spcPct val="110000"/>
        </a:lnSpc>
        <a:spcBef>
          <a:spcPts val="0"/>
        </a:spcBef>
        <a:spcAft>
          <a:spcPts val="0"/>
        </a:spcAft>
        <a:buClr>
          <a:srgbClr val="C5002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p:bodyStyle>
    <p:otherStyle>
      <a:defPPr>
        <a:defRPr lang="de-DE"/>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78">
          <p15:clr>
            <a:srgbClr val="F26B43"/>
          </p15:clr>
        </p15:guide>
        <p15:guide id="2" orient="horz" pos="4042">
          <p15:clr>
            <a:srgbClr val="F26B43"/>
          </p15:clr>
        </p15:guide>
        <p15:guide id="3" orient="horz" pos="1275">
          <p15:clr>
            <a:srgbClr val="F26B43"/>
          </p15:clr>
        </p15:guide>
        <p15:guide id="5" pos="136">
          <p15:clr>
            <a:srgbClr val="F26B43"/>
          </p15:clr>
        </p15:guide>
        <p15:guide id="8" pos="7544">
          <p15:clr>
            <a:srgbClr val="F26B43"/>
          </p15:clr>
        </p15:guide>
        <p15:guide id="9" orient="horz" pos="383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5.xml"/><Relationship Id="rId7" Type="http://schemas.openxmlformats.org/officeDocument/2006/relationships/image" Target="../media/image5.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6.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hyperlink" Target="https://eur-lex.europa.eu/legal-content/EN/TXT/?uri=CELEX%3A52022DC0140" TargetMode="Externa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111.png"/><Relationship Id="rId5" Type="http://schemas.openxmlformats.org/officeDocument/2006/relationships/slide" Target="slide110.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40.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hyperlink" Target="https://cirpassproject.eu/wp-content/uploads/2024/03/A2-EC-Michele-Galatola.pdf" TargetMode="Externa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13" Type="http://schemas.openxmlformats.org/officeDocument/2006/relationships/image" Target="../media/image24.svg"/><Relationship Id="rId18" Type="http://schemas.openxmlformats.org/officeDocument/2006/relationships/image" Target="../media/image29.png"/><Relationship Id="rId26" Type="http://schemas.openxmlformats.org/officeDocument/2006/relationships/image" Target="../media/image37.png"/><Relationship Id="rId3" Type="http://schemas.openxmlformats.org/officeDocument/2006/relationships/image" Target="../media/image14.svg"/><Relationship Id="rId21" Type="http://schemas.openxmlformats.org/officeDocument/2006/relationships/image" Target="../media/image32.svg"/><Relationship Id="rId34" Type="http://schemas.openxmlformats.org/officeDocument/2006/relationships/hyperlink" Target="https://eur-lex.europa.eu/legal-content/EN/TXT/HTML/?uri=OJ:L_202401781#d1e2556-1-1" TargetMode="External"/><Relationship Id="rId7" Type="http://schemas.openxmlformats.org/officeDocument/2006/relationships/image" Target="../media/image18.svg"/><Relationship Id="rId12" Type="http://schemas.openxmlformats.org/officeDocument/2006/relationships/image" Target="../media/image23.png"/><Relationship Id="rId17" Type="http://schemas.openxmlformats.org/officeDocument/2006/relationships/image" Target="../media/image28.svg"/><Relationship Id="rId25" Type="http://schemas.openxmlformats.org/officeDocument/2006/relationships/image" Target="../media/image36.svg"/><Relationship Id="rId33" Type="http://schemas.openxmlformats.org/officeDocument/2006/relationships/image" Target="../media/image44.svg"/><Relationship Id="rId2" Type="http://schemas.openxmlformats.org/officeDocument/2006/relationships/image" Target="../media/image13.png"/><Relationship Id="rId16" Type="http://schemas.openxmlformats.org/officeDocument/2006/relationships/image" Target="../media/image27.png"/><Relationship Id="rId20" Type="http://schemas.openxmlformats.org/officeDocument/2006/relationships/image" Target="../media/image31.png"/><Relationship Id="rId29" Type="http://schemas.openxmlformats.org/officeDocument/2006/relationships/image" Target="../media/image40.svg"/><Relationship Id="rId1" Type="http://schemas.openxmlformats.org/officeDocument/2006/relationships/slideLayout" Target="../slideLayouts/slideLayout12.xml"/><Relationship Id="rId6" Type="http://schemas.openxmlformats.org/officeDocument/2006/relationships/image" Target="../media/image17.png"/><Relationship Id="rId11" Type="http://schemas.openxmlformats.org/officeDocument/2006/relationships/image" Target="../media/image22.svg"/><Relationship Id="rId24" Type="http://schemas.openxmlformats.org/officeDocument/2006/relationships/image" Target="../media/image35.png"/><Relationship Id="rId32" Type="http://schemas.openxmlformats.org/officeDocument/2006/relationships/image" Target="../media/image43.png"/><Relationship Id="rId5" Type="http://schemas.openxmlformats.org/officeDocument/2006/relationships/image" Target="../media/image16.svg"/><Relationship Id="rId15" Type="http://schemas.openxmlformats.org/officeDocument/2006/relationships/image" Target="../media/image26.svg"/><Relationship Id="rId23" Type="http://schemas.openxmlformats.org/officeDocument/2006/relationships/image" Target="../media/image34.svg"/><Relationship Id="rId28" Type="http://schemas.openxmlformats.org/officeDocument/2006/relationships/image" Target="../media/image39.png"/><Relationship Id="rId10" Type="http://schemas.openxmlformats.org/officeDocument/2006/relationships/image" Target="../media/image21.png"/><Relationship Id="rId19" Type="http://schemas.openxmlformats.org/officeDocument/2006/relationships/image" Target="../media/image30.svg"/><Relationship Id="rId31" Type="http://schemas.openxmlformats.org/officeDocument/2006/relationships/image" Target="../media/image42.svg"/><Relationship Id="rId4" Type="http://schemas.openxmlformats.org/officeDocument/2006/relationships/image" Target="../media/image15.png"/><Relationship Id="rId9" Type="http://schemas.openxmlformats.org/officeDocument/2006/relationships/image" Target="../media/image20.svg"/><Relationship Id="rId14" Type="http://schemas.openxmlformats.org/officeDocument/2006/relationships/image" Target="../media/image25.png"/><Relationship Id="rId22" Type="http://schemas.openxmlformats.org/officeDocument/2006/relationships/image" Target="../media/image33.png"/><Relationship Id="rId27" Type="http://schemas.openxmlformats.org/officeDocument/2006/relationships/image" Target="../media/image38.svg"/><Relationship Id="rId30" Type="http://schemas.openxmlformats.org/officeDocument/2006/relationships/image" Target="../media/image41.png"/><Relationship Id="rId8" Type="http://schemas.openxmlformats.org/officeDocument/2006/relationships/image" Target="../media/image19.png"/></Relationships>
</file>

<file path=ppt/slides/_rels/slide14.xml.rels><?xml version="1.0" encoding="UTF-8" standalone="yes"?>
<Relationships xmlns="http://schemas.openxmlformats.org/package/2006/relationships"><Relationship Id="rId2" Type="http://schemas.openxmlformats.org/officeDocument/2006/relationships/hyperlink" Target="https://eur-lex.europa.eu/legal-content/EN/TXT/HTML/?uri=OJ:L_202401781#d1e1581-1-1" TargetMode="Externa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8" Type="http://schemas.openxmlformats.org/officeDocument/2006/relationships/image" Target="../media/image50.svg"/><Relationship Id="rId13" Type="http://schemas.openxmlformats.org/officeDocument/2006/relationships/image" Target="../media/image55.png"/><Relationship Id="rId18" Type="http://schemas.openxmlformats.org/officeDocument/2006/relationships/image" Target="../media/image60.svg"/><Relationship Id="rId3" Type="http://schemas.openxmlformats.org/officeDocument/2006/relationships/image" Target="../media/image46.svg"/><Relationship Id="rId7" Type="http://schemas.openxmlformats.org/officeDocument/2006/relationships/image" Target="../media/image49.png"/><Relationship Id="rId12" Type="http://schemas.openxmlformats.org/officeDocument/2006/relationships/image" Target="../media/image54.svg"/><Relationship Id="rId17" Type="http://schemas.openxmlformats.org/officeDocument/2006/relationships/image" Target="../media/image59.png"/><Relationship Id="rId2" Type="http://schemas.openxmlformats.org/officeDocument/2006/relationships/image" Target="../media/image45.png"/><Relationship Id="rId16" Type="http://schemas.openxmlformats.org/officeDocument/2006/relationships/image" Target="../media/image58.svg"/><Relationship Id="rId1" Type="http://schemas.openxmlformats.org/officeDocument/2006/relationships/slideLayout" Target="../slideLayouts/slideLayout4.xml"/><Relationship Id="rId6" Type="http://schemas.openxmlformats.org/officeDocument/2006/relationships/image" Target="../media/image48.svg"/><Relationship Id="rId11" Type="http://schemas.openxmlformats.org/officeDocument/2006/relationships/image" Target="../media/image53.png"/><Relationship Id="rId5" Type="http://schemas.openxmlformats.org/officeDocument/2006/relationships/image" Target="../media/image47.png"/><Relationship Id="rId15" Type="http://schemas.openxmlformats.org/officeDocument/2006/relationships/image" Target="../media/image57.png"/><Relationship Id="rId10" Type="http://schemas.openxmlformats.org/officeDocument/2006/relationships/image" Target="../media/image52.svg"/><Relationship Id="rId4" Type="http://schemas.openxmlformats.org/officeDocument/2006/relationships/hyperlink" Target="https://eur-lex.europa.eu/legal-content/EN/TXT/HTML/?uri=OJ:L_202401781#d1e1513-1-1" TargetMode="External"/><Relationship Id="rId9" Type="http://schemas.openxmlformats.org/officeDocument/2006/relationships/image" Target="../media/image51.png"/><Relationship Id="rId14" Type="http://schemas.openxmlformats.org/officeDocument/2006/relationships/image" Target="../media/image56.svg"/></Relationships>
</file>

<file path=ppt/slides/_rels/slide16.xml.rels><?xml version="1.0" encoding="UTF-8" standalone="yes"?>
<Relationships xmlns="http://schemas.openxmlformats.org/package/2006/relationships"><Relationship Id="rId13" Type="http://schemas.openxmlformats.org/officeDocument/2006/relationships/image" Target="../media/image72.svg"/><Relationship Id="rId18" Type="http://schemas.openxmlformats.org/officeDocument/2006/relationships/image" Target="../media/image77.png"/><Relationship Id="rId26" Type="http://schemas.openxmlformats.org/officeDocument/2006/relationships/image" Target="../media/image85.png"/><Relationship Id="rId39" Type="http://schemas.openxmlformats.org/officeDocument/2006/relationships/image" Target="../media/image98.svg"/><Relationship Id="rId21" Type="http://schemas.openxmlformats.org/officeDocument/2006/relationships/image" Target="../media/image80.svg"/><Relationship Id="rId34" Type="http://schemas.openxmlformats.org/officeDocument/2006/relationships/image" Target="../media/image93.png"/><Relationship Id="rId42" Type="http://schemas.openxmlformats.org/officeDocument/2006/relationships/hyperlink" Target="https://publications.jrc.ec.europa.eu/repository/handle/JRC138903" TargetMode="External"/><Relationship Id="rId7" Type="http://schemas.openxmlformats.org/officeDocument/2006/relationships/image" Target="../media/image66.svg"/><Relationship Id="rId2" Type="http://schemas.openxmlformats.org/officeDocument/2006/relationships/image" Target="../media/image61.png"/><Relationship Id="rId16" Type="http://schemas.openxmlformats.org/officeDocument/2006/relationships/image" Target="../media/image75.png"/><Relationship Id="rId20" Type="http://schemas.openxmlformats.org/officeDocument/2006/relationships/image" Target="../media/image79.png"/><Relationship Id="rId29" Type="http://schemas.openxmlformats.org/officeDocument/2006/relationships/image" Target="../media/image88.svg"/><Relationship Id="rId41" Type="http://schemas.openxmlformats.org/officeDocument/2006/relationships/image" Target="../media/image100.svg"/><Relationship Id="rId1" Type="http://schemas.openxmlformats.org/officeDocument/2006/relationships/slideLayout" Target="../slideLayouts/slideLayout12.xml"/><Relationship Id="rId6" Type="http://schemas.openxmlformats.org/officeDocument/2006/relationships/image" Target="../media/image65.png"/><Relationship Id="rId11" Type="http://schemas.openxmlformats.org/officeDocument/2006/relationships/image" Target="../media/image70.svg"/><Relationship Id="rId24" Type="http://schemas.openxmlformats.org/officeDocument/2006/relationships/image" Target="../media/image83.png"/><Relationship Id="rId32" Type="http://schemas.openxmlformats.org/officeDocument/2006/relationships/image" Target="../media/image91.png"/><Relationship Id="rId37" Type="http://schemas.openxmlformats.org/officeDocument/2006/relationships/image" Target="../media/image96.svg"/><Relationship Id="rId40" Type="http://schemas.openxmlformats.org/officeDocument/2006/relationships/image" Target="../media/image99.png"/><Relationship Id="rId5" Type="http://schemas.openxmlformats.org/officeDocument/2006/relationships/image" Target="../media/image64.svg"/><Relationship Id="rId15" Type="http://schemas.openxmlformats.org/officeDocument/2006/relationships/image" Target="../media/image74.svg"/><Relationship Id="rId23" Type="http://schemas.openxmlformats.org/officeDocument/2006/relationships/image" Target="../media/image82.svg"/><Relationship Id="rId28" Type="http://schemas.openxmlformats.org/officeDocument/2006/relationships/image" Target="../media/image87.png"/><Relationship Id="rId36" Type="http://schemas.openxmlformats.org/officeDocument/2006/relationships/image" Target="../media/image95.png"/><Relationship Id="rId10" Type="http://schemas.openxmlformats.org/officeDocument/2006/relationships/image" Target="../media/image69.png"/><Relationship Id="rId19" Type="http://schemas.openxmlformats.org/officeDocument/2006/relationships/image" Target="../media/image78.svg"/><Relationship Id="rId31" Type="http://schemas.openxmlformats.org/officeDocument/2006/relationships/image" Target="../media/image90.svg"/><Relationship Id="rId44" Type="http://schemas.openxmlformats.org/officeDocument/2006/relationships/image" Target="../media/image102.svg"/><Relationship Id="rId4" Type="http://schemas.openxmlformats.org/officeDocument/2006/relationships/image" Target="../media/image63.png"/><Relationship Id="rId9" Type="http://schemas.openxmlformats.org/officeDocument/2006/relationships/image" Target="../media/image68.svg"/><Relationship Id="rId14" Type="http://schemas.openxmlformats.org/officeDocument/2006/relationships/image" Target="../media/image73.png"/><Relationship Id="rId22" Type="http://schemas.openxmlformats.org/officeDocument/2006/relationships/image" Target="../media/image81.png"/><Relationship Id="rId27" Type="http://schemas.openxmlformats.org/officeDocument/2006/relationships/image" Target="../media/image86.svg"/><Relationship Id="rId30" Type="http://schemas.openxmlformats.org/officeDocument/2006/relationships/image" Target="../media/image89.png"/><Relationship Id="rId35" Type="http://schemas.openxmlformats.org/officeDocument/2006/relationships/image" Target="../media/image94.svg"/><Relationship Id="rId43" Type="http://schemas.openxmlformats.org/officeDocument/2006/relationships/image" Target="../media/image101.png"/><Relationship Id="rId8" Type="http://schemas.openxmlformats.org/officeDocument/2006/relationships/image" Target="../media/image67.png"/><Relationship Id="rId3" Type="http://schemas.openxmlformats.org/officeDocument/2006/relationships/image" Target="../media/image62.svg"/><Relationship Id="rId12" Type="http://schemas.openxmlformats.org/officeDocument/2006/relationships/image" Target="../media/image71.png"/><Relationship Id="rId17" Type="http://schemas.openxmlformats.org/officeDocument/2006/relationships/image" Target="../media/image76.svg"/><Relationship Id="rId25" Type="http://schemas.openxmlformats.org/officeDocument/2006/relationships/image" Target="../media/image84.svg"/><Relationship Id="rId33" Type="http://schemas.openxmlformats.org/officeDocument/2006/relationships/image" Target="../media/image92.svg"/><Relationship Id="rId38" Type="http://schemas.openxmlformats.org/officeDocument/2006/relationships/image" Target="../media/image97.png"/></Relationships>
</file>

<file path=ppt/slides/_rels/slide17.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6.svg"/><Relationship Id="rId18" Type="http://schemas.openxmlformats.org/officeDocument/2006/relationships/image" Target="../media/image89.png"/><Relationship Id="rId26" Type="http://schemas.openxmlformats.org/officeDocument/2006/relationships/image" Target="../media/image102.svg"/><Relationship Id="rId3" Type="http://schemas.openxmlformats.org/officeDocument/2006/relationships/image" Target="../media/image62.svg"/><Relationship Id="rId21" Type="http://schemas.openxmlformats.org/officeDocument/2006/relationships/image" Target="../media/image92.svg"/><Relationship Id="rId7" Type="http://schemas.openxmlformats.org/officeDocument/2006/relationships/image" Target="../media/image68.svg"/><Relationship Id="rId12" Type="http://schemas.openxmlformats.org/officeDocument/2006/relationships/image" Target="../media/image75.png"/><Relationship Id="rId17" Type="http://schemas.openxmlformats.org/officeDocument/2006/relationships/image" Target="../media/image82.svg"/><Relationship Id="rId25" Type="http://schemas.openxmlformats.org/officeDocument/2006/relationships/image" Target="../media/image101.png"/><Relationship Id="rId2" Type="http://schemas.openxmlformats.org/officeDocument/2006/relationships/image" Target="../media/image61.png"/><Relationship Id="rId16" Type="http://schemas.openxmlformats.org/officeDocument/2006/relationships/image" Target="../media/image81.png"/><Relationship Id="rId20" Type="http://schemas.openxmlformats.org/officeDocument/2006/relationships/image" Target="../media/image91.png"/><Relationship Id="rId1" Type="http://schemas.openxmlformats.org/officeDocument/2006/relationships/slideLayout" Target="../slideLayouts/slideLayout12.xml"/><Relationship Id="rId6" Type="http://schemas.openxmlformats.org/officeDocument/2006/relationships/image" Target="../media/image67.png"/><Relationship Id="rId11" Type="http://schemas.openxmlformats.org/officeDocument/2006/relationships/image" Target="../media/image74.svg"/><Relationship Id="rId24" Type="http://schemas.openxmlformats.org/officeDocument/2006/relationships/hyperlink" Target="https://eur-lex.europa.eu/legal-content/EN/TXT/HTML/?uri=OJ:L_202401781#art_18" TargetMode="External"/><Relationship Id="rId5" Type="http://schemas.openxmlformats.org/officeDocument/2006/relationships/image" Target="../media/image66.svg"/><Relationship Id="rId15" Type="http://schemas.openxmlformats.org/officeDocument/2006/relationships/image" Target="../media/image78.svg"/><Relationship Id="rId23" Type="http://schemas.openxmlformats.org/officeDocument/2006/relationships/image" Target="../media/image94.svg"/><Relationship Id="rId28" Type="http://schemas.openxmlformats.org/officeDocument/2006/relationships/image" Target="../media/image64.svg"/><Relationship Id="rId10" Type="http://schemas.openxmlformats.org/officeDocument/2006/relationships/image" Target="../media/image73.png"/><Relationship Id="rId19" Type="http://schemas.openxmlformats.org/officeDocument/2006/relationships/image" Target="../media/image90.svg"/><Relationship Id="rId4" Type="http://schemas.openxmlformats.org/officeDocument/2006/relationships/image" Target="../media/image65.png"/><Relationship Id="rId9" Type="http://schemas.openxmlformats.org/officeDocument/2006/relationships/image" Target="../media/image70.svg"/><Relationship Id="rId14" Type="http://schemas.openxmlformats.org/officeDocument/2006/relationships/image" Target="../media/image77.png"/><Relationship Id="rId22" Type="http://schemas.openxmlformats.org/officeDocument/2006/relationships/image" Target="../media/image93.png"/><Relationship Id="rId27" Type="http://schemas.openxmlformats.org/officeDocument/2006/relationships/image" Target="../media/image63.png"/></Relationships>
</file>

<file path=ppt/slides/_rels/slide18.xml.rels><?xml version="1.0" encoding="UTF-8" standalone="yes"?>
<Relationships xmlns="http://schemas.openxmlformats.org/package/2006/relationships"><Relationship Id="rId3" Type="http://schemas.openxmlformats.org/officeDocument/2006/relationships/hyperlink" Target="https://eur-lex.europa.eu/legal-content/EN/TXT/?uri=CELEX:52019DC0640" TargetMode="External"/><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8" Type="http://schemas.openxmlformats.org/officeDocument/2006/relationships/image" Target="../media/image108.svg"/><Relationship Id="rId3" Type="http://schemas.openxmlformats.org/officeDocument/2006/relationships/image" Target="../media/image103.png"/><Relationship Id="rId7" Type="http://schemas.openxmlformats.org/officeDocument/2006/relationships/image" Target="../media/image107.pn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106.svg"/><Relationship Id="rId5" Type="http://schemas.openxmlformats.org/officeDocument/2006/relationships/image" Target="../media/image105.png"/><Relationship Id="rId10" Type="http://schemas.openxmlformats.org/officeDocument/2006/relationships/image" Target="../media/image110.svg"/><Relationship Id="rId4" Type="http://schemas.openxmlformats.org/officeDocument/2006/relationships/image" Target="../media/image104.svg"/><Relationship Id="rId9" Type="http://schemas.openxmlformats.org/officeDocument/2006/relationships/image" Target="../media/image109.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image" Target="../media/image123.svg"/><Relationship Id="rId18" Type="http://schemas.openxmlformats.org/officeDocument/2006/relationships/image" Target="../media/image128.png"/><Relationship Id="rId26" Type="http://schemas.openxmlformats.org/officeDocument/2006/relationships/image" Target="../media/image135.svg"/><Relationship Id="rId3" Type="http://schemas.openxmlformats.org/officeDocument/2006/relationships/image" Target="../media/image113.svg"/><Relationship Id="rId21" Type="http://schemas.openxmlformats.org/officeDocument/2006/relationships/image" Target="../media/image131.svg"/><Relationship Id="rId7" Type="http://schemas.openxmlformats.org/officeDocument/2006/relationships/image" Target="../media/image117.svg"/><Relationship Id="rId12" Type="http://schemas.openxmlformats.org/officeDocument/2006/relationships/image" Target="../media/image122.png"/><Relationship Id="rId17" Type="http://schemas.openxmlformats.org/officeDocument/2006/relationships/image" Target="../media/image127.svg"/><Relationship Id="rId25" Type="http://schemas.openxmlformats.org/officeDocument/2006/relationships/image" Target="../media/image134.png"/><Relationship Id="rId2" Type="http://schemas.openxmlformats.org/officeDocument/2006/relationships/image" Target="../media/image112.png"/><Relationship Id="rId16" Type="http://schemas.openxmlformats.org/officeDocument/2006/relationships/image" Target="../media/image126.png"/><Relationship Id="rId20" Type="http://schemas.openxmlformats.org/officeDocument/2006/relationships/image" Target="../media/image130.png"/><Relationship Id="rId1" Type="http://schemas.openxmlformats.org/officeDocument/2006/relationships/slideLayout" Target="../slideLayouts/slideLayout4.xml"/><Relationship Id="rId6" Type="http://schemas.openxmlformats.org/officeDocument/2006/relationships/image" Target="../media/image116.png"/><Relationship Id="rId11" Type="http://schemas.openxmlformats.org/officeDocument/2006/relationships/image" Target="../media/image121.svg"/><Relationship Id="rId24" Type="http://schemas.openxmlformats.org/officeDocument/2006/relationships/image" Target="../media/image133.svg"/><Relationship Id="rId5" Type="http://schemas.openxmlformats.org/officeDocument/2006/relationships/image" Target="../media/image115.svg"/><Relationship Id="rId15" Type="http://schemas.openxmlformats.org/officeDocument/2006/relationships/image" Target="../media/image125.svg"/><Relationship Id="rId23" Type="http://schemas.openxmlformats.org/officeDocument/2006/relationships/image" Target="../media/image132.png"/><Relationship Id="rId10" Type="http://schemas.openxmlformats.org/officeDocument/2006/relationships/image" Target="../media/image120.png"/><Relationship Id="rId19" Type="http://schemas.openxmlformats.org/officeDocument/2006/relationships/image" Target="../media/image129.svg"/><Relationship Id="rId4" Type="http://schemas.openxmlformats.org/officeDocument/2006/relationships/image" Target="../media/image114.png"/><Relationship Id="rId9" Type="http://schemas.openxmlformats.org/officeDocument/2006/relationships/image" Target="../media/image119.svg"/><Relationship Id="rId14" Type="http://schemas.openxmlformats.org/officeDocument/2006/relationships/image" Target="../media/image124.png"/><Relationship Id="rId22" Type="http://schemas.openxmlformats.org/officeDocument/2006/relationships/hyperlink" Target="https://ec.europa.eu/growth/tools-databases/enorm/mandate/604_en"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136.jpg"/><Relationship Id="rId1" Type="http://schemas.openxmlformats.org/officeDocument/2006/relationships/slideLayout" Target="../slideLayouts/slideLayout4.xml"/><Relationship Id="rId5" Type="http://schemas.openxmlformats.org/officeDocument/2006/relationships/hyperlink" Target="https://thebatterypass.eu/" TargetMode="External"/><Relationship Id="rId4" Type="http://schemas.openxmlformats.org/officeDocument/2006/relationships/image" Target="../media/image138.jpg"/></Relationships>
</file>

<file path=ppt/slides/_rels/slide22.xml.rels><?xml version="1.0" encoding="UTF-8" standalone="yes"?>
<Relationships xmlns="http://schemas.openxmlformats.org/package/2006/relationships"><Relationship Id="rId8" Type="http://schemas.openxmlformats.org/officeDocument/2006/relationships/image" Target="../media/image143.png"/><Relationship Id="rId13" Type="http://schemas.openxmlformats.org/officeDocument/2006/relationships/image" Target="../media/image148.svg"/><Relationship Id="rId3" Type="http://schemas.openxmlformats.org/officeDocument/2006/relationships/image" Target="../media/image139.png"/><Relationship Id="rId7" Type="http://schemas.openxmlformats.org/officeDocument/2006/relationships/hyperlink" Target="https://www.bmwk.de/Navigation/EN/Home/home.html" TargetMode="External"/><Relationship Id="rId12" Type="http://schemas.openxmlformats.org/officeDocument/2006/relationships/image" Target="../media/image147.png"/><Relationship Id="rId17" Type="http://schemas.openxmlformats.org/officeDocument/2006/relationships/image" Target="../media/image137.png"/><Relationship Id="rId2" Type="http://schemas.openxmlformats.org/officeDocument/2006/relationships/notesSlide" Target="../notesSlides/notesSlide10.xml"/><Relationship Id="rId16" Type="http://schemas.openxmlformats.org/officeDocument/2006/relationships/hyperlink" Target="https://thebatterypass.eu/" TargetMode="External"/><Relationship Id="rId1" Type="http://schemas.openxmlformats.org/officeDocument/2006/relationships/slideLayout" Target="../slideLayouts/slideLayout4.xml"/><Relationship Id="rId6" Type="http://schemas.openxmlformats.org/officeDocument/2006/relationships/image" Target="../media/image142.svg"/><Relationship Id="rId11" Type="http://schemas.openxmlformats.org/officeDocument/2006/relationships/image" Target="../media/image146.svg"/><Relationship Id="rId5" Type="http://schemas.openxmlformats.org/officeDocument/2006/relationships/image" Target="../media/image141.png"/><Relationship Id="rId15" Type="http://schemas.openxmlformats.org/officeDocument/2006/relationships/image" Target="../media/image150.svg"/><Relationship Id="rId10" Type="http://schemas.openxmlformats.org/officeDocument/2006/relationships/image" Target="../media/image145.png"/><Relationship Id="rId4" Type="http://schemas.openxmlformats.org/officeDocument/2006/relationships/image" Target="../media/image140.svg"/><Relationship Id="rId9" Type="http://schemas.openxmlformats.org/officeDocument/2006/relationships/image" Target="../media/image144.svg"/><Relationship Id="rId14" Type="http://schemas.openxmlformats.org/officeDocument/2006/relationships/image" Target="../media/image149.png"/></Relationships>
</file>

<file path=ppt/slides/_rels/slide23.xml.rels><?xml version="1.0" encoding="UTF-8" standalone="yes"?>
<Relationships xmlns="http://schemas.openxmlformats.org/package/2006/relationships"><Relationship Id="rId8" Type="http://schemas.openxmlformats.org/officeDocument/2006/relationships/image" Target="../media/image153.svg"/><Relationship Id="rId13" Type="http://schemas.openxmlformats.org/officeDocument/2006/relationships/hyperlink" Target="https://www.bmwk.de/Navigation/EN/Home/home.html" TargetMode="External"/><Relationship Id="rId18" Type="http://schemas.openxmlformats.org/officeDocument/2006/relationships/hyperlink" Target="https://thebatterypass.eu/" TargetMode="External"/><Relationship Id="rId3" Type="http://schemas.openxmlformats.org/officeDocument/2006/relationships/image" Target="../media/image145.png"/><Relationship Id="rId7" Type="http://schemas.openxmlformats.org/officeDocument/2006/relationships/image" Target="../media/image149.png"/><Relationship Id="rId12" Type="http://schemas.openxmlformats.org/officeDocument/2006/relationships/image" Target="../media/image142.svg"/><Relationship Id="rId17" Type="http://schemas.openxmlformats.org/officeDocument/2006/relationships/image" Target="../media/image144.svg"/><Relationship Id="rId2" Type="http://schemas.openxmlformats.org/officeDocument/2006/relationships/notesSlide" Target="../notesSlides/notesSlide11.xml"/><Relationship Id="rId16" Type="http://schemas.openxmlformats.org/officeDocument/2006/relationships/image" Target="../media/image143.png"/><Relationship Id="rId1" Type="http://schemas.openxmlformats.org/officeDocument/2006/relationships/slideLayout" Target="../slideLayouts/slideLayout4.xml"/><Relationship Id="rId6" Type="http://schemas.openxmlformats.org/officeDocument/2006/relationships/image" Target="../media/image152.svg"/><Relationship Id="rId11" Type="http://schemas.openxmlformats.org/officeDocument/2006/relationships/image" Target="../media/image141.png"/><Relationship Id="rId5" Type="http://schemas.openxmlformats.org/officeDocument/2006/relationships/image" Target="../media/image147.png"/><Relationship Id="rId15" Type="http://schemas.openxmlformats.org/officeDocument/2006/relationships/image" Target="../media/image155.svg"/><Relationship Id="rId10" Type="http://schemas.openxmlformats.org/officeDocument/2006/relationships/image" Target="../media/image140.svg"/><Relationship Id="rId19" Type="http://schemas.openxmlformats.org/officeDocument/2006/relationships/image" Target="../media/image137.png"/><Relationship Id="rId4" Type="http://schemas.openxmlformats.org/officeDocument/2006/relationships/image" Target="../media/image151.svg"/><Relationship Id="rId9" Type="http://schemas.openxmlformats.org/officeDocument/2006/relationships/image" Target="../media/image139.png"/><Relationship Id="rId14" Type="http://schemas.openxmlformats.org/officeDocument/2006/relationships/image" Target="../media/image154.png"/></Relationships>
</file>

<file path=ppt/slides/_rels/slide24.xml.rels><?xml version="1.0" encoding="UTF-8" standalone="yes"?>
<Relationships xmlns="http://schemas.openxmlformats.org/package/2006/relationships"><Relationship Id="rId8" Type="http://schemas.openxmlformats.org/officeDocument/2006/relationships/image" Target="../media/image156.png"/><Relationship Id="rId13" Type="http://schemas.openxmlformats.org/officeDocument/2006/relationships/image" Target="../media/image144.svg"/><Relationship Id="rId18" Type="http://schemas.openxmlformats.org/officeDocument/2006/relationships/image" Target="../media/image149.png"/><Relationship Id="rId3" Type="http://schemas.openxmlformats.org/officeDocument/2006/relationships/image" Target="../media/image139.png"/><Relationship Id="rId21" Type="http://schemas.openxmlformats.org/officeDocument/2006/relationships/image" Target="../media/image137.png"/><Relationship Id="rId7" Type="http://schemas.openxmlformats.org/officeDocument/2006/relationships/hyperlink" Target="https://www.bmwk.de/Navigation/EN/Home/home.html" TargetMode="External"/><Relationship Id="rId12" Type="http://schemas.openxmlformats.org/officeDocument/2006/relationships/image" Target="../media/image143.png"/><Relationship Id="rId17" Type="http://schemas.openxmlformats.org/officeDocument/2006/relationships/image" Target="../media/image148.svg"/><Relationship Id="rId2" Type="http://schemas.openxmlformats.org/officeDocument/2006/relationships/notesSlide" Target="../notesSlides/notesSlide12.xml"/><Relationship Id="rId16" Type="http://schemas.openxmlformats.org/officeDocument/2006/relationships/image" Target="../media/image147.png"/><Relationship Id="rId20" Type="http://schemas.openxmlformats.org/officeDocument/2006/relationships/hyperlink" Target="https://thebatterypass.eu/" TargetMode="External"/><Relationship Id="rId1" Type="http://schemas.openxmlformats.org/officeDocument/2006/relationships/slideLayout" Target="../slideLayouts/slideLayout4.xml"/><Relationship Id="rId6" Type="http://schemas.openxmlformats.org/officeDocument/2006/relationships/image" Target="../media/image142.svg"/><Relationship Id="rId11" Type="http://schemas.openxmlformats.org/officeDocument/2006/relationships/image" Target="../media/image155.svg"/><Relationship Id="rId5" Type="http://schemas.openxmlformats.org/officeDocument/2006/relationships/image" Target="../media/image141.png"/><Relationship Id="rId15" Type="http://schemas.openxmlformats.org/officeDocument/2006/relationships/image" Target="../media/image146.svg"/><Relationship Id="rId10" Type="http://schemas.openxmlformats.org/officeDocument/2006/relationships/image" Target="../media/image154.png"/><Relationship Id="rId19" Type="http://schemas.openxmlformats.org/officeDocument/2006/relationships/image" Target="../media/image150.svg"/><Relationship Id="rId4" Type="http://schemas.openxmlformats.org/officeDocument/2006/relationships/image" Target="../media/image140.svg"/><Relationship Id="rId9" Type="http://schemas.openxmlformats.org/officeDocument/2006/relationships/image" Target="../media/image157.svg"/><Relationship Id="rId14" Type="http://schemas.openxmlformats.org/officeDocument/2006/relationships/image" Target="../media/image145.png"/></Relationships>
</file>

<file path=ppt/slides/_rels/slide25.xml.rels><?xml version="1.0" encoding="UTF-8" standalone="yes"?>
<Relationships xmlns="http://schemas.openxmlformats.org/package/2006/relationships"><Relationship Id="rId8" Type="http://schemas.openxmlformats.org/officeDocument/2006/relationships/image" Target="../media/image158.png"/><Relationship Id="rId13" Type="http://schemas.openxmlformats.org/officeDocument/2006/relationships/image" Target="../media/image155.svg"/><Relationship Id="rId18" Type="http://schemas.openxmlformats.org/officeDocument/2006/relationships/image" Target="../media/image145.png"/><Relationship Id="rId3" Type="http://schemas.openxmlformats.org/officeDocument/2006/relationships/image" Target="../media/image139.png"/><Relationship Id="rId21" Type="http://schemas.openxmlformats.org/officeDocument/2006/relationships/image" Target="../media/image148.svg"/><Relationship Id="rId7" Type="http://schemas.openxmlformats.org/officeDocument/2006/relationships/hyperlink" Target="https://www.bmwk.de/Navigation/EN/Home/home.html" TargetMode="External"/><Relationship Id="rId12" Type="http://schemas.openxmlformats.org/officeDocument/2006/relationships/image" Target="../media/image154.png"/><Relationship Id="rId17" Type="http://schemas.openxmlformats.org/officeDocument/2006/relationships/image" Target="../media/image161.svg"/><Relationship Id="rId25" Type="http://schemas.openxmlformats.org/officeDocument/2006/relationships/image" Target="../media/image137.png"/><Relationship Id="rId2" Type="http://schemas.openxmlformats.org/officeDocument/2006/relationships/notesSlide" Target="../notesSlides/notesSlide13.xml"/><Relationship Id="rId16" Type="http://schemas.openxmlformats.org/officeDocument/2006/relationships/image" Target="../media/image160.png"/><Relationship Id="rId20" Type="http://schemas.openxmlformats.org/officeDocument/2006/relationships/image" Target="../media/image147.png"/><Relationship Id="rId1" Type="http://schemas.openxmlformats.org/officeDocument/2006/relationships/slideLayout" Target="../slideLayouts/slideLayout4.xml"/><Relationship Id="rId6" Type="http://schemas.openxmlformats.org/officeDocument/2006/relationships/image" Target="../media/image142.svg"/><Relationship Id="rId11" Type="http://schemas.openxmlformats.org/officeDocument/2006/relationships/image" Target="../media/image157.svg"/><Relationship Id="rId24" Type="http://schemas.openxmlformats.org/officeDocument/2006/relationships/hyperlink" Target="https://thebatterypass.eu/" TargetMode="External"/><Relationship Id="rId5" Type="http://schemas.openxmlformats.org/officeDocument/2006/relationships/image" Target="../media/image141.png"/><Relationship Id="rId15" Type="http://schemas.openxmlformats.org/officeDocument/2006/relationships/image" Target="../media/image144.svg"/><Relationship Id="rId23" Type="http://schemas.openxmlformats.org/officeDocument/2006/relationships/image" Target="../media/image150.svg"/><Relationship Id="rId10" Type="http://schemas.openxmlformats.org/officeDocument/2006/relationships/image" Target="../media/image156.png"/><Relationship Id="rId19" Type="http://schemas.openxmlformats.org/officeDocument/2006/relationships/image" Target="../media/image146.svg"/><Relationship Id="rId4" Type="http://schemas.openxmlformats.org/officeDocument/2006/relationships/image" Target="../media/image140.svg"/><Relationship Id="rId9" Type="http://schemas.openxmlformats.org/officeDocument/2006/relationships/image" Target="../media/image159.svg"/><Relationship Id="rId14" Type="http://schemas.openxmlformats.org/officeDocument/2006/relationships/image" Target="../media/image143.png"/><Relationship Id="rId22" Type="http://schemas.openxmlformats.org/officeDocument/2006/relationships/image" Target="../media/image149.png"/></Relationships>
</file>

<file path=ppt/slides/_rels/slide26.xml.rels><?xml version="1.0" encoding="UTF-8" standalone="yes"?>
<Relationships xmlns="http://schemas.openxmlformats.org/package/2006/relationships"><Relationship Id="rId8" Type="http://schemas.openxmlformats.org/officeDocument/2006/relationships/image" Target="../media/image155.svg"/><Relationship Id="rId3" Type="http://schemas.openxmlformats.org/officeDocument/2006/relationships/image" Target="../media/image158.png"/><Relationship Id="rId7" Type="http://schemas.openxmlformats.org/officeDocument/2006/relationships/image" Target="../media/image154.png"/><Relationship Id="rId12" Type="http://schemas.openxmlformats.org/officeDocument/2006/relationships/image" Target="../media/image137.pn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157.svg"/><Relationship Id="rId11" Type="http://schemas.openxmlformats.org/officeDocument/2006/relationships/hyperlink" Target="https://thebatterypass.eu/" TargetMode="External"/><Relationship Id="rId5" Type="http://schemas.openxmlformats.org/officeDocument/2006/relationships/image" Target="../media/image156.png"/><Relationship Id="rId10" Type="http://schemas.openxmlformats.org/officeDocument/2006/relationships/image" Target="../media/image144.svg"/><Relationship Id="rId4" Type="http://schemas.openxmlformats.org/officeDocument/2006/relationships/image" Target="../media/image159.svg"/><Relationship Id="rId9" Type="http://schemas.openxmlformats.org/officeDocument/2006/relationships/image" Target="../media/image143.png"/></Relationships>
</file>

<file path=ppt/slides/_rels/slide27.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image" Target="../media/image162.png"/><Relationship Id="rId1" Type="http://schemas.openxmlformats.org/officeDocument/2006/relationships/slideLayout" Target="../slideLayouts/slideLayout4.xml"/><Relationship Id="rId6" Type="http://schemas.openxmlformats.org/officeDocument/2006/relationships/hyperlink" Target="https://www.digitaldatachain.com/" TargetMode="External"/><Relationship Id="rId5" Type="http://schemas.openxmlformats.org/officeDocument/2006/relationships/image" Target="../media/image165.png"/><Relationship Id="rId4" Type="http://schemas.openxmlformats.org/officeDocument/2006/relationships/image" Target="../media/image164.svg"/></Relationships>
</file>

<file path=ppt/slides/_rels/slide28.xml.rels><?xml version="1.0" encoding="UTF-8" standalone="yes"?>
<Relationships xmlns="http://schemas.openxmlformats.org/package/2006/relationships"><Relationship Id="rId8" Type="http://schemas.openxmlformats.org/officeDocument/2006/relationships/image" Target="../media/image165.png"/><Relationship Id="rId3" Type="http://schemas.openxmlformats.org/officeDocument/2006/relationships/image" Target="../media/image167.jpg"/><Relationship Id="rId7" Type="http://schemas.openxmlformats.org/officeDocument/2006/relationships/image" Target="../media/image171.svg"/><Relationship Id="rId2" Type="http://schemas.openxmlformats.org/officeDocument/2006/relationships/image" Target="../media/image166.jpg"/><Relationship Id="rId1" Type="http://schemas.openxmlformats.org/officeDocument/2006/relationships/slideLayout" Target="../slideLayouts/slideLayout4.xml"/><Relationship Id="rId6" Type="http://schemas.openxmlformats.org/officeDocument/2006/relationships/image" Target="../media/image170.png"/><Relationship Id="rId5" Type="http://schemas.openxmlformats.org/officeDocument/2006/relationships/image" Target="../media/image169.svg"/><Relationship Id="rId10" Type="http://schemas.openxmlformats.org/officeDocument/2006/relationships/hyperlink" Target="https://www.digitaldatachain.com/" TargetMode="External"/><Relationship Id="rId4" Type="http://schemas.openxmlformats.org/officeDocument/2006/relationships/image" Target="../media/image168.png"/><Relationship Id="rId9" Type="http://schemas.openxmlformats.org/officeDocument/2006/relationships/image" Target="../media/image172.png"/></Relationships>
</file>

<file path=ppt/slides/_rels/slide29.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83.png"/><Relationship Id="rId18" Type="http://schemas.openxmlformats.org/officeDocument/2006/relationships/image" Target="../media/image188.svg"/><Relationship Id="rId3" Type="http://schemas.openxmlformats.org/officeDocument/2006/relationships/image" Target="../media/image174.svg"/><Relationship Id="rId7" Type="http://schemas.openxmlformats.org/officeDocument/2006/relationships/image" Target="../media/image178.png"/><Relationship Id="rId12" Type="http://schemas.openxmlformats.org/officeDocument/2006/relationships/image" Target="../media/image182.png"/><Relationship Id="rId17" Type="http://schemas.openxmlformats.org/officeDocument/2006/relationships/image" Target="../media/image187.png"/><Relationship Id="rId2" Type="http://schemas.openxmlformats.org/officeDocument/2006/relationships/image" Target="../media/image173.png"/><Relationship Id="rId16" Type="http://schemas.openxmlformats.org/officeDocument/2006/relationships/image" Target="../media/image186.svg"/><Relationship Id="rId20" Type="http://schemas.openxmlformats.org/officeDocument/2006/relationships/hyperlink" Target="https://catena-x.net/en/1/offers/edc-the-central-component" TargetMode="External"/><Relationship Id="rId1" Type="http://schemas.openxmlformats.org/officeDocument/2006/relationships/slideLayout" Target="../slideLayouts/slideLayout4.xml"/><Relationship Id="rId6" Type="http://schemas.openxmlformats.org/officeDocument/2006/relationships/image" Target="../media/image177.png"/><Relationship Id="rId11" Type="http://schemas.openxmlformats.org/officeDocument/2006/relationships/image" Target="../media/image181.png"/><Relationship Id="rId5" Type="http://schemas.openxmlformats.org/officeDocument/2006/relationships/image" Target="../media/image176.png"/><Relationship Id="rId15" Type="http://schemas.openxmlformats.org/officeDocument/2006/relationships/image" Target="../media/image185.png"/><Relationship Id="rId10" Type="http://schemas.openxmlformats.org/officeDocument/2006/relationships/image" Target="../media/image180.jpeg"/><Relationship Id="rId19" Type="http://schemas.openxmlformats.org/officeDocument/2006/relationships/image" Target="../media/image189.png"/><Relationship Id="rId4" Type="http://schemas.openxmlformats.org/officeDocument/2006/relationships/image" Target="../media/image175.png"/><Relationship Id="rId9" Type="http://schemas.openxmlformats.org/officeDocument/2006/relationships/image" Target="../media/image179.png"/><Relationship Id="rId14" Type="http://schemas.openxmlformats.org/officeDocument/2006/relationships/image" Target="../media/image184.svg"/></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Layout" Target="../slideLayouts/slideLayout4.xml"/><Relationship Id="rId1" Type="http://schemas.openxmlformats.org/officeDocument/2006/relationships/video" Target="https://www.youtube.com/embed/F2Z7rio5sow?feature=oembed" TargetMode="External"/><Relationship Id="rId4" Type="http://schemas.openxmlformats.org/officeDocument/2006/relationships/hyperlink" Target="https://youtu.be/F2Z7rio5sow?si=ZK8jhl6a6SvvM-Rx" TargetMode="Externa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image" Target="../media/image190.png"/><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8" Type="http://schemas.openxmlformats.org/officeDocument/2006/relationships/image" Target="../media/image196.svg"/><Relationship Id="rId13" Type="http://schemas.openxmlformats.org/officeDocument/2006/relationships/hyperlink" Target="https://commission.europa.eu/document/download/c5db3b9e-23ae-42c8-a50a-b549f20a377d_en?filename=2024_05_22_EC%20Presentation%20ESPR%20Webinar_final.pdf" TargetMode="External"/><Relationship Id="rId3" Type="http://schemas.openxmlformats.org/officeDocument/2006/relationships/image" Target="../media/image191.png"/><Relationship Id="rId7" Type="http://schemas.openxmlformats.org/officeDocument/2006/relationships/image" Target="../media/image195.png"/><Relationship Id="rId12" Type="http://schemas.openxmlformats.org/officeDocument/2006/relationships/image" Target="../media/image200.svg"/><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image" Target="../media/image194.svg"/><Relationship Id="rId11" Type="http://schemas.openxmlformats.org/officeDocument/2006/relationships/image" Target="../media/image199.png"/><Relationship Id="rId5" Type="http://schemas.openxmlformats.org/officeDocument/2006/relationships/image" Target="../media/image193.png"/><Relationship Id="rId10" Type="http://schemas.openxmlformats.org/officeDocument/2006/relationships/image" Target="../media/image198.svg"/><Relationship Id="rId4" Type="http://schemas.openxmlformats.org/officeDocument/2006/relationships/image" Target="../media/image192.svg"/><Relationship Id="rId9" Type="http://schemas.openxmlformats.org/officeDocument/2006/relationships/image" Target="../media/image197.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201.jpe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8" Type="http://schemas.openxmlformats.org/officeDocument/2006/relationships/hyperlink" Target="https://eur-lex.europa.eu/legal-content/en/TXT/?uri=COM:2023:217:FIN" TargetMode="External"/><Relationship Id="rId13" Type="http://schemas.openxmlformats.org/officeDocument/2006/relationships/hyperlink" Target="https://publications.jrc.ec.europa.eu/repository/handle/JRC138903" TargetMode="External"/><Relationship Id="rId18" Type="http://schemas.openxmlformats.org/officeDocument/2006/relationships/hyperlink" Target="https://www.digitaldatachain.com/" TargetMode="External"/><Relationship Id="rId3" Type="http://schemas.openxmlformats.org/officeDocument/2006/relationships/hyperlink" Target="https://eur-lex.europa.eu/legal-content/EN/TXT/?uri=CELEX:52019DC0640" TargetMode="External"/><Relationship Id="rId21" Type="http://schemas.openxmlformats.org/officeDocument/2006/relationships/hyperlink" Target="https://commission.europa.eu/document/download/c5db3b9e-23ae-42c8-a50a-b549f20a377d_en?filename=2024_05_22_EC%20Presentation%20ESPR%20Webinar_final.pdf" TargetMode="External"/><Relationship Id="rId7" Type="http://schemas.openxmlformats.org/officeDocument/2006/relationships/hyperlink" Target="https://eur-lex.europa.eu/legal-content/EN/TXT/?uri=celex:52022PC0144" TargetMode="External"/><Relationship Id="rId12" Type="http://schemas.openxmlformats.org/officeDocument/2006/relationships/hyperlink" Target="https://susproc.jrc.ec.europa.eu/product-bureau/sites/default/files/2023-01/Preliminary%20ESPR%20WP%20Report_MERGED_CLEAN_.pdf" TargetMode="External"/><Relationship Id="rId17" Type="http://schemas.openxmlformats.org/officeDocument/2006/relationships/hyperlink" Target="https://thebatterypass.eu/" TargetMode="External"/><Relationship Id="rId2" Type="http://schemas.openxmlformats.org/officeDocument/2006/relationships/hyperlink" Target="https://youtu.be/F2Z7rio5sow?si=ZK8jhl6a6SvvM-Rx" TargetMode="External"/><Relationship Id="rId16" Type="http://schemas.openxmlformats.org/officeDocument/2006/relationships/hyperlink" Target="https://ec.europa.eu/growth/tools-databases/enorm/mandate/604_en" TargetMode="External"/><Relationship Id="rId20" Type="http://schemas.openxmlformats.org/officeDocument/2006/relationships/hyperlink" Target="https://ec.europa.eu/transparency/expert-groups-register/core/api/front/document/113700/download" TargetMode="External"/><Relationship Id="rId1" Type="http://schemas.openxmlformats.org/officeDocument/2006/relationships/slideLayout" Target="../slideLayouts/slideLayout4.xml"/><Relationship Id="rId6" Type="http://schemas.openxmlformats.org/officeDocument/2006/relationships/hyperlink" Target="https://eur-lex.europa.eu/legal-content/EN/TXT/?uri=CELEX:32024R1781" TargetMode="External"/><Relationship Id="rId11" Type="http://schemas.openxmlformats.org/officeDocument/2006/relationships/hyperlink" Target="https://eur-lex.europa.eu/legal-content/EN/TXT/?uri=CELEX:52022DC0140" TargetMode="External"/><Relationship Id="rId5" Type="http://schemas.openxmlformats.org/officeDocument/2006/relationships/hyperlink" Target="https://eur-lex.europa.eu/eli/reg/2023/1542/oj" TargetMode="External"/><Relationship Id="rId15" Type="http://schemas.openxmlformats.org/officeDocument/2006/relationships/hyperlink" Target="https://commission.europa.eu/energy-climate-change-environment/standards-tools-and-labels/products-labelling-rules-and-requirements/ecodesign-sustainable-products-regulation_en" TargetMode="External"/><Relationship Id="rId10" Type="http://schemas.openxmlformats.org/officeDocument/2006/relationships/hyperlink" Target="https://www.europarl.europa.eu/legislative-train/theme-a-european-green-deal" TargetMode="External"/><Relationship Id="rId19" Type="http://schemas.openxmlformats.org/officeDocument/2006/relationships/hyperlink" Target="https://catena-x.net/en/1/offers/edc-the-central-component" TargetMode="External"/><Relationship Id="rId4" Type="http://schemas.openxmlformats.org/officeDocument/2006/relationships/hyperlink" Target="https://www.circulaw.nl/European_green_deal.pdf" TargetMode="External"/><Relationship Id="rId9" Type="http://schemas.openxmlformats.org/officeDocument/2006/relationships/hyperlink" Target="https://eur-lex.europa.eu/legal-content/EN/TXT/?uri=celex:52023PC0462" TargetMode="External"/><Relationship Id="rId14" Type="http://schemas.openxmlformats.org/officeDocument/2006/relationships/hyperlink" Target="https://cirpassproject.eu/wp-content/uploads/2024/03/A2-EC-Michele-Galatola.pdf" TargetMode="Externa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4.xml"/><Relationship Id="rId4" Type="http://schemas.openxmlformats.org/officeDocument/2006/relationships/hyperlink" Target="https://eur-lex.europa.eu/legal-content/EN/TXT/?uri=CELEX:52019DC0640"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203.png"/><Relationship Id="rId13" Type="http://schemas.openxmlformats.org/officeDocument/2006/relationships/image" Target="../media/image208.svg"/><Relationship Id="rId3" Type="http://schemas.openxmlformats.org/officeDocument/2006/relationships/hyperlink" Target="https://www.linkedin.com/in/adrian-von-muehlenen" TargetMode="External"/><Relationship Id="rId7" Type="http://schemas.openxmlformats.org/officeDocument/2006/relationships/image" Target="../media/image202.jpeg"/><Relationship Id="rId12" Type="http://schemas.openxmlformats.org/officeDocument/2006/relationships/image" Target="../media/image207.png"/><Relationship Id="rId2" Type="http://schemas.openxmlformats.org/officeDocument/2006/relationships/notesSlide" Target="../notesSlides/notesSlide20.xml"/><Relationship Id="rId1" Type="http://schemas.openxmlformats.org/officeDocument/2006/relationships/slideLayout" Target="../slideLayouts/slideLayout17.xml"/><Relationship Id="rId6" Type="http://schemas.openxmlformats.org/officeDocument/2006/relationships/hyperlink" Target="https://api.whatsapp.com/message/MNUFWOLF5ENAE1" TargetMode="External"/><Relationship Id="rId11" Type="http://schemas.openxmlformats.org/officeDocument/2006/relationships/image" Target="../media/image206.svg"/><Relationship Id="rId5" Type="http://schemas.openxmlformats.org/officeDocument/2006/relationships/hyperlink" Target="mailto:adrian.von-muehlenen@basf-intertrade.com" TargetMode="External"/><Relationship Id="rId15" Type="http://schemas.openxmlformats.org/officeDocument/2006/relationships/image" Target="../media/image210.svg"/><Relationship Id="rId10" Type="http://schemas.openxmlformats.org/officeDocument/2006/relationships/image" Target="../media/image205.png"/><Relationship Id="rId4" Type="http://schemas.openxmlformats.org/officeDocument/2006/relationships/hyperlink" Target="https://outlook.office.com/bookwithme/user/633b33b2358440b7b4186fef0907d424@basf-intertrade.com/meetingtype/Q6fLiO8Cv0SFnj8Oh_6dhg2?anonymous&amp;ep=mlink" TargetMode="External"/><Relationship Id="rId9" Type="http://schemas.openxmlformats.org/officeDocument/2006/relationships/image" Target="../media/image204.svg"/><Relationship Id="rId14" Type="http://schemas.openxmlformats.org/officeDocument/2006/relationships/image" Target="../media/image209.pn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hyperlink" Target="https://www.circulaw.nl/European_green_deal.pdf" TargetMode="External"/><Relationship Id="rId2" Type="http://schemas.openxmlformats.org/officeDocument/2006/relationships/image" Target="../media/image10.png"/><Relationship Id="rId1" Type="http://schemas.openxmlformats.org/officeDocument/2006/relationships/slideLayout" Target="../slideLayouts/slideLayout13.xml"/><Relationship Id="rId4" Type="http://schemas.openxmlformats.org/officeDocument/2006/relationships/hyperlink" Target="https://www.europarl.europa.eu/legislative-train/theme-a-european-green-deal" TargetMode="External"/></Relationships>
</file>

<file path=ppt/slides/_rels/slide8.xml.rels><?xml version="1.0" encoding="UTF-8" standalone="yes"?>
<Relationships xmlns="http://schemas.openxmlformats.org/package/2006/relationships"><Relationship Id="rId8" Type="http://schemas.openxmlformats.org/officeDocument/2006/relationships/hyperlink" Target="https://www.circulaw.nl/European_green_deal.pdf" TargetMode="External"/><Relationship Id="rId3" Type="http://schemas.openxmlformats.org/officeDocument/2006/relationships/hyperlink" Target="https://eur-lex.europa.eu/legal-content/en/TXT/?uri=COM:2023:217:FIN" TargetMode="External"/><Relationship Id="rId7" Type="http://schemas.openxmlformats.org/officeDocument/2006/relationships/hyperlink" Target="https://eur-lex.europa.eu/eli/reg/2023/1542/oj" TargetMode="External"/><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hyperlink" Target="https://eur-lex.europa.eu/legal-content/EN/TXT/?uri=celex:52022PC0144" TargetMode="External"/><Relationship Id="rId5" Type="http://schemas.openxmlformats.org/officeDocument/2006/relationships/hyperlink" Target="https://eur-lex.europa.eu/legal-content/EN/TXT/?uri=CELEX:32024R1781" TargetMode="External"/><Relationship Id="rId4" Type="http://schemas.openxmlformats.org/officeDocument/2006/relationships/hyperlink" Target="https://eur-lex.europa.eu/legal-content/EN/TXT/?uri=celex:52023PC0462" TargetMode="External"/><Relationship Id="rId9" Type="http://schemas.openxmlformats.org/officeDocument/2006/relationships/hyperlink" Target="https://www.europarl.europa.eu/legislative-train/theme-a-european-green-deal"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hyperlink" Target="https://eur-lex.europa.eu/legal-content/EN/TXT/?uri=CELEX%3A52022DC0140" TargetMode="External"/><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111.png"/><Relationship Id="rId5" Type="http://schemas.openxmlformats.org/officeDocument/2006/relationships/slide" Target="slide110.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descr="A circuit board with a world map on it&#10;&#10;Description automatically generated">
            <a:extLst>
              <a:ext uri="{FF2B5EF4-FFF2-40B4-BE49-F238E27FC236}">
                <a16:creationId xmlns:a16="http://schemas.microsoft.com/office/drawing/2014/main" id="{92F30109-510C-C2D2-0245-1D3B3CC8CA7D}"/>
              </a:ext>
            </a:extLst>
          </p:cNvPr>
          <p:cNvPicPr>
            <a:picLocks noChangeAspect="1"/>
          </p:cNvPicPr>
          <p:nvPr/>
        </p:nvPicPr>
        <p:blipFill>
          <a:blip r:embed="rId7"/>
          <a:srcRect b="15625"/>
          <a:stretch/>
        </p:blipFill>
        <p:spPr>
          <a:xfrm>
            <a:off x="0" y="0"/>
            <a:ext cx="12192000" cy="6858000"/>
          </a:xfrm>
          <a:prstGeom prst="rect">
            <a:avLst/>
          </a:prstGeom>
        </p:spPr>
      </p:pic>
      <p:sp>
        <p:nvSpPr>
          <p:cNvPr id="7" name="Rechteck 14">
            <a:extLst>
              <a:ext uri="{FF2B5EF4-FFF2-40B4-BE49-F238E27FC236}">
                <a16:creationId xmlns:a16="http://schemas.microsoft.com/office/drawing/2014/main" id="{7BC13EDC-8090-A08B-6AEC-9DE7678C30FD}"/>
              </a:ext>
            </a:extLst>
          </p:cNvPr>
          <p:cNvSpPr/>
          <p:nvPr>
            <p:custDataLst>
              <p:tags r:id="rId1"/>
            </p:custDataLst>
          </p:nvPr>
        </p:nvSpPr>
        <p:spPr>
          <a:xfrm>
            <a:off x="0" y="0"/>
            <a:ext cx="12192000" cy="6858000"/>
          </a:xfrm>
          <a:prstGeom prst="rect">
            <a:avLst/>
          </a:prstGeom>
          <a:solidFill>
            <a:schemeClr val="accent1">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0" name="Gruppieren 9">
            <a:extLst>
              <a:ext uri="{FF2B5EF4-FFF2-40B4-BE49-F238E27FC236}">
                <a16:creationId xmlns:a16="http://schemas.microsoft.com/office/drawing/2014/main" id="{D294205D-DB7A-4FC3-B34E-BCAEB501AE48}"/>
              </a:ext>
            </a:extLst>
          </p:cNvPr>
          <p:cNvGrpSpPr/>
          <p:nvPr/>
        </p:nvGrpSpPr>
        <p:grpSpPr>
          <a:xfrm>
            <a:off x="-7804968" y="864000"/>
            <a:ext cx="13917600" cy="1080000"/>
            <a:chOff x="-6603522" y="864000"/>
            <a:chExt cx="13917600" cy="1080000"/>
          </a:xfrm>
        </p:grpSpPr>
        <p:sp>
          <p:nvSpPr>
            <p:cNvPr id="12" name="Rechteck 11">
              <a:extLst>
                <a:ext uri="{FF2B5EF4-FFF2-40B4-BE49-F238E27FC236}">
                  <a16:creationId xmlns:a16="http://schemas.microsoft.com/office/drawing/2014/main" id="{D2CFBEA7-A4E1-40A6-A816-02296D0B4887}"/>
                </a:ext>
              </a:extLst>
            </p:cNvPr>
            <p:cNvSpPr>
              <a:spLocks noChangeAspect="1"/>
            </p:cNvSpPr>
            <p:nvPr userDrawn="1"/>
          </p:nvSpPr>
          <p:spPr>
            <a:xfrm>
              <a:off x="-6603522" y="864000"/>
              <a:ext cx="13917600" cy="108000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prstClr val="black"/>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3" name="Grafik 12">
              <a:extLst>
                <a:ext uri="{FF2B5EF4-FFF2-40B4-BE49-F238E27FC236}">
                  <a16:creationId xmlns:a16="http://schemas.microsoft.com/office/drawing/2014/main" id="{2E3561A4-C038-4114-8F37-E6272B87895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24044" y="1123200"/>
              <a:ext cx="1620001" cy="586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prstClr val="black"/>
                  </a:solidFill>
                </a14:hiddenLine>
              </a:ext>
            </a:extLst>
          </p:spPr>
        </p:pic>
        <p:pic>
          <p:nvPicPr>
            <p:cNvPr id="14" name="Grafik 13">
              <a:extLst>
                <a:ext uri="{FF2B5EF4-FFF2-40B4-BE49-F238E27FC236}">
                  <a16:creationId xmlns:a16="http://schemas.microsoft.com/office/drawing/2014/main" id="{A89D01D0-0CF3-44A0-9FD0-03DA8023B40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33488" y="1123200"/>
              <a:ext cx="1620001" cy="586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prstClr val="black"/>
                  </a:solidFill>
                </a14:hiddenLine>
              </a:ext>
            </a:extLst>
          </p:spPr>
        </p:pic>
      </p:grpSp>
      <p:sp>
        <p:nvSpPr>
          <p:cNvPr id="15" name="Rechteck 14">
            <a:extLst>
              <a:ext uri="{FF2B5EF4-FFF2-40B4-BE49-F238E27FC236}">
                <a16:creationId xmlns:a16="http://schemas.microsoft.com/office/drawing/2014/main" id="{B586682B-CC45-40D6-AC29-8C5EC37BFAA2}"/>
              </a:ext>
            </a:extLst>
          </p:cNvPr>
          <p:cNvSpPr/>
          <p:nvPr>
            <p:custDataLst>
              <p:tags r:id="rId2"/>
            </p:custDataLst>
          </p:nvPr>
        </p:nvSpPr>
        <p:spPr>
          <a:xfrm>
            <a:off x="-5914933" y="1969200"/>
            <a:ext cx="13917600" cy="3049773"/>
          </a:xfrm>
          <a:prstGeom prst="rect">
            <a:avLst/>
          </a:prstGeom>
          <a:solidFill>
            <a:schemeClr val="bg1">
              <a:alpha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prstClr val="black"/>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Titel 1">
            <a:extLst>
              <a:ext uri="{FF2B5EF4-FFF2-40B4-BE49-F238E27FC236}">
                <a16:creationId xmlns:a16="http://schemas.microsoft.com/office/drawing/2014/main" id="{70504074-E145-4B4E-B7E8-1208178905FF}"/>
              </a:ext>
            </a:extLst>
          </p:cNvPr>
          <p:cNvSpPr txBox="1">
            <a:spLocks/>
          </p:cNvSpPr>
          <p:nvPr>
            <p:custDataLst>
              <p:tags r:id="rId3"/>
            </p:custDataLst>
          </p:nvPr>
        </p:nvSpPr>
        <p:spPr>
          <a:xfrm>
            <a:off x="432000" y="2174068"/>
            <a:ext cx="5464632" cy="212423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lIns="0" tIns="0" rIns="0" bIns="0" anchor="t">
            <a:noAutofit/>
          </a:bodyPr>
          <a:lstStyle>
            <a:lvl1pPr algn="l" defTabSz="914400" rtl="0" eaLnBrk="1" latinLnBrk="0" hangingPunct="1">
              <a:lnSpc>
                <a:spcPct val="95000"/>
              </a:lnSpc>
              <a:spcBef>
                <a:spcPts val="0"/>
              </a:spcBef>
              <a:spcAft>
                <a:spcPts val="0"/>
              </a:spcAft>
              <a:buNone/>
              <a:defRPr sz="3200" b="1" i="0" kern="1200">
                <a:solidFill>
                  <a:schemeClr val="accent1"/>
                </a:solidFill>
                <a:latin typeface="Arial"/>
                <a:ea typeface="+mj-ea"/>
                <a:cs typeface="+mj-cs"/>
              </a:defRPr>
            </a:lvl1pPr>
          </a:lstStyle>
          <a:p>
            <a:pPr>
              <a:lnSpc>
                <a:spcPct val="100000"/>
              </a:lnSpc>
              <a:spcBef>
                <a:spcPts val="600"/>
              </a:spcBef>
            </a:pPr>
            <a:r>
              <a:rPr lang="en-US"/>
              <a:t>Digital Product Passport (DPP) Please!</a:t>
            </a:r>
          </a:p>
          <a:p>
            <a:pPr>
              <a:lnSpc>
                <a:spcPct val="100000"/>
              </a:lnSpc>
              <a:spcBef>
                <a:spcPts val="600"/>
              </a:spcBef>
            </a:pPr>
            <a:r>
              <a:rPr lang="en-US" sz="2000" b="0"/>
              <a:t>An Introduction to DPPs as required by the Ecodesign Sustainable Product Regulation (ESPR)</a:t>
            </a:r>
          </a:p>
        </p:txBody>
      </p:sp>
      <p:sp>
        <p:nvSpPr>
          <p:cNvPr id="17" name="Untertitel 2">
            <a:extLst>
              <a:ext uri="{FF2B5EF4-FFF2-40B4-BE49-F238E27FC236}">
                <a16:creationId xmlns:a16="http://schemas.microsoft.com/office/drawing/2014/main" id="{3AB61637-CFA4-4A86-A74A-5BB9447B4F49}"/>
              </a:ext>
            </a:extLst>
          </p:cNvPr>
          <p:cNvSpPr txBox="1">
            <a:spLocks/>
          </p:cNvSpPr>
          <p:nvPr>
            <p:custDataLst>
              <p:tags r:id="rId4"/>
            </p:custDataLst>
          </p:nvPr>
        </p:nvSpPr>
        <p:spPr>
          <a:xfrm>
            <a:off x="432000" y="4298304"/>
            <a:ext cx="5464632" cy="349537"/>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lIns="0" tIns="0" rIns="0" bIns="0" anchor="t"/>
          <a:lstStyle>
            <a:lvl1pPr marL="0" indent="0" algn="l" defTabSz="914400" rtl="0" eaLnBrk="1" latinLnBrk="0" hangingPunct="1">
              <a:lnSpc>
                <a:spcPct val="95000"/>
              </a:lnSpc>
              <a:spcBef>
                <a:spcPts val="600"/>
              </a:spcBef>
              <a:spcAft>
                <a:spcPts val="0"/>
              </a:spcAft>
              <a:buClr>
                <a:schemeClr val="accent1"/>
              </a:buClr>
              <a:buFont typeface="Wingdings"/>
              <a:buNone/>
              <a:defRPr sz="1800" b="0" i="0" kern="1200">
                <a:solidFill>
                  <a:schemeClr val="accent6"/>
                </a:solidFill>
                <a:latin typeface="Arial"/>
                <a:ea typeface="+mn-ea"/>
                <a:cs typeface="+mn-cs"/>
              </a:defRPr>
            </a:lvl1pPr>
            <a:lvl2pPr marL="457200" indent="0" algn="ctr" defTabSz="914400" rtl="0" eaLnBrk="1" latinLnBrk="0" hangingPunct="1">
              <a:lnSpc>
                <a:spcPct val="110000"/>
              </a:lnSpc>
              <a:spcBef>
                <a:spcPts val="0"/>
              </a:spcBef>
              <a:spcAft>
                <a:spcPct val="50000"/>
              </a:spcAft>
              <a:buClr>
                <a:schemeClr val="accent1"/>
              </a:buClr>
              <a:buFont typeface="Wingdings"/>
              <a:buNone/>
              <a:defRPr sz="2000" b="0" i="0" kern="1200">
                <a:solidFill>
                  <a:schemeClr val="tx1">
                    <a:tint val="75000"/>
                  </a:schemeClr>
                </a:solidFill>
                <a:latin typeface="Arial"/>
                <a:ea typeface="+mn-ea"/>
                <a:cs typeface="+mn-cs"/>
              </a:defRPr>
            </a:lvl2pPr>
            <a:lvl3pPr marL="914400" indent="0" algn="ctr" defTabSz="914400" rtl="0" eaLnBrk="1" latinLnBrk="0" hangingPunct="1">
              <a:lnSpc>
                <a:spcPct val="110000"/>
              </a:lnSpc>
              <a:spcBef>
                <a:spcPts val="0"/>
              </a:spcBef>
              <a:spcAft>
                <a:spcPct val="50000"/>
              </a:spcAft>
              <a:buClr>
                <a:schemeClr val="tx1"/>
              </a:buClr>
              <a:buFontTx/>
              <a:buNone/>
              <a:defRPr sz="2000" b="0" i="0" kern="1200">
                <a:solidFill>
                  <a:schemeClr val="tx1">
                    <a:tint val="75000"/>
                  </a:schemeClr>
                </a:solidFill>
                <a:latin typeface="Arial"/>
                <a:ea typeface="+mn-ea"/>
                <a:cs typeface="+mn-cs"/>
              </a:defRPr>
            </a:lvl3pPr>
            <a:lvl4pPr marL="1371600" indent="0" algn="ctr" defTabSz="914400" rtl="0" eaLnBrk="1" latinLnBrk="0" hangingPunct="1">
              <a:lnSpc>
                <a:spcPct val="110000"/>
              </a:lnSpc>
              <a:spcBef>
                <a:spcPts val="0"/>
              </a:spcBef>
              <a:spcAft>
                <a:spcPct val="50000"/>
              </a:spcAft>
              <a:buClr>
                <a:schemeClr val="tx1"/>
              </a:buClr>
              <a:buFontTx/>
              <a:buNone/>
              <a:defRPr sz="2000" b="0" i="0" kern="1200">
                <a:solidFill>
                  <a:schemeClr val="tx1">
                    <a:tint val="75000"/>
                  </a:schemeClr>
                </a:solidFill>
                <a:latin typeface="Arial"/>
                <a:ea typeface="+mn-ea"/>
                <a:cs typeface="+mn-cs"/>
              </a:defRPr>
            </a:lvl4pPr>
            <a:lvl5pPr marL="1828800" indent="0" algn="ctr" defTabSz="914400" rtl="0" eaLnBrk="1" latinLnBrk="0" hangingPunct="1">
              <a:lnSpc>
                <a:spcPct val="110000"/>
              </a:lnSpc>
              <a:spcBef>
                <a:spcPts val="0"/>
              </a:spcBef>
              <a:spcAft>
                <a:spcPct val="50000"/>
              </a:spcAft>
              <a:buClr>
                <a:schemeClr val="tx1"/>
              </a:buClr>
              <a:buFontTx/>
              <a:buNone/>
              <a:defRPr sz="2000" b="0" i="0" kern="1200">
                <a:solidFill>
                  <a:schemeClr val="tx1">
                    <a:tint val="75000"/>
                  </a:schemeClr>
                </a:solidFill>
                <a:latin typeface="Arial"/>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z="2000">
                <a:solidFill>
                  <a:srgbClr val="808080"/>
                </a:solidFill>
              </a:rPr>
              <a:t>Adrian von Mühlenen (GPT)</a:t>
            </a:r>
          </a:p>
          <a:p>
            <a:r>
              <a:rPr lang="en-US" sz="1600">
                <a:solidFill>
                  <a:srgbClr val="808080"/>
                </a:solidFill>
              </a:rPr>
              <a:t>PO Digital Material &amp; Product Passport</a:t>
            </a:r>
          </a:p>
        </p:txBody>
      </p:sp>
    </p:spTree>
    <p:extLst>
      <p:ext uri="{BB962C8B-B14F-4D97-AF65-F5344CB8AC3E}">
        <p14:creationId xmlns:p14="http://schemas.microsoft.com/office/powerpoint/2010/main" val="30388710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1457DB-CC48-1A69-076C-478AAA15C50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53AB482-33B7-5255-8BDD-A67913E1A738}"/>
              </a:ext>
            </a:extLst>
          </p:cNvPr>
          <p:cNvSpPr>
            <a:spLocks noGrp="1"/>
          </p:cNvSpPr>
          <p:nvPr>
            <p:ph type="title"/>
          </p:nvPr>
        </p:nvSpPr>
        <p:spPr/>
        <p:txBody>
          <a:bodyPr/>
          <a:lstStyle/>
          <a:p>
            <a:r>
              <a:rPr lang="en-US"/>
              <a:t>Making Sustainable Products the Norm</a:t>
            </a:r>
          </a:p>
        </p:txBody>
      </p:sp>
      <p:sp>
        <p:nvSpPr>
          <p:cNvPr id="4" name="Date Placeholder 3">
            <a:extLst>
              <a:ext uri="{FF2B5EF4-FFF2-40B4-BE49-F238E27FC236}">
                <a16:creationId xmlns:a16="http://schemas.microsoft.com/office/drawing/2014/main" id="{9090688E-9986-93BF-E8FC-4AF75DCF3B7D}"/>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368FC967-E25B-4DC7-87C0-1C454DF70C3D}"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5" name="Slide Number Placeholder 4">
            <a:extLst>
              <a:ext uri="{FF2B5EF4-FFF2-40B4-BE49-F238E27FC236}">
                <a16:creationId xmlns:a16="http://schemas.microsoft.com/office/drawing/2014/main" id="{77A530D7-C739-C761-B6BC-0BB9CAA5182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10</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pic>
        <p:nvPicPr>
          <p:cNvPr id="6" name="Picture 5">
            <a:extLst>
              <a:ext uri="{FF2B5EF4-FFF2-40B4-BE49-F238E27FC236}">
                <a16:creationId xmlns:a16="http://schemas.microsoft.com/office/drawing/2014/main" id="{FA5F6A04-6E5B-A0DD-B075-5E3DFD13C3D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392" t="8654" r="4323" b="3132"/>
          <a:stretch/>
        </p:blipFill>
        <p:spPr>
          <a:xfrm>
            <a:off x="499101" y="870229"/>
            <a:ext cx="8158338" cy="5576476"/>
          </a:xfrm>
          <a:prstGeom prst="rect">
            <a:avLst/>
          </a:prstGeom>
        </p:spPr>
      </p:pic>
      <p:sp>
        <p:nvSpPr>
          <p:cNvPr id="9" name="Oval 8">
            <a:extLst>
              <a:ext uri="{FF2B5EF4-FFF2-40B4-BE49-F238E27FC236}">
                <a16:creationId xmlns:a16="http://schemas.microsoft.com/office/drawing/2014/main" id="{3B4DAE1A-BDFD-1C85-250E-61C4ED870BA3}"/>
              </a:ext>
            </a:extLst>
          </p:cNvPr>
          <p:cNvSpPr/>
          <p:nvPr/>
        </p:nvSpPr>
        <p:spPr>
          <a:xfrm>
            <a:off x="3269421" y="2526354"/>
            <a:ext cx="2465867" cy="2465867"/>
          </a:xfrm>
          <a:prstGeom prst="ellipse">
            <a:avLst/>
          </a:prstGeom>
          <a:solidFill>
            <a:srgbClr val="1E4E9B"/>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endParaRPr lang="en-US"/>
          </a:p>
        </p:txBody>
      </p:sp>
      <mc:AlternateContent xmlns:mc="http://schemas.openxmlformats.org/markup-compatibility/2006" xmlns:pslz="http://schemas.microsoft.com/office/powerpoint/2016/slidezoom">
        <mc:Choice Requires="pslz">
          <p:graphicFrame>
            <p:nvGraphicFramePr>
              <p:cNvPr id="8" name="Slide Zoom 7">
                <a:extLst>
                  <a:ext uri="{FF2B5EF4-FFF2-40B4-BE49-F238E27FC236}">
                    <a16:creationId xmlns:a16="http://schemas.microsoft.com/office/drawing/2014/main" id="{64C504DA-3E01-A1E4-E9D2-9F08C6EB652F}"/>
                  </a:ext>
                </a:extLst>
              </p:cNvPr>
              <p:cNvGraphicFramePr>
                <a:graphicFrameLocks noChangeAspect="1"/>
              </p:cNvGraphicFramePr>
              <p:nvPr/>
            </p:nvGraphicFramePr>
            <p:xfrm>
              <a:off x="3441106" y="3092739"/>
              <a:ext cx="2122496" cy="1193904"/>
            </p:xfrm>
            <a:graphic>
              <a:graphicData uri="http://schemas.microsoft.com/office/powerpoint/2016/slidezoom">
                <pslz:sldZm>
                  <pslz:sldZmObj sldId="309" cId="3888820232">
                    <pslz:zmPr id="{115DDF7F-E00B-844E-B9B0-908890B01A84}" returnToParent="0" transitionDur="1000">
                      <p166:blipFill xmlns:p166="http://schemas.microsoft.com/office/powerpoint/2016/6/main">
                        <a:blip r:embed="rId4"/>
                        <a:stretch>
                          <a:fillRect/>
                        </a:stretch>
                      </p166:blipFill>
                      <p166:spPr xmlns:p166="http://schemas.microsoft.com/office/powerpoint/2016/6/main">
                        <a:xfrm>
                          <a:off x="0" y="0"/>
                          <a:ext cx="2122496" cy="1193904"/>
                        </a:xfrm>
                        <a:prstGeom prst="rect">
                          <a:avLst/>
                        </a:prstGeom>
                        <a:ln w="3175">
                          <a:noFill/>
                        </a:ln>
                      </p166:spPr>
                    </pslz:zmPr>
                  </pslz:sldZmObj>
                </pslz:sldZm>
              </a:graphicData>
            </a:graphic>
          </p:graphicFrame>
        </mc:Choice>
        <mc:Fallback xmlns="">
          <p:pic>
            <p:nvPicPr>
              <p:cNvPr id="8" name="Slide Zoom 7">
                <a:hlinkClick r:id="rId5" action="ppaction://hlinksldjump"/>
                <a:extLst>
                  <a:ext uri="{FF2B5EF4-FFF2-40B4-BE49-F238E27FC236}">
                    <a16:creationId xmlns:a16="http://schemas.microsoft.com/office/drawing/2014/main" id="{64C504DA-3E01-A1E4-E9D2-9F08C6EB652F}"/>
                  </a:ext>
                </a:extLst>
              </p:cNvPr>
              <p:cNvPicPr>
                <a:picLocks noGrp="1" noRot="1" noChangeAspect="1" noMove="1" noResize="1" noEditPoints="1" noAdjustHandles="1" noChangeArrowheads="1" noChangeShapeType="1"/>
              </p:cNvPicPr>
              <p:nvPr/>
            </p:nvPicPr>
            <p:blipFill>
              <a:blip r:embed="rId6"/>
              <a:stretch>
                <a:fillRect/>
              </a:stretch>
            </p:blipFill>
            <p:spPr>
              <a:xfrm>
                <a:off x="3441106" y="3092739"/>
                <a:ext cx="2122496" cy="1193904"/>
              </a:xfrm>
              <a:prstGeom prst="rect">
                <a:avLst/>
              </a:prstGeom>
              <a:ln w="3175">
                <a:noFill/>
              </a:ln>
            </p:spPr>
          </p:pic>
        </mc:Fallback>
      </mc:AlternateContent>
      <p:sp>
        <p:nvSpPr>
          <p:cNvPr id="11" name="Fußzeilenplatzhalter 3">
            <a:extLst>
              <a:ext uri="{FF2B5EF4-FFF2-40B4-BE49-F238E27FC236}">
                <a16:creationId xmlns:a16="http://schemas.microsoft.com/office/drawing/2014/main" id="{2CA62FE2-5423-A37F-653B-F6D9125F54AD}"/>
              </a:ext>
            </a:extLst>
          </p:cNvPr>
          <p:cNvSpPr txBox="1">
            <a:spLocks/>
          </p:cNvSpPr>
          <p:nvPr/>
        </p:nvSpPr>
        <p:spPr>
          <a:xfrm>
            <a:off x="1368178" y="6516000"/>
            <a:ext cx="5616000" cy="167933"/>
          </a:xfrm>
          <a:prstGeom prst="rect">
            <a:avLst/>
          </a:prstGeom>
        </p:spPr>
        <p:txBody>
          <a:bodyPr lIns="0" tIns="0" rIns="0" bIns="0"/>
          <a:ls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900">
                <a:latin typeface="Arial" panose="020B0604020202020204"/>
                <a:cs typeface="Arial"/>
              </a:rPr>
              <a:t>|  </a:t>
            </a:r>
            <a:r>
              <a:rPr lang="en-US" sz="900">
                <a:latin typeface="+mj-lt"/>
                <a:cs typeface="Calibri" panose="020F0502020204030204" pitchFamily="34" charset="0"/>
                <a:sym typeface="Calibri" panose="020F0502020204030204" pitchFamily="34" charset="0"/>
              </a:rPr>
              <a:t>Source: </a:t>
            </a:r>
            <a:r>
              <a:rPr lang="en-US" sz="900">
                <a:latin typeface="+mj-lt"/>
                <a:cs typeface="Calibri" panose="020F0502020204030204" pitchFamily="34" charset="0"/>
                <a:sym typeface="Calibri" panose="020F0502020204030204" pitchFamily="34" charset="0"/>
                <a:hlinkClick r:id="rId7">
                  <a:extLst>
                    <a:ext uri="{A12FA001-AC4F-418D-AE19-62706E023703}">
                      <ahyp:hlinkClr xmlns:ahyp="http://schemas.microsoft.com/office/drawing/2018/hyperlinkcolor" val="tx"/>
                    </a:ext>
                  </a:extLst>
                </a:hlinkClick>
              </a:rPr>
              <a:t>https://eur-lex.europa.eu/legal-content/EN/TXT/?uri=CELEX%3A52022DC0140</a:t>
            </a:r>
            <a:r>
              <a:rPr lang="en-US" sz="900">
                <a:latin typeface="+mj-lt"/>
                <a:cs typeface="Calibri" panose="020F0502020204030204" pitchFamily="34" charset="0"/>
                <a:sym typeface="Calibri" panose="020F0502020204030204" pitchFamily="34" charset="0"/>
              </a:rPr>
              <a:t> </a:t>
            </a:r>
          </a:p>
        </p:txBody>
      </p:sp>
      <p:sp>
        <p:nvSpPr>
          <p:cNvPr id="12" name="Freeform 11">
            <a:extLst>
              <a:ext uri="{FF2B5EF4-FFF2-40B4-BE49-F238E27FC236}">
                <a16:creationId xmlns:a16="http://schemas.microsoft.com/office/drawing/2014/main" id="{C7CA711B-F53E-B323-6D73-708549737341}"/>
              </a:ext>
            </a:extLst>
          </p:cNvPr>
          <p:cNvSpPr/>
          <p:nvPr/>
        </p:nvSpPr>
        <p:spPr>
          <a:xfrm>
            <a:off x="517890" y="873940"/>
            <a:ext cx="8172956" cy="5642060"/>
          </a:xfrm>
          <a:custGeom>
            <a:avLst/>
            <a:gdLst>
              <a:gd name="connsiteX0" fmla="*/ 3983844 w 8172956"/>
              <a:gd name="connsiteY0" fmla="*/ 1653260 h 5642060"/>
              <a:gd name="connsiteX1" fmla="*/ 2750910 w 8172956"/>
              <a:gd name="connsiteY1" fmla="*/ 2886194 h 5642060"/>
              <a:gd name="connsiteX2" fmla="*/ 3983844 w 8172956"/>
              <a:gd name="connsiteY2" fmla="*/ 4119128 h 5642060"/>
              <a:gd name="connsiteX3" fmla="*/ 5216778 w 8172956"/>
              <a:gd name="connsiteY3" fmla="*/ 2886194 h 5642060"/>
              <a:gd name="connsiteX4" fmla="*/ 3983844 w 8172956"/>
              <a:gd name="connsiteY4" fmla="*/ 1653260 h 5642060"/>
              <a:gd name="connsiteX5" fmla="*/ 0 w 8172956"/>
              <a:gd name="connsiteY5" fmla="*/ 0 h 5642060"/>
              <a:gd name="connsiteX6" fmla="*/ 8172956 w 8172956"/>
              <a:gd name="connsiteY6" fmla="*/ 0 h 5642060"/>
              <a:gd name="connsiteX7" fmla="*/ 8172956 w 8172956"/>
              <a:gd name="connsiteY7" fmla="*/ 5642060 h 5642060"/>
              <a:gd name="connsiteX8" fmla="*/ 0 w 8172956"/>
              <a:gd name="connsiteY8" fmla="*/ 5642060 h 5642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72956" h="5642060">
                <a:moveTo>
                  <a:pt x="3983844" y="1653260"/>
                </a:moveTo>
                <a:cubicBezTo>
                  <a:pt x="3302913" y="1653260"/>
                  <a:pt x="2750910" y="2205263"/>
                  <a:pt x="2750910" y="2886194"/>
                </a:cubicBezTo>
                <a:cubicBezTo>
                  <a:pt x="2750910" y="3567125"/>
                  <a:pt x="3302913" y="4119128"/>
                  <a:pt x="3983844" y="4119128"/>
                </a:cubicBezTo>
                <a:cubicBezTo>
                  <a:pt x="4664775" y="4119128"/>
                  <a:pt x="5216778" y="3567125"/>
                  <a:pt x="5216778" y="2886194"/>
                </a:cubicBezTo>
                <a:cubicBezTo>
                  <a:pt x="5216778" y="2205263"/>
                  <a:pt x="4664775" y="1653260"/>
                  <a:pt x="3983844" y="1653260"/>
                </a:cubicBezTo>
                <a:close/>
                <a:moveTo>
                  <a:pt x="0" y="0"/>
                </a:moveTo>
                <a:lnTo>
                  <a:pt x="8172956" y="0"/>
                </a:lnTo>
                <a:lnTo>
                  <a:pt x="8172956" y="5642060"/>
                </a:lnTo>
                <a:lnTo>
                  <a:pt x="0" y="5642060"/>
                </a:lnTo>
                <a:close/>
              </a:path>
            </a:pathLst>
          </a:custGeom>
          <a:solidFill>
            <a:schemeClr val="bg1">
              <a:alpha val="8074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5565949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1E4E9B"/>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9B628A02-F477-FECC-56B1-2110A0A9C499}"/>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368FC967-E25B-4DC7-87C0-1C454DF70C3D}"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5" name="Slide Number Placeholder 4">
            <a:extLst>
              <a:ext uri="{FF2B5EF4-FFF2-40B4-BE49-F238E27FC236}">
                <a16:creationId xmlns:a16="http://schemas.microsoft.com/office/drawing/2014/main" id="{9A1D3475-A9DB-8F1B-368F-A82E3DA2585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11</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
        <p:nvSpPr>
          <p:cNvPr id="6" name="Rectangle 5">
            <a:extLst>
              <a:ext uri="{FF2B5EF4-FFF2-40B4-BE49-F238E27FC236}">
                <a16:creationId xmlns:a16="http://schemas.microsoft.com/office/drawing/2014/main" id="{25D50722-14A3-1EF6-7FF6-03303E6D8DCC}"/>
              </a:ext>
            </a:extLst>
          </p:cNvPr>
          <p:cNvSpPr>
            <a:spLocks noGrp="1" noRot="1" noMove="1" noResize="1" noEditPoints="1" noAdjustHandles="1" noChangeArrowheads="1" noChangeShapeType="1"/>
          </p:cNvSpPr>
          <p:nvPr/>
        </p:nvSpPr>
        <p:spPr>
          <a:xfrm>
            <a:off x="0" y="5754848"/>
            <a:ext cx="12192000" cy="1103152"/>
          </a:xfrm>
          <a:prstGeom prst="rect">
            <a:avLst/>
          </a:prstGeom>
          <a:solidFill>
            <a:srgbClr val="1E4E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C5D6372D-57E6-30ED-356B-9DC4BE2FE326}"/>
              </a:ext>
            </a:extLst>
          </p:cNvPr>
          <p:cNvSpPr txBox="1"/>
          <p:nvPr/>
        </p:nvSpPr>
        <p:spPr>
          <a:xfrm>
            <a:off x="-22398" y="982177"/>
            <a:ext cx="12474772" cy="544764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4800" b="1"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Arial"/>
              </a:rPr>
              <a:t>Ecodesign for Sustainable Products Regulation (ESPR)</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6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Wingdings" pitchFamily="2" charset="2"/>
              </a:rPr>
              <a:t> </a:t>
            </a:r>
            <a:r>
              <a:rPr kumimoji="0" lang="en-US" sz="36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Arial"/>
              </a:rPr>
              <a:t>Performance and information requirements for greener product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6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Wingdings" pitchFamily="2" charset="2"/>
              </a:rPr>
              <a:t> </a:t>
            </a:r>
            <a:r>
              <a:rPr kumimoji="0" lang="en-US" sz="36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Arial"/>
              </a:rPr>
              <a:t>Tackle the destruction of unsold good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6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Wingdings" pitchFamily="2" charset="2"/>
              </a:rPr>
              <a:t> </a:t>
            </a:r>
            <a:r>
              <a:rPr kumimoji="0" lang="en-US" sz="36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Arial"/>
              </a:rPr>
              <a:t>Waste prevention and reduction</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6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Wingdings" pitchFamily="2" charset="2"/>
              </a:rPr>
              <a:t> </a:t>
            </a:r>
            <a:r>
              <a:rPr kumimoji="0" lang="en-US" sz="36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Arial"/>
              </a:rPr>
              <a:t>Mandatory criteria for green public procure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6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Wingdings" pitchFamily="2" charset="2"/>
              </a:rPr>
              <a:t> </a:t>
            </a:r>
            <a:r>
              <a:rPr kumimoji="0" lang="en-US" sz="36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Arial"/>
              </a:rPr>
              <a:t>Digital Product Passport and new labeling rule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6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Wingdings" pitchFamily="2" charset="2"/>
              </a:rPr>
              <a:t> </a:t>
            </a:r>
            <a:r>
              <a:rPr kumimoji="0" lang="en-US" sz="36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Arial"/>
              </a:rPr>
              <a:t>Stronger market surveillance</a:t>
            </a:r>
            <a:endParaRPr kumimoji="0" lang="en-US" sz="44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Arial"/>
            </a:endParaRPr>
          </a:p>
        </p:txBody>
      </p:sp>
    </p:spTree>
    <p:extLst>
      <p:ext uri="{BB962C8B-B14F-4D97-AF65-F5344CB8AC3E}">
        <p14:creationId xmlns:p14="http://schemas.microsoft.com/office/powerpoint/2010/main" val="388882023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bg>
      <p:bgPr>
        <a:solidFill>
          <a:srgbClr val="1E4E9B"/>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9B628A02-F477-FECC-56B1-2110A0A9C499}"/>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368FC967-E25B-4DC7-87C0-1C454DF70C3D}"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5.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5" name="Slide Number Placeholder 4">
            <a:extLst>
              <a:ext uri="{FF2B5EF4-FFF2-40B4-BE49-F238E27FC236}">
                <a16:creationId xmlns:a16="http://schemas.microsoft.com/office/drawing/2014/main" id="{9A1D3475-A9DB-8F1B-368F-A82E3DA2585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11</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
        <p:nvSpPr>
          <p:cNvPr id="6" name="Rectangle 5">
            <a:extLst>
              <a:ext uri="{FF2B5EF4-FFF2-40B4-BE49-F238E27FC236}">
                <a16:creationId xmlns:a16="http://schemas.microsoft.com/office/drawing/2014/main" id="{25D50722-14A3-1EF6-7FF6-03303E6D8DCC}"/>
              </a:ext>
            </a:extLst>
          </p:cNvPr>
          <p:cNvSpPr>
            <a:spLocks noGrp="1" noRot="1" noMove="1" noResize="1" noEditPoints="1" noAdjustHandles="1" noChangeArrowheads="1" noChangeShapeType="1"/>
          </p:cNvSpPr>
          <p:nvPr/>
        </p:nvSpPr>
        <p:spPr>
          <a:xfrm>
            <a:off x="0" y="5754848"/>
            <a:ext cx="12192000" cy="1103152"/>
          </a:xfrm>
          <a:prstGeom prst="rect">
            <a:avLst/>
          </a:prstGeom>
          <a:solidFill>
            <a:srgbClr val="1E4E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C5D6372D-57E6-30ED-356B-9DC4BE2FE326}"/>
              </a:ext>
            </a:extLst>
          </p:cNvPr>
          <p:cNvSpPr txBox="1"/>
          <p:nvPr/>
        </p:nvSpPr>
        <p:spPr>
          <a:xfrm>
            <a:off x="-22398" y="982177"/>
            <a:ext cx="12474772" cy="544764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4800" b="1"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Arial"/>
              </a:rPr>
              <a:t>Ecodesign for Sustainable Products Regulation (ESPR)</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6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Wingdings" pitchFamily="2" charset="2"/>
              </a:rPr>
              <a:t> </a:t>
            </a:r>
            <a:r>
              <a:rPr kumimoji="0" lang="en-US" sz="36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Arial"/>
              </a:rPr>
              <a:t>Performance and information requirements for greener product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6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Wingdings" pitchFamily="2" charset="2"/>
              </a:rPr>
              <a:t> </a:t>
            </a:r>
            <a:r>
              <a:rPr kumimoji="0" lang="en-US" sz="36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Arial"/>
              </a:rPr>
              <a:t>Tackle the destruction of unsold good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6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Wingdings" pitchFamily="2" charset="2"/>
              </a:rPr>
              <a:t> </a:t>
            </a:r>
            <a:r>
              <a:rPr kumimoji="0" lang="en-US" sz="36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Arial"/>
              </a:rPr>
              <a:t>Waste prevention and reduction</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6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Wingdings" pitchFamily="2" charset="2"/>
              </a:rPr>
              <a:t> </a:t>
            </a:r>
            <a:r>
              <a:rPr kumimoji="0" lang="en-US" sz="36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Arial"/>
              </a:rPr>
              <a:t>Mandatory criteria for green public procuremen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6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Wingdings" pitchFamily="2" charset="2"/>
              </a:rPr>
              <a:t> </a:t>
            </a:r>
            <a:r>
              <a:rPr kumimoji="0" lang="en-US" sz="36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Arial"/>
              </a:rPr>
              <a:t>Digital Product Passport and new labeling rule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6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Wingdings" pitchFamily="2" charset="2"/>
              </a:rPr>
              <a:t> </a:t>
            </a:r>
            <a:r>
              <a:rPr kumimoji="0" lang="en-US" sz="36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Arial"/>
              </a:rPr>
              <a:t>Stronger market surveillance</a:t>
            </a:r>
            <a:endParaRPr kumimoji="0" lang="en-US" sz="44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sym typeface="Arial"/>
            </a:endParaRPr>
          </a:p>
        </p:txBody>
      </p:sp>
    </p:spTree>
    <p:extLst>
      <p:ext uri="{BB962C8B-B14F-4D97-AF65-F5344CB8AC3E}">
        <p14:creationId xmlns:p14="http://schemas.microsoft.com/office/powerpoint/2010/main" val="38888202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445982-68A3-0104-4C4E-3813FA8C5EED}"/>
              </a:ext>
            </a:extLst>
          </p:cNvPr>
          <p:cNvSpPr>
            <a:spLocks noGrp="1"/>
          </p:cNvSpPr>
          <p:nvPr>
            <p:ph type="title"/>
          </p:nvPr>
        </p:nvSpPr>
        <p:spPr/>
        <p:txBody>
          <a:bodyPr/>
          <a:lstStyle/>
          <a:p>
            <a:r>
              <a:rPr lang="en-US"/>
              <a:t>Critical Aspects of the Ecodesign for Sustainable Product Regulation</a:t>
            </a:r>
          </a:p>
        </p:txBody>
      </p:sp>
      <p:sp>
        <p:nvSpPr>
          <p:cNvPr id="4" name="Date Placeholder 3">
            <a:extLst>
              <a:ext uri="{FF2B5EF4-FFF2-40B4-BE49-F238E27FC236}">
                <a16:creationId xmlns:a16="http://schemas.microsoft.com/office/drawing/2014/main" id="{5011E87E-7E79-95AF-577F-E5019E31F51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368FC967-E25B-4DC7-87C0-1C454DF70C3D}"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5" name="Slide Number Placeholder 4">
            <a:extLst>
              <a:ext uri="{FF2B5EF4-FFF2-40B4-BE49-F238E27FC236}">
                <a16:creationId xmlns:a16="http://schemas.microsoft.com/office/drawing/2014/main" id="{1EB3C0B8-ADF8-F2B3-D0AE-07905168B70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12</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graphicFrame>
        <p:nvGraphicFramePr>
          <p:cNvPr id="7" name="Diagram 6">
            <a:extLst>
              <a:ext uri="{FF2B5EF4-FFF2-40B4-BE49-F238E27FC236}">
                <a16:creationId xmlns:a16="http://schemas.microsoft.com/office/drawing/2014/main" id="{F6C12320-E466-F9F0-D6AC-1F5F5DF3BD75}"/>
              </a:ext>
            </a:extLst>
          </p:cNvPr>
          <p:cNvGraphicFramePr/>
          <p:nvPr>
            <p:extLst>
              <p:ext uri="{D42A27DB-BD31-4B8C-83A1-F6EECF244321}">
                <p14:modId xmlns:p14="http://schemas.microsoft.com/office/powerpoint/2010/main" val="952893417"/>
              </p:ext>
            </p:extLst>
          </p:nvPr>
        </p:nvGraphicFramePr>
        <p:xfrm>
          <a:off x="-600455" y="1023968"/>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 Placeholder 2">
            <a:extLst>
              <a:ext uri="{FF2B5EF4-FFF2-40B4-BE49-F238E27FC236}">
                <a16:creationId xmlns:a16="http://schemas.microsoft.com/office/drawing/2014/main" id="{B55A0EE0-6910-CDCE-E4A5-E9EE1066E78F}"/>
              </a:ext>
            </a:extLst>
          </p:cNvPr>
          <p:cNvSpPr>
            <a:spLocks noGrp="1"/>
          </p:cNvSpPr>
          <p:nvPr>
            <p:ph type="body" idx="1"/>
          </p:nvPr>
        </p:nvSpPr>
        <p:spPr>
          <a:xfrm>
            <a:off x="6408892" y="1916030"/>
            <a:ext cx="5704885" cy="3906012"/>
          </a:xfrm>
        </p:spPr>
        <p:txBody>
          <a:bodyPr/>
          <a:lstStyle/>
          <a:p>
            <a:pPr>
              <a:spcBef>
                <a:spcPts val="600"/>
              </a:spcBef>
            </a:pPr>
            <a:r>
              <a:rPr lang="en-US" sz="1600" b="1">
                <a:solidFill>
                  <a:schemeClr val="tx1">
                    <a:lumMod val="65000"/>
                    <a:lumOff val="35000"/>
                  </a:schemeClr>
                </a:solidFill>
              </a:rPr>
              <a:t>Durability</a:t>
            </a:r>
            <a:r>
              <a:rPr lang="en-US" sz="1600">
                <a:solidFill>
                  <a:schemeClr val="tx1">
                    <a:lumMod val="65000"/>
                    <a:lumOff val="35000"/>
                  </a:schemeClr>
                </a:solidFill>
              </a:rPr>
              <a:t>, </a:t>
            </a:r>
            <a:r>
              <a:rPr lang="en-US" sz="1600" b="1">
                <a:solidFill>
                  <a:schemeClr val="tx1">
                    <a:lumMod val="65000"/>
                    <a:lumOff val="35000"/>
                  </a:schemeClr>
                </a:solidFill>
              </a:rPr>
              <a:t>reliability</a:t>
            </a:r>
            <a:r>
              <a:rPr lang="en-US" sz="1600">
                <a:solidFill>
                  <a:schemeClr val="tx1">
                    <a:lumMod val="65000"/>
                    <a:lumOff val="35000"/>
                  </a:schemeClr>
                </a:solidFill>
              </a:rPr>
              <a:t>, </a:t>
            </a:r>
            <a:r>
              <a:rPr lang="en-US" sz="1600" b="1">
                <a:solidFill>
                  <a:schemeClr val="tx1">
                    <a:lumMod val="65000"/>
                    <a:lumOff val="35000"/>
                  </a:schemeClr>
                </a:solidFill>
              </a:rPr>
              <a:t>reusability</a:t>
            </a:r>
            <a:r>
              <a:rPr lang="en-US" sz="1600">
                <a:solidFill>
                  <a:schemeClr val="tx1">
                    <a:lumMod val="65000"/>
                    <a:lumOff val="35000"/>
                  </a:schemeClr>
                </a:solidFill>
              </a:rPr>
              <a:t>, </a:t>
            </a:r>
            <a:r>
              <a:rPr lang="en-US" sz="1600" b="1">
                <a:solidFill>
                  <a:schemeClr val="tx1">
                    <a:lumMod val="65000"/>
                    <a:lumOff val="35000"/>
                  </a:schemeClr>
                </a:solidFill>
              </a:rPr>
              <a:t>upgradability</a:t>
            </a:r>
          </a:p>
          <a:p>
            <a:pPr>
              <a:spcBef>
                <a:spcPts val="600"/>
              </a:spcBef>
            </a:pPr>
            <a:r>
              <a:rPr lang="en-US" sz="1600" b="1">
                <a:solidFill>
                  <a:schemeClr val="tx1">
                    <a:lumMod val="65000"/>
                    <a:lumOff val="35000"/>
                  </a:schemeClr>
                </a:solidFill>
              </a:rPr>
              <a:t>Reparability</a:t>
            </a:r>
            <a:r>
              <a:rPr lang="en-US" sz="1600">
                <a:solidFill>
                  <a:schemeClr val="tx1">
                    <a:lumMod val="65000"/>
                    <a:lumOff val="35000"/>
                  </a:schemeClr>
                </a:solidFill>
              </a:rPr>
              <a:t>: possibility of </a:t>
            </a:r>
            <a:r>
              <a:rPr lang="en-US" sz="1600" b="1">
                <a:solidFill>
                  <a:schemeClr val="tx1">
                    <a:lumMod val="65000"/>
                    <a:lumOff val="35000"/>
                  </a:schemeClr>
                </a:solidFill>
              </a:rPr>
              <a:t>maintenance</a:t>
            </a:r>
            <a:r>
              <a:rPr lang="en-US" sz="1600">
                <a:solidFill>
                  <a:schemeClr val="tx1">
                    <a:lumMod val="65000"/>
                    <a:lumOff val="35000"/>
                  </a:schemeClr>
                </a:solidFill>
              </a:rPr>
              <a:t> and </a:t>
            </a:r>
            <a:r>
              <a:rPr lang="en-US" sz="1600" b="1">
                <a:solidFill>
                  <a:schemeClr val="tx1">
                    <a:lumMod val="65000"/>
                    <a:lumOff val="35000"/>
                  </a:schemeClr>
                </a:solidFill>
              </a:rPr>
              <a:t>refurbishment</a:t>
            </a:r>
          </a:p>
          <a:p>
            <a:pPr>
              <a:spcBef>
                <a:spcPts val="600"/>
              </a:spcBef>
            </a:pPr>
            <a:r>
              <a:rPr lang="en-US" sz="1600">
                <a:solidFill>
                  <a:schemeClr val="tx1">
                    <a:lumMod val="65000"/>
                    <a:lumOff val="35000"/>
                  </a:schemeClr>
                </a:solidFill>
              </a:rPr>
              <a:t>Presence of </a:t>
            </a:r>
            <a:r>
              <a:rPr lang="en-US" sz="1600" b="1">
                <a:solidFill>
                  <a:schemeClr val="tx1">
                    <a:lumMod val="65000"/>
                    <a:lumOff val="35000"/>
                  </a:schemeClr>
                </a:solidFill>
              </a:rPr>
              <a:t>substances of concern</a:t>
            </a:r>
          </a:p>
          <a:p>
            <a:pPr>
              <a:spcBef>
                <a:spcPts val="600"/>
              </a:spcBef>
            </a:pPr>
            <a:r>
              <a:rPr lang="en-US" sz="1600" b="1">
                <a:solidFill>
                  <a:schemeClr val="tx1">
                    <a:lumMod val="65000"/>
                    <a:lumOff val="35000"/>
                  </a:schemeClr>
                </a:solidFill>
              </a:rPr>
              <a:t>Energy use </a:t>
            </a:r>
            <a:r>
              <a:rPr lang="en-US" sz="1600">
                <a:solidFill>
                  <a:schemeClr val="tx1">
                    <a:lumMod val="65000"/>
                    <a:lumOff val="35000"/>
                  </a:schemeClr>
                </a:solidFill>
              </a:rPr>
              <a:t>or </a:t>
            </a:r>
            <a:r>
              <a:rPr lang="en-US" sz="1600" b="1">
                <a:solidFill>
                  <a:schemeClr val="tx1">
                    <a:lumMod val="65000"/>
                    <a:lumOff val="35000"/>
                  </a:schemeClr>
                </a:solidFill>
              </a:rPr>
              <a:t>energy efficiency</a:t>
            </a:r>
          </a:p>
          <a:p>
            <a:pPr>
              <a:spcBef>
                <a:spcPts val="600"/>
              </a:spcBef>
            </a:pPr>
            <a:r>
              <a:rPr lang="en-US" sz="1600" b="1">
                <a:solidFill>
                  <a:schemeClr val="tx1">
                    <a:lumMod val="65000"/>
                    <a:lumOff val="35000"/>
                  </a:schemeClr>
                </a:solidFill>
              </a:rPr>
              <a:t>Resource use </a:t>
            </a:r>
            <a:r>
              <a:rPr lang="en-US" sz="1600">
                <a:solidFill>
                  <a:schemeClr val="tx1">
                    <a:lumMod val="65000"/>
                    <a:lumOff val="35000"/>
                  </a:schemeClr>
                </a:solidFill>
              </a:rPr>
              <a:t>or </a:t>
            </a:r>
            <a:r>
              <a:rPr lang="en-US" sz="1600" b="1">
                <a:solidFill>
                  <a:schemeClr val="tx1">
                    <a:lumMod val="65000"/>
                    <a:lumOff val="35000"/>
                  </a:schemeClr>
                </a:solidFill>
              </a:rPr>
              <a:t>resource efficiency</a:t>
            </a:r>
          </a:p>
          <a:p>
            <a:pPr>
              <a:spcBef>
                <a:spcPts val="600"/>
              </a:spcBef>
            </a:pPr>
            <a:r>
              <a:rPr lang="en-US" sz="1600" b="1">
                <a:solidFill>
                  <a:schemeClr val="tx1">
                    <a:lumMod val="65000"/>
                    <a:lumOff val="35000"/>
                  </a:schemeClr>
                </a:solidFill>
              </a:rPr>
              <a:t>Recycled content</a:t>
            </a:r>
          </a:p>
          <a:p>
            <a:pPr>
              <a:spcBef>
                <a:spcPts val="600"/>
              </a:spcBef>
            </a:pPr>
            <a:r>
              <a:rPr lang="en-US" sz="1600">
                <a:solidFill>
                  <a:schemeClr val="tx1">
                    <a:lumMod val="65000"/>
                    <a:lumOff val="35000"/>
                  </a:schemeClr>
                </a:solidFill>
              </a:rPr>
              <a:t>Possibility of </a:t>
            </a:r>
            <a:r>
              <a:rPr lang="en-US" sz="1600" b="1">
                <a:solidFill>
                  <a:schemeClr val="tx1">
                    <a:lumMod val="65000"/>
                    <a:lumOff val="35000"/>
                  </a:schemeClr>
                </a:solidFill>
              </a:rPr>
              <a:t>remanufacturing</a:t>
            </a:r>
            <a:r>
              <a:rPr lang="en-US" sz="1600">
                <a:solidFill>
                  <a:schemeClr val="tx1">
                    <a:lumMod val="65000"/>
                    <a:lumOff val="35000"/>
                  </a:schemeClr>
                </a:solidFill>
              </a:rPr>
              <a:t> and </a:t>
            </a:r>
            <a:r>
              <a:rPr lang="en-US" sz="1600" b="1">
                <a:solidFill>
                  <a:schemeClr val="tx1">
                    <a:lumMod val="65000"/>
                    <a:lumOff val="35000"/>
                  </a:schemeClr>
                </a:solidFill>
              </a:rPr>
              <a:t>recycling</a:t>
            </a:r>
            <a:r>
              <a:rPr lang="en-US" sz="1600">
                <a:solidFill>
                  <a:schemeClr val="tx1">
                    <a:lumMod val="65000"/>
                    <a:lumOff val="35000"/>
                  </a:schemeClr>
                </a:solidFill>
              </a:rPr>
              <a:t> </a:t>
            </a:r>
          </a:p>
          <a:p>
            <a:pPr>
              <a:spcBef>
                <a:spcPts val="600"/>
              </a:spcBef>
            </a:pPr>
            <a:r>
              <a:rPr lang="en-US" sz="1600">
                <a:solidFill>
                  <a:schemeClr val="tx1">
                    <a:lumMod val="65000"/>
                    <a:lumOff val="35000"/>
                  </a:schemeClr>
                </a:solidFill>
              </a:rPr>
              <a:t>Possibility of </a:t>
            </a:r>
            <a:r>
              <a:rPr lang="en-US" sz="1600" b="1">
                <a:solidFill>
                  <a:schemeClr val="tx1">
                    <a:lumMod val="65000"/>
                    <a:lumOff val="35000"/>
                  </a:schemeClr>
                </a:solidFill>
              </a:rPr>
              <a:t>recovery</a:t>
            </a:r>
            <a:r>
              <a:rPr lang="en-US" sz="1600">
                <a:solidFill>
                  <a:schemeClr val="tx1">
                    <a:lumMod val="65000"/>
                    <a:lumOff val="35000"/>
                  </a:schemeClr>
                </a:solidFill>
              </a:rPr>
              <a:t> of materials</a:t>
            </a:r>
          </a:p>
          <a:p>
            <a:pPr>
              <a:spcBef>
                <a:spcPts val="600"/>
              </a:spcBef>
            </a:pPr>
            <a:r>
              <a:rPr lang="en-US" sz="1600" b="1">
                <a:solidFill>
                  <a:schemeClr val="tx1">
                    <a:lumMod val="65000"/>
                    <a:lumOff val="35000"/>
                  </a:schemeClr>
                </a:solidFill>
              </a:rPr>
              <a:t>Environmental impacts</a:t>
            </a:r>
            <a:r>
              <a:rPr lang="en-US" sz="1600">
                <a:solidFill>
                  <a:schemeClr val="tx1">
                    <a:lumMod val="65000"/>
                    <a:lumOff val="35000"/>
                  </a:schemeClr>
                </a:solidFill>
              </a:rPr>
              <a:t>, including carbon and environmental footprint</a:t>
            </a:r>
          </a:p>
          <a:p>
            <a:pPr>
              <a:spcBef>
                <a:spcPts val="600"/>
              </a:spcBef>
            </a:pPr>
            <a:r>
              <a:rPr lang="en-US" sz="1600">
                <a:solidFill>
                  <a:schemeClr val="tx1">
                    <a:lumMod val="65000"/>
                    <a:lumOff val="35000"/>
                  </a:schemeClr>
                </a:solidFill>
              </a:rPr>
              <a:t>Expected generation of </a:t>
            </a:r>
            <a:r>
              <a:rPr lang="en-US" sz="1600" b="1">
                <a:solidFill>
                  <a:schemeClr val="tx1">
                    <a:lumMod val="65000"/>
                    <a:lumOff val="35000"/>
                  </a:schemeClr>
                </a:solidFill>
              </a:rPr>
              <a:t>waste</a:t>
            </a:r>
            <a:r>
              <a:rPr lang="en-US" sz="1600">
                <a:solidFill>
                  <a:schemeClr val="tx1">
                    <a:lumMod val="65000"/>
                    <a:lumOff val="35000"/>
                  </a:schemeClr>
                </a:solidFill>
              </a:rPr>
              <a:t> materials</a:t>
            </a:r>
          </a:p>
        </p:txBody>
      </p:sp>
      <p:sp>
        <p:nvSpPr>
          <p:cNvPr id="10" name="Fußzeilenplatzhalter 3">
            <a:extLst>
              <a:ext uri="{FF2B5EF4-FFF2-40B4-BE49-F238E27FC236}">
                <a16:creationId xmlns:a16="http://schemas.microsoft.com/office/drawing/2014/main" id="{256C3346-5FC5-F0DC-F0CE-7FC1A0D4D551}"/>
              </a:ext>
            </a:extLst>
          </p:cNvPr>
          <p:cNvSpPr txBox="1">
            <a:spLocks/>
          </p:cNvSpPr>
          <p:nvPr/>
        </p:nvSpPr>
        <p:spPr>
          <a:xfrm>
            <a:off x="1368178" y="6516000"/>
            <a:ext cx="5616000" cy="167933"/>
          </a:xfrm>
          <a:prstGeom prst="rect">
            <a:avLst/>
          </a:prstGeom>
        </p:spPr>
        <p:txBody>
          <a:bodyPr lIns="0" tIns="0" rIns="0" bIns="0"/>
          <a:ls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900">
                <a:latin typeface="Arial" panose="020B0604020202020204"/>
                <a:cs typeface="Arial"/>
              </a:rPr>
              <a:t>|  </a:t>
            </a:r>
            <a:r>
              <a:rPr lang="en-US" sz="900">
                <a:latin typeface="+mj-lt"/>
                <a:cs typeface="Calibri" panose="020F0502020204030204" pitchFamily="34" charset="0"/>
                <a:sym typeface="Calibri" panose="020F0502020204030204" pitchFamily="34" charset="0"/>
              </a:rPr>
              <a:t>Source: </a:t>
            </a:r>
            <a:r>
              <a:rPr lang="en-US" sz="900">
                <a:latin typeface="+mj-lt"/>
                <a:cs typeface="Calibri" panose="020F0502020204030204" pitchFamily="34" charset="0"/>
                <a:sym typeface="Calibri" panose="020F0502020204030204" pitchFamily="34" charset="0"/>
                <a:hlinkClick r:id="rId7">
                  <a:extLst>
                    <a:ext uri="{A12FA001-AC4F-418D-AE19-62706E023703}">
                      <ahyp:hlinkClr xmlns:ahyp="http://schemas.microsoft.com/office/drawing/2018/hyperlinkcolor" val="tx"/>
                    </a:ext>
                  </a:extLst>
                </a:hlinkClick>
              </a:rPr>
              <a:t>https://cirpassproject.eu/wp-content/uploads/2024/03/A2-EC-Michele-Galatola.pdf</a:t>
            </a:r>
            <a:r>
              <a:rPr lang="en-US" sz="900">
                <a:latin typeface="+mj-lt"/>
                <a:cs typeface="Calibri" panose="020F0502020204030204" pitchFamily="34" charset="0"/>
                <a:sym typeface="Calibri" panose="020F0502020204030204" pitchFamily="34" charset="0"/>
              </a:rPr>
              <a:t> </a:t>
            </a:r>
          </a:p>
        </p:txBody>
      </p:sp>
    </p:spTree>
    <p:extLst>
      <p:ext uri="{BB962C8B-B14F-4D97-AF65-F5344CB8AC3E}">
        <p14:creationId xmlns:p14="http://schemas.microsoft.com/office/powerpoint/2010/main" val="32224774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3C9F9E-1245-0E60-7620-56DFC49C5E3B}"/>
            </a:ext>
          </a:extLst>
        </p:cNvPr>
        <p:cNvGrpSpPr/>
        <p:nvPr/>
      </p:nvGrpSpPr>
      <p:grpSpPr>
        <a:xfrm>
          <a:off x="0" y="0"/>
          <a:ext cx="0" cy="0"/>
          <a:chOff x="0" y="0"/>
          <a:chExt cx="0" cy="0"/>
        </a:xfrm>
      </p:grpSpPr>
      <p:grpSp>
        <p:nvGrpSpPr>
          <p:cNvPr id="7" name="Group 6">
            <a:extLst>
              <a:ext uri="{FF2B5EF4-FFF2-40B4-BE49-F238E27FC236}">
                <a16:creationId xmlns:a16="http://schemas.microsoft.com/office/drawing/2014/main" id="{C7464B8F-257B-CD8E-6436-BF1220489BE2}"/>
              </a:ext>
            </a:extLst>
          </p:cNvPr>
          <p:cNvGrpSpPr/>
          <p:nvPr/>
        </p:nvGrpSpPr>
        <p:grpSpPr>
          <a:xfrm>
            <a:off x="431342" y="418982"/>
            <a:ext cx="11329317" cy="5987043"/>
            <a:chOff x="-10866" y="915990"/>
            <a:chExt cx="11329317" cy="5987043"/>
          </a:xfrm>
        </p:grpSpPr>
        <p:grpSp>
          <p:nvGrpSpPr>
            <p:cNvPr id="8" name="Group 7">
              <a:extLst>
                <a:ext uri="{FF2B5EF4-FFF2-40B4-BE49-F238E27FC236}">
                  <a16:creationId xmlns:a16="http://schemas.microsoft.com/office/drawing/2014/main" id="{E3F2AA17-0FF3-1CE5-34FF-D2874BBAA76C}"/>
                </a:ext>
              </a:extLst>
            </p:cNvPr>
            <p:cNvGrpSpPr/>
            <p:nvPr/>
          </p:nvGrpSpPr>
          <p:grpSpPr>
            <a:xfrm>
              <a:off x="1551024" y="3519752"/>
              <a:ext cx="1904705" cy="1641987"/>
              <a:chOff x="2352939" y="1193428"/>
              <a:chExt cx="1904705" cy="1641987"/>
            </a:xfrm>
          </p:grpSpPr>
          <p:sp>
            <p:nvSpPr>
              <p:cNvPr id="9" name="Hexagon 8">
                <a:extLst>
                  <a:ext uri="{FF2B5EF4-FFF2-40B4-BE49-F238E27FC236}">
                    <a16:creationId xmlns:a16="http://schemas.microsoft.com/office/drawing/2014/main" id="{32B71D4A-7A97-3A58-E912-5CA9590512F7}"/>
                  </a:ext>
                </a:extLst>
              </p:cNvPr>
              <p:cNvSpPr>
                <a:spLocks/>
              </p:cNvSpPr>
              <p:nvPr/>
            </p:nvSpPr>
            <p:spPr>
              <a:xfrm>
                <a:off x="2352939" y="1193428"/>
                <a:ext cx="1904705" cy="1641987"/>
              </a:xfrm>
              <a:prstGeom prst="hexagon">
                <a:avLst/>
              </a:prstGeom>
              <a:solidFill>
                <a:srgbClr val="004A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06DB3843-D889-FC17-F013-09AD3B61AAA6}"/>
                  </a:ext>
                </a:extLst>
              </p:cNvPr>
              <p:cNvSpPr txBox="1"/>
              <p:nvPr/>
            </p:nvSpPr>
            <p:spPr>
              <a:xfrm>
                <a:off x="2466010" y="2060423"/>
                <a:ext cx="1678563" cy="590931"/>
              </a:xfrm>
              <a:prstGeom prst="rect">
                <a:avLst/>
              </a:prstGeom>
              <a:noFill/>
            </p:spPr>
            <p:txBody>
              <a:bodyPr wrap="square">
                <a:spAutoFit/>
              </a:bodyPr>
              <a:lstStyle/>
              <a:p>
                <a:pPr algn="ctr">
                  <a:lnSpc>
                    <a:spcPct val="90000"/>
                  </a:lnSpc>
                </a:pPr>
                <a:r>
                  <a:rPr lang="en-US">
                    <a:solidFill>
                      <a:schemeClr val="bg1"/>
                    </a:solidFill>
                  </a:rPr>
                  <a:t>Resource Use &amp; Efficiency</a:t>
                </a:r>
              </a:p>
            </p:txBody>
          </p:sp>
          <p:pic>
            <p:nvPicPr>
              <p:cNvPr id="11" name="Graphic 10">
                <a:extLst>
                  <a:ext uri="{FF2B5EF4-FFF2-40B4-BE49-F238E27FC236}">
                    <a16:creationId xmlns:a16="http://schemas.microsoft.com/office/drawing/2014/main" id="{CE1AC998-3EE7-B8D0-2A58-176E187D3FA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943356" y="1343981"/>
                <a:ext cx="723871" cy="723871"/>
              </a:xfrm>
              <a:prstGeom prst="rect">
                <a:avLst/>
              </a:prstGeom>
            </p:spPr>
          </p:pic>
        </p:grpSp>
        <p:grpSp>
          <p:nvGrpSpPr>
            <p:cNvPr id="12" name="Group 11">
              <a:extLst>
                <a:ext uri="{FF2B5EF4-FFF2-40B4-BE49-F238E27FC236}">
                  <a16:creationId xmlns:a16="http://schemas.microsoft.com/office/drawing/2014/main" id="{DF0B5D58-1937-1B12-9652-0441551269B0}"/>
                </a:ext>
              </a:extLst>
            </p:cNvPr>
            <p:cNvGrpSpPr/>
            <p:nvPr/>
          </p:nvGrpSpPr>
          <p:grpSpPr>
            <a:xfrm>
              <a:off x="1551024" y="5261046"/>
              <a:ext cx="1904705" cy="1641987"/>
              <a:chOff x="2494237" y="1271352"/>
              <a:chExt cx="1904705" cy="1641987"/>
            </a:xfrm>
          </p:grpSpPr>
          <p:sp>
            <p:nvSpPr>
              <p:cNvPr id="13" name="Hexagon 12">
                <a:extLst>
                  <a:ext uri="{FF2B5EF4-FFF2-40B4-BE49-F238E27FC236}">
                    <a16:creationId xmlns:a16="http://schemas.microsoft.com/office/drawing/2014/main" id="{6A0C020F-4D9B-0144-9038-AB0DF0873849}"/>
                  </a:ext>
                </a:extLst>
              </p:cNvPr>
              <p:cNvSpPr>
                <a:spLocks/>
              </p:cNvSpPr>
              <p:nvPr/>
            </p:nvSpPr>
            <p:spPr>
              <a:xfrm>
                <a:off x="2494237" y="1271352"/>
                <a:ext cx="1904705" cy="1641987"/>
              </a:xfrm>
              <a:prstGeom prst="hexagon">
                <a:avLst/>
              </a:prstGeom>
              <a:solidFill>
                <a:srgbClr val="004A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E96C70BA-A986-3EEF-61C8-6BCF70F81EA9}"/>
                  </a:ext>
                </a:extLst>
              </p:cNvPr>
              <p:cNvSpPr txBox="1">
                <a:spLocks/>
              </p:cNvSpPr>
              <p:nvPr/>
            </p:nvSpPr>
            <p:spPr>
              <a:xfrm>
                <a:off x="2695821" y="2060423"/>
                <a:ext cx="1537556" cy="590931"/>
              </a:xfrm>
              <a:prstGeom prst="rect">
                <a:avLst/>
              </a:prstGeom>
              <a:noFill/>
            </p:spPr>
            <p:txBody>
              <a:bodyPr wrap="square">
                <a:spAutoFit/>
              </a:bodyPr>
              <a:lstStyle/>
              <a:p>
                <a:pPr algn="ctr">
                  <a:lnSpc>
                    <a:spcPct val="90000"/>
                  </a:lnSpc>
                </a:pPr>
                <a:r>
                  <a:rPr lang="en-US">
                    <a:solidFill>
                      <a:schemeClr val="bg1"/>
                    </a:solidFill>
                  </a:rPr>
                  <a:t>Energy Use &amp; Efficiency</a:t>
                </a:r>
              </a:p>
            </p:txBody>
          </p:sp>
          <p:pic>
            <p:nvPicPr>
              <p:cNvPr id="15" name="Graphic 14">
                <a:extLst>
                  <a:ext uri="{FF2B5EF4-FFF2-40B4-BE49-F238E27FC236}">
                    <a16:creationId xmlns:a16="http://schemas.microsoft.com/office/drawing/2014/main" id="{FFC089BE-E8D5-F123-10AE-504E2343B96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56445" y="1343981"/>
                <a:ext cx="780288" cy="780288"/>
              </a:xfrm>
              <a:prstGeom prst="rect">
                <a:avLst/>
              </a:prstGeom>
            </p:spPr>
          </p:pic>
        </p:grpSp>
        <p:grpSp>
          <p:nvGrpSpPr>
            <p:cNvPr id="16" name="Group 15">
              <a:extLst>
                <a:ext uri="{FF2B5EF4-FFF2-40B4-BE49-F238E27FC236}">
                  <a16:creationId xmlns:a16="http://schemas.microsoft.com/office/drawing/2014/main" id="{53060370-BECE-8052-6540-90262DB7C26F}"/>
                </a:ext>
              </a:extLst>
            </p:cNvPr>
            <p:cNvGrpSpPr/>
            <p:nvPr/>
          </p:nvGrpSpPr>
          <p:grpSpPr>
            <a:xfrm>
              <a:off x="-10866" y="4399007"/>
              <a:ext cx="1915019" cy="1641987"/>
              <a:chOff x="2488461" y="1182926"/>
              <a:chExt cx="1915019" cy="1641987"/>
            </a:xfrm>
          </p:grpSpPr>
          <p:sp>
            <p:nvSpPr>
              <p:cNvPr id="17" name="Hexagon 16">
                <a:extLst>
                  <a:ext uri="{FF2B5EF4-FFF2-40B4-BE49-F238E27FC236}">
                    <a16:creationId xmlns:a16="http://schemas.microsoft.com/office/drawing/2014/main" id="{476386A9-53C0-7404-05EE-5552898C547F}"/>
                  </a:ext>
                </a:extLst>
              </p:cNvPr>
              <p:cNvSpPr>
                <a:spLocks/>
              </p:cNvSpPr>
              <p:nvPr/>
            </p:nvSpPr>
            <p:spPr>
              <a:xfrm>
                <a:off x="2488461" y="1182926"/>
                <a:ext cx="1904705" cy="1641987"/>
              </a:xfrm>
              <a:prstGeom prst="hexagon">
                <a:avLst/>
              </a:prstGeom>
              <a:solidFill>
                <a:srgbClr val="004A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67A88388-F60C-B0A5-74E6-0948B8CC9824}"/>
                  </a:ext>
                </a:extLst>
              </p:cNvPr>
              <p:cNvSpPr txBox="1">
                <a:spLocks/>
              </p:cNvSpPr>
              <p:nvPr/>
            </p:nvSpPr>
            <p:spPr>
              <a:xfrm>
                <a:off x="2498775" y="2060423"/>
                <a:ext cx="1904705" cy="590931"/>
              </a:xfrm>
              <a:prstGeom prst="rect">
                <a:avLst/>
              </a:prstGeom>
              <a:noFill/>
            </p:spPr>
            <p:txBody>
              <a:bodyPr wrap="square">
                <a:spAutoFit/>
              </a:bodyPr>
              <a:lstStyle/>
              <a:p>
                <a:pPr algn="ctr">
                  <a:lnSpc>
                    <a:spcPct val="90000"/>
                  </a:lnSpc>
                </a:pPr>
                <a:r>
                  <a:rPr lang="en-US">
                    <a:solidFill>
                      <a:schemeClr val="bg1"/>
                    </a:solidFill>
                  </a:rPr>
                  <a:t>Environmental Impacts</a:t>
                </a:r>
              </a:p>
            </p:txBody>
          </p:sp>
          <p:pic>
            <p:nvPicPr>
              <p:cNvPr id="19" name="Graphic 18">
                <a:extLst>
                  <a:ext uri="{FF2B5EF4-FFF2-40B4-BE49-F238E27FC236}">
                    <a16:creationId xmlns:a16="http://schemas.microsoft.com/office/drawing/2014/main" id="{E8526671-991A-FD4D-7B57-E51D56D1B7A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060613" y="1343981"/>
                <a:ext cx="781029" cy="781029"/>
              </a:xfrm>
              <a:prstGeom prst="rect">
                <a:avLst/>
              </a:prstGeom>
            </p:spPr>
          </p:pic>
        </p:grpSp>
        <p:grpSp>
          <p:nvGrpSpPr>
            <p:cNvPr id="20" name="Group 19">
              <a:extLst>
                <a:ext uri="{FF2B5EF4-FFF2-40B4-BE49-F238E27FC236}">
                  <a16:creationId xmlns:a16="http://schemas.microsoft.com/office/drawing/2014/main" id="{E6902E43-1D7C-9CE1-4C6E-0F2125B6191A}"/>
                </a:ext>
              </a:extLst>
            </p:cNvPr>
            <p:cNvGrpSpPr/>
            <p:nvPr/>
          </p:nvGrpSpPr>
          <p:grpSpPr>
            <a:xfrm>
              <a:off x="3120276" y="4368804"/>
              <a:ext cx="1904705" cy="1641987"/>
              <a:chOff x="2527195" y="1185830"/>
              <a:chExt cx="1904705" cy="1641987"/>
            </a:xfrm>
          </p:grpSpPr>
          <p:sp>
            <p:nvSpPr>
              <p:cNvPr id="21" name="Hexagon 20">
                <a:extLst>
                  <a:ext uri="{FF2B5EF4-FFF2-40B4-BE49-F238E27FC236}">
                    <a16:creationId xmlns:a16="http://schemas.microsoft.com/office/drawing/2014/main" id="{551ED180-84A1-CDEE-9669-98F24D0C6649}"/>
                  </a:ext>
                </a:extLst>
              </p:cNvPr>
              <p:cNvSpPr/>
              <p:nvPr/>
            </p:nvSpPr>
            <p:spPr>
              <a:xfrm>
                <a:off x="2527195" y="1185830"/>
                <a:ext cx="1904705" cy="1641987"/>
              </a:xfrm>
              <a:prstGeom prst="hexagon">
                <a:avLst/>
              </a:prstGeom>
              <a:solidFill>
                <a:srgbClr val="004A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3A528149-F647-D188-3401-D86FCCD1545F}"/>
                  </a:ext>
                </a:extLst>
              </p:cNvPr>
              <p:cNvSpPr txBox="1"/>
              <p:nvPr/>
            </p:nvSpPr>
            <p:spPr>
              <a:xfrm>
                <a:off x="2649327" y="1964892"/>
                <a:ext cx="1660441" cy="840230"/>
              </a:xfrm>
              <a:prstGeom prst="rect">
                <a:avLst/>
              </a:prstGeom>
              <a:noFill/>
            </p:spPr>
            <p:txBody>
              <a:bodyPr wrap="square">
                <a:spAutoFit/>
              </a:bodyPr>
              <a:lstStyle/>
              <a:p>
                <a:pPr algn="ctr">
                  <a:lnSpc>
                    <a:spcPct val="90000"/>
                  </a:lnSpc>
                </a:pPr>
                <a:r>
                  <a:rPr lang="en-US">
                    <a:solidFill>
                      <a:schemeClr val="bg1"/>
                    </a:solidFill>
                  </a:rPr>
                  <a:t>Expected Generation of Waste</a:t>
                </a:r>
              </a:p>
            </p:txBody>
          </p:sp>
          <p:pic>
            <p:nvPicPr>
              <p:cNvPr id="23" name="Graphic 22">
                <a:extLst>
                  <a:ext uri="{FF2B5EF4-FFF2-40B4-BE49-F238E27FC236}">
                    <a16:creationId xmlns:a16="http://schemas.microsoft.com/office/drawing/2014/main" id="{16021E6E-9797-E482-C034-6ED1C6CA04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19963" y="1343981"/>
                <a:ext cx="719168" cy="719168"/>
              </a:xfrm>
              <a:prstGeom prst="rect">
                <a:avLst/>
              </a:prstGeom>
            </p:spPr>
          </p:pic>
        </p:grpSp>
        <p:grpSp>
          <p:nvGrpSpPr>
            <p:cNvPr id="24" name="Group 23">
              <a:extLst>
                <a:ext uri="{FF2B5EF4-FFF2-40B4-BE49-F238E27FC236}">
                  <a16:creationId xmlns:a16="http://schemas.microsoft.com/office/drawing/2014/main" id="{661BB75A-C3FD-5D9E-C389-36A961BDC99A}"/>
                </a:ext>
              </a:extLst>
            </p:cNvPr>
            <p:cNvGrpSpPr/>
            <p:nvPr/>
          </p:nvGrpSpPr>
          <p:grpSpPr>
            <a:xfrm>
              <a:off x="3120276" y="2649519"/>
              <a:ext cx="1904705" cy="1641987"/>
              <a:chOff x="2478346" y="1202438"/>
              <a:chExt cx="1904705" cy="1641987"/>
            </a:xfrm>
          </p:grpSpPr>
          <p:sp>
            <p:nvSpPr>
              <p:cNvPr id="25" name="Hexagon 24">
                <a:extLst>
                  <a:ext uri="{FF2B5EF4-FFF2-40B4-BE49-F238E27FC236}">
                    <a16:creationId xmlns:a16="http://schemas.microsoft.com/office/drawing/2014/main" id="{A4234BE0-C673-005E-43C4-61657090F191}"/>
                  </a:ext>
                </a:extLst>
              </p:cNvPr>
              <p:cNvSpPr>
                <a:spLocks/>
              </p:cNvSpPr>
              <p:nvPr/>
            </p:nvSpPr>
            <p:spPr>
              <a:xfrm>
                <a:off x="2478346" y="1202438"/>
                <a:ext cx="1904705" cy="1641987"/>
              </a:xfrm>
              <a:prstGeom prst="hexagon">
                <a:avLst/>
              </a:prstGeom>
              <a:solidFill>
                <a:srgbClr val="004A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A7D684D9-E784-C7D9-080C-B091C517AC28}"/>
                  </a:ext>
                </a:extLst>
              </p:cNvPr>
              <p:cNvSpPr txBox="1"/>
              <p:nvPr/>
            </p:nvSpPr>
            <p:spPr>
              <a:xfrm>
                <a:off x="2575292" y="1998445"/>
                <a:ext cx="1710813" cy="840230"/>
              </a:xfrm>
              <a:prstGeom prst="rect">
                <a:avLst/>
              </a:prstGeom>
              <a:noFill/>
            </p:spPr>
            <p:txBody>
              <a:bodyPr wrap="square">
                <a:spAutoFit/>
              </a:bodyPr>
              <a:lstStyle>
                <a:defPPr lvl="0">
                  <a:defRPr lang="de-DE"/>
                </a:defPPr>
                <a:lvl1pPr algn="ctr">
                  <a:defRPr>
                    <a:solidFill>
                      <a:schemeClr val="bg1"/>
                    </a:solidFill>
                  </a:defRPr>
                </a:lvl1pPr>
              </a:lstStyle>
              <a:p>
                <a:pPr>
                  <a:lnSpc>
                    <a:spcPct val="90000"/>
                  </a:lnSpc>
                </a:pPr>
                <a:r>
                  <a:rPr lang="en-US"/>
                  <a:t>Presence of Substance of Concern</a:t>
                </a:r>
              </a:p>
            </p:txBody>
          </p:sp>
          <p:pic>
            <p:nvPicPr>
              <p:cNvPr id="27" name="Graphic 26">
                <a:extLst>
                  <a:ext uri="{FF2B5EF4-FFF2-40B4-BE49-F238E27FC236}">
                    <a16:creationId xmlns:a16="http://schemas.microsoft.com/office/drawing/2014/main" id="{53588705-A0E0-73B0-C70A-6C755A04BA6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82670" y="1360587"/>
                <a:ext cx="696056" cy="696056"/>
              </a:xfrm>
              <a:prstGeom prst="rect">
                <a:avLst/>
              </a:prstGeom>
            </p:spPr>
          </p:pic>
        </p:grpSp>
        <p:grpSp>
          <p:nvGrpSpPr>
            <p:cNvPr id="28" name="Group 27">
              <a:extLst>
                <a:ext uri="{FF2B5EF4-FFF2-40B4-BE49-F238E27FC236}">
                  <a16:creationId xmlns:a16="http://schemas.microsoft.com/office/drawing/2014/main" id="{2C3F7E34-7BDD-FBAD-E111-E1E41DA068EA}"/>
                </a:ext>
              </a:extLst>
            </p:cNvPr>
            <p:cNvGrpSpPr/>
            <p:nvPr/>
          </p:nvGrpSpPr>
          <p:grpSpPr>
            <a:xfrm>
              <a:off x="4687611" y="5228053"/>
              <a:ext cx="1904705" cy="1641987"/>
              <a:chOff x="2494237" y="1202438"/>
              <a:chExt cx="1904705" cy="1641987"/>
            </a:xfrm>
          </p:grpSpPr>
          <p:sp>
            <p:nvSpPr>
              <p:cNvPr id="29" name="Hexagon 28">
                <a:extLst>
                  <a:ext uri="{FF2B5EF4-FFF2-40B4-BE49-F238E27FC236}">
                    <a16:creationId xmlns:a16="http://schemas.microsoft.com/office/drawing/2014/main" id="{443489B7-74BA-6B94-084E-294A206563D0}"/>
                  </a:ext>
                </a:extLst>
              </p:cNvPr>
              <p:cNvSpPr>
                <a:spLocks/>
              </p:cNvSpPr>
              <p:nvPr/>
            </p:nvSpPr>
            <p:spPr>
              <a:xfrm>
                <a:off x="2494237" y="1202438"/>
                <a:ext cx="1904705" cy="1641987"/>
              </a:xfrm>
              <a:prstGeom prst="hexagon">
                <a:avLst/>
              </a:prstGeom>
              <a:solidFill>
                <a:srgbClr val="F3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91BD31D1-5EB1-A837-6945-3CD6ADD92E27}"/>
                  </a:ext>
                </a:extLst>
              </p:cNvPr>
              <p:cNvSpPr txBox="1"/>
              <p:nvPr/>
            </p:nvSpPr>
            <p:spPr>
              <a:xfrm>
                <a:off x="2607308" y="1987081"/>
                <a:ext cx="1678563" cy="840230"/>
              </a:xfrm>
              <a:prstGeom prst="rect">
                <a:avLst/>
              </a:prstGeom>
              <a:noFill/>
            </p:spPr>
            <p:txBody>
              <a:bodyPr wrap="square">
                <a:spAutoFit/>
              </a:bodyPr>
              <a:lstStyle/>
              <a:p>
                <a:pPr algn="ctr">
                  <a:lnSpc>
                    <a:spcPct val="90000"/>
                  </a:lnSpc>
                </a:pPr>
                <a:r>
                  <a:rPr lang="en-US">
                    <a:solidFill>
                      <a:schemeClr val="bg1"/>
                    </a:solidFill>
                    <a:latin typeface="Arial Narrow" panose="020B0604020202020204" pitchFamily="34" charset="0"/>
                    <a:cs typeface="Arial Narrow" panose="020B0604020202020204" pitchFamily="34" charset="0"/>
                  </a:rPr>
                  <a:t>Possibility of Recovery of Material</a:t>
                </a:r>
              </a:p>
            </p:txBody>
          </p:sp>
          <p:pic>
            <p:nvPicPr>
              <p:cNvPr id="31" name="Graphic 30">
                <a:extLst>
                  <a:ext uri="{FF2B5EF4-FFF2-40B4-BE49-F238E27FC236}">
                    <a16:creationId xmlns:a16="http://schemas.microsoft.com/office/drawing/2014/main" id="{C2046046-6BF6-6F3D-2236-A061CE20D61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110323" y="1360587"/>
                <a:ext cx="672532" cy="672532"/>
              </a:xfrm>
              <a:prstGeom prst="rect">
                <a:avLst/>
              </a:prstGeom>
            </p:spPr>
          </p:pic>
        </p:grpSp>
        <p:grpSp>
          <p:nvGrpSpPr>
            <p:cNvPr id="32" name="Group 31">
              <a:extLst>
                <a:ext uri="{FF2B5EF4-FFF2-40B4-BE49-F238E27FC236}">
                  <a16:creationId xmlns:a16="http://schemas.microsoft.com/office/drawing/2014/main" id="{16DC34FD-1A62-5E12-BE5F-E707C10FFB20}"/>
                </a:ext>
              </a:extLst>
            </p:cNvPr>
            <p:cNvGrpSpPr/>
            <p:nvPr/>
          </p:nvGrpSpPr>
          <p:grpSpPr>
            <a:xfrm>
              <a:off x="4687611" y="3482377"/>
              <a:ext cx="1904705" cy="1641987"/>
              <a:chOff x="2649679" y="1206349"/>
              <a:chExt cx="1904705" cy="1641987"/>
            </a:xfrm>
          </p:grpSpPr>
          <p:sp>
            <p:nvSpPr>
              <p:cNvPr id="33" name="Hexagon 32">
                <a:extLst>
                  <a:ext uri="{FF2B5EF4-FFF2-40B4-BE49-F238E27FC236}">
                    <a16:creationId xmlns:a16="http://schemas.microsoft.com/office/drawing/2014/main" id="{215C55CB-D31E-6701-FF46-456D0E14085F}"/>
                  </a:ext>
                </a:extLst>
              </p:cNvPr>
              <p:cNvSpPr>
                <a:spLocks/>
              </p:cNvSpPr>
              <p:nvPr/>
            </p:nvSpPr>
            <p:spPr>
              <a:xfrm>
                <a:off x="2649679" y="1206349"/>
                <a:ext cx="1904705" cy="1641987"/>
              </a:xfrm>
              <a:prstGeom prst="hexagon">
                <a:avLst/>
              </a:prstGeom>
              <a:solidFill>
                <a:srgbClr val="F3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B5501400-27FB-B7F6-30A0-69DE3DBEA23B}"/>
                  </a:ext>
                </a:extLst>
              </p:cNvPr>
              <p:cNvSpPr txBox="1"/>
              <p:nvPr/>
            </p:nvSpPr>
            <p:spPr>
              <a:xfrm>
                <a:off x="2731315" y="1961490"/>
                <a:ext cx="1741432" cy="840230"/>
              </a:xfrm>
              <a:prstGeom prst="rect">
                <a:avLst/>
              </a:prstGeom>
              <a:noFill/>
            </p:spPr>
            <p:txBody>
              <a:bodyPr wrap="square">
                <a:spAutoFit/>
              </a:bodyPr>
              <a:lstStyle/>
              <a:p>
                <a:pPr algn="ctr">
                  <a:lnSpc>
                    <a:spcPct val="90000"/>
                  </a:lnSpc>
                </a:pPr>
                <a:r>
                  <a:rPr lang="en-US">
                    <a:solidFill>
                      <a:schemeClr val="bg1"/>
                    </a:solidFill>
                    <a:latin typeface="Arial Narrow" panose="020B0604020202020204" pitchFamily="34" charset="0"/>
                    <a:cs typeface="Arial Narrow" panose="020B0604020202020204" pitchFamily="34" charset="0"/>
                  </a:rPr>
                  <a:t>Possibility of Maintenance &amp; Refurbishment</a:t>
                </a:r>
              </a:p>
            </p:txBody>
          </p:sp>
          <p:pic>
            <p:nvPicPr>
              <p:cNvPr id="35" name="Graphic 34">
                <a:extLst>
                  <a:ext uri="{FF2B5EF4-FFF2-40B4-BE49-F238E27FC236}">
                    <a16:creationId xmlns:a16="http://schemas.microsoft.com/office/drawing/2014/main" id="{F1106821-F24C-7934-543E-C3E38A6C150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260655" y="1360587"/>
                <a:ext cx="682752" cy="682752"/>
              </a:xfrm>
              <a:prstGeom prst="rect">
                <a:avLst/>
              </a:prstGeom>
            </p:spPr>
          </p:pic>
        </p:grpSp>
        <p:grpSp>
          <p:nvGrpSpPr>
            <p:cNvPr id="36" name="Group 35">
              <a:extLst>
                <a:ext uri="{FF2B5EF4-FFF2-40B4-BE49-F238E27FC236}">
                  <a16:creationId xmlns:a16="http://schemas.microsoft.com/office/drawing/2014/main" id="{871024F5-BE21-201E-1BBD-9A344D30AC1E}"/>
                </a:ext>
              </a:extLst>
            </p:cNvPr>
            <p:cNvGrpSpPr/>
            <p:nvPr/>
          </p:nvGrpSpPr>
          <p:grpSpPr>
            <a:xfrm>
              <a:off x="4687611" y="1778457"/>
              <a:ext cx="1904705" cy="1641987"/>
              <a:chOff x="2483139" y="1202438"/>
              <a:chExt cx="1904705" cy="1641987"/>
            </a:xfrm>
          </p:grpSpPr>
          <p:sp>
            <p:nvSpPr>
              <p:cNvPr id="37" name="Hexagon 36">
                <a:extLst>
                  <a:ext uri="{FF2B5EF4-FFF2-40B4-BE49-F238E27FC236}">
                    <a16:creationId xmlns:a16="http://schemas.microsoft.com/office/drawing/2014/main" id="{F56C1797-2FE8-774F-FE1A-022A02CAF2FC}"/>
                  </a:ext>
                </a:extLst>
              </p:cNvPr>
              <p:cNvSpPr>
                <a:spLocks/>
              </p:cNvSpPr>
              <p:nvPr/>
            </p:nvSpPr>
            <p:spPr>
              <a:xfrm>
                <a:off x="2483139" y="1202438"/>
                <a:ext cx="1904705" cy="1641987"/>
              </a:xfrm>
              <a:prstGeom prst="hexagon">
                <a:avLst/>
              </a:prstGeom>
              <a:solidFill>
                <a:srgbClr val="F3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Box 37">
                <a:extLst>
                  <a:ext uri="{FF2B5EF4-FFF2-40B4-BE49-F238E27FC236}">
                    <a16:creationId xmlns:a16="http://schemas.microsoft.com/office/drawing/2014/main" id="{91DD8AD7-D624-69F8-6386-7A06AE843569}"/>
                  </a:ext>
                </a:extLst>
              </p:cNvPr>
              <p:cNvSpPr txBox="1">
                <a:spLocks/>
              </p:cNvSpPr>
              <p:nvPr/>
            </p:nvSpPr>
            <p:spPr>
              <a:xfrm>
                <a:off x="2559082" y="2077029"/>
                <a:ext cx="1752818" cy="590931"/>
              </a:xfrm>
              <a:prstGeom prst="rect">
                <a:avLst/>
              </a:prstGeom>
              <a:noFill/>
            </p:spPr>
            <p:txBody>
              <a:bodyPr wrap="square">
                <a:spAutoFit/>
              </a:bodyPr>
              <a:lstStyle/>
              <a:p>
                <a:pPr algn="ctr">
                  <a:lnSpc>
                    <a:spcPct val="90000"/>
                  </a:lnSpc>
                </a:pPr>
                <a:r>
                  <a:rPr lang="en-US">
                    <a:solidFill>
                      <a:schemeClr val="bg1"/>
                    </a:solidFill>
                    <a:latin typeface="Arial Narrow" panose="020B0604020202020204" pitchFamily="34" charset="0"/>
                    <a:cs typeface="Arial Narrow" panose="020B0604020202020204" pitchFamily="34" charset="0"/>
                  </a:rPr>
                  <a:t>Possibility of Re-manufacturing</a:t>
                </a:r>
              </a:p>
            </p:txBody>
          </p:sp>
          <p:pic>
            <p:nvPicPr>
              <p:cNvPr id="39" name="Graphic 38">
                <a:extLst>
                  <a:ext uri="{FF2B5EF4-FFF2-40B4-BE49-F238E27FC236}">
                    <a16:creationId xmlns:a16="http://schemas.microsoft.com/office/drawing/2014/main" id="{6FFCEFCC-5257-C1BF-4679-5A3C6BB96ADA}"/>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087463" y="1360587"/>
                <a:ext cx="696056" cy="696056"/>
              </a:xfrm>
              <a:prstGeom prst="rect">
                <a:avLst/>
              </a:prstGeom>
            </p:spPr>
          </p:pic>
        </p:grpSp>
        <p:grpSp>
          <p:nvGrpSpPr>
            <p:cNvPr id="40" name="Group 39">
              <a:extLst>
                <a:ext uri="{FF2B5EF4-FFF2-40B4-BE49-F238E27FC236}">
                  <a16:creationId xmlns:a16="http://schemas.microsoft.com/office/drawing/2014/main" id="{9B87C80E-2088-A14D-2190-5BFC5E6E21CA}"/>
                </a:ext>
              </a:extLst>
            </p:cNvPr>
            <p:cNvGrpSpPr/>
            <p:nvPr/>
          </p:nvGrpSpPr>
          <p:grpSpPr>
            <a:xfrm>
              <a:off x="9413746" y="915990"/>
              <a:ext cx="1904705" cy="1641987"/>
              <a:chOff x="2550726" y="1202437"/>
              <a:chExt cx="1904705" cy="1641987"/>
            </a:xfrm>
          </p:grpSpPr>
          <p:sp>
            <p:nvSpPr>
              <p:cNvPr id="41" name="Hexagon 40">
                <a:extLst>
                  <a:ext uri="{FF2B5EF4-FFF2-40B4-BE49-F238E27FC236}">
                    <a16:creationId xmlns:a16="http://schemas.microsoft.com/office/drawing/2014/main" id="{31E68F46-7261-830E-919D-6559BF04DA88}"/>
                  </a:ext>
                </a:extLst>
              </p:cNvPr>
              <p:cNvSpPr>
                <a:spLocks/>
              </p:cNvSpPr>
              <p:nvPr/>
            </p:nvSpPr>
            <p:spPr>
              <a:xfrm>
                <a:off x="2550726" y="1202437"/>
                <a:ext cx="1904705" cy="1641987"/>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extBox 41">
                <a:extLst>
                  <a:ext uri="{FF2B5EF4-FFF2-40B4-BE49-F238E27FC236}">
                    <a16:creationId xmlns:a16="http://schemas.microsoft.com/office/drawing/2014/main" id="{156EC44D-546A-397E-C61B-FC9C0F005955}"/>
                  </a:ext>
                </a:extLst>
              </p:cNvPr>
              <p:cNvSpPr txBox="1"/>
              <p:nvPr/>
            </p:nvSpPr>
            <p:spPr>
              <a:xfrm>
                <a:off x="2628784" y="2077029"/>
                <a:ext cx="1748589" cy="369332"/>
              </a:xfrm>
              <a:prstGeom prst="rect">
                <a:avLst/>
              </a:prstGeom>
              <a:noFill/>
            </p:spPr>
            <p:txBody>
              <a:bodyPr wrap="square">
                <a:spAutoFit/>
              </a:bodyPr>
              <a:lstStyle/>
              <a:p>
                <a:pPr algn="ctr"/>
                <a:r>
                  <a:rPr lang="en-US">
                    <a:solidFill>
                      <a:schemeClr val="bg1"/>
                    </a:solidFill>
                  </a:rPr>
                  <a:t>Upgradeability</a:t>
                </a:r>
              </a:p>
            </p:txBody>
          </p:sp>
          <p:pic>
            <p:nvPicPr>
              <p:cNvPr id="43" name="Graphic 42">
                <a:extLst>
                  <a:ext uri="{FF2B5EF4-FFF2-40B4-BE49-F238E27FC236}">
                    <a16:creationId xmlns:a16="http://schemas.microsoft.com/office/drawing/2014/main" id="{536A89C3-5062-7695-97E0-4E3EB8F4BF8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112934" y="1360587"/>
                <a:ext cx="780288" cy="780288"/>
              </a:xfrm>
              <a:prstGeom prst="rect">
                <a:avLst/>
              </a:prstGeom>
            </p:spPr>
          </p:pic>
        </p:grpSp>
        <p:grpSp>
          <p:nvGrpSpPr>
            <p:cNvPr id="44" name="Group 43">
              <a:extLst>
                <a:ext uri="{FF2B5EF4-FFF2-40B4-BE49-F238E27FC236}">
                  <a16:creationId xmlns:a16="http://schemas.microsoft.com/office/drawing/2014/main" id="{E4537C41-F2C6-FDA9-8AA6-4ECCA7419958}"/>
                </a:ext>
              </a:extLst>
            </p:cNvPr>
            <p:cNvGrpSpPr/>
            <p:nvPr/>
          </p:nvGrpSpPr>
          <p:grpSpPr>
            <a:xfrm>
              <a:off x="7846143" y="3519752"/>
              <a:ext cx="1904705" cy="1641987"/>
              <a:chOff x="2523383" y="1202437"/>
              <a:chExt cx="1904705" cy="1641987"/>
            </a:xfrm>
          </p:grpSpPr>
          <p:sp>
            <p:nvSpPr>
              <p:cNvPr id="45" name="Hexagon 44">
                <a:extLst>
                  <a:ext uri="{FF2B5EF4-FFF2-40B4-BE49-F238E27FC236}">
                    <a16:creationId xmlns:a16="http://schemas.microsoft.com/office/drawing/2014/main" id="{7A999CF4-6942-F080-1EF4-4BE0DDCB4D33}"/>
                  </a:ext>
                </a:extLst>
              </p:cNvPr>
              <p:cNvSpPr>
                <a:spLocks/>
              </p:cNvSpPr>
              <p:nvPr/>
            </p:nvSpPr>
            <p:spPr>
              <a:xfrm>
                <a:off x="2523383" y="1202437"/>
                <a:ext cx="1904705" cy="1641987"/>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6" name="Graphic 45">
                <a:extLst>
                  <a:ext uri="{FF2B5EF4-FFF2-40B4-BE49-F238E27FC236}">
                    <a16:creationId xmlns:a16="http://schemas.microsoft.com/office/drawing/2014/main" id="{6C3928DD-8017-1C42-F205-A5FA6CEE6D74}"/>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3110648" y="1356433"/>
                <a:ext cx="730175" cy="730175"/>
              </a:xfrm>
              <a:prstGeom prst="rect">
                <a:avLst/>
              </a:prstGeom>
            </p:spPr>
          </p:pic>
          <p:sp>
            <p:nvSpPr>
              <p:cNvPr id="47" name="TextBox 46">
                <a:extLst>
                  <a:ext uri="{FF2B5EF4-FFF2-40B4-BE49-F238E27FC236}">
                    <a16:creationId xmlns:a16="http://schemas.microsoft.com/office/drawing/2014/main" id="{56346F1B-58CA-69DF-B6E1-6C13B30F88A1}"/>
                  </a:ext>
                </a:extLst>
              </p:cNvPr>
              <p:cNvSpPr txBox="1"/>
              <p:nvPr/>
            </p:nvSpPr>
            <p:spPr>
              <a:xfrm>
                <a:off x="2857669" y="2077029"/>
                <a:ext cx="1236133" cy="369332"/>
              </a:xfrm>
              <a:prstGeom prst="rect">
                <a:avLst/>
              </a:prstGeom>
              <a:noFill/>
            </p:spPr>
            <p:txBody>
              <a:bodyPr wrap="square">
                <a:spAutoFit/>
              </a:bodyPr>
              <a:lstStyle/>
              <a:p>
                <a:pPr algn="ctr"/>
                <a:r>
                  <a:rPr lang="en-US">
                    <a:solidFill>
                      <a:schemeClr val="bg1"/>
                    </a:solidFill>
                  </a:rPr>
                  <a:t>Reliability</a:t>
                </a:r>
              </a:p>
            </p:txBody>
          </p:sp>
        </p:grpSp>
        <p:grpSp>
          <p:nvGrpSpPr>
            <p:cNvPr id="48" name="Group 47">
              <a:extLst>
                <a:ext uri="{FF2B5EF4-FFF2-40B4-BE49-F238E27FC236}">
                  <a16:creationId xmlns:a16="http://schemas.microsoft.com/office/drawing/2014/main" id="{E28D8257-0FEE-764C-83BB-1EE6B7166C53}"/>
                </a:ext>
              </a:extLst>
            </p:cNvPr>
            <p:cNvGrpSpPr/>
            <p:nvPr/>
          </p:nvGrpSpPr>
          <p:grpSpPr>
            <a:xfrm>
              <a:off x="9413746" y="2649519"/>
              <a:ext cx="1904705" cy="1641987"/>
              <a:chOff x="2542817" y="1202437"/>
              <a:chExt cx="1904705" cy="1641987"/>
            </a:xfrm>
          </p:grpSpPr>
          <p:sp>
            <p:nvSpPr>
              <p:cNvPr id="49" name="Hexagon 48">
                <a:extLst>
                  <a:ext uri="{FF2B5EF4-FFF2-40B4-BE49-F238E27FC236}">
                    <a16:creationId xmlns:a16="http://schemas.microsoft.com/office/drawing/2014/main" id="{EFF8D615-EF5A-7273-7A1A-79243A9E3451}"/>
                  </a:ext>
                </a:extLst>
              </p:cNvPr>
              <p:cNvSpPr>
                <a:spLocks/>
              </p:cNvSpPr>
              <p:nvPr/>
            </p:nvSpPr>
            <p:spPr>
              <a:xfrm>
                <a:off x="2542817" y="1202437"/>
                <a:ext cx="1904705" cy="1641987"/>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0" name="Graphic 49">
                <a:extLst>
                  <a:ext uri="{FF2B5EF4-FFF2-40B4-BE49-F238E27FC236}">
                    <a16:creationId xmlns:a16="http://schemas.microsoft.com/office/drawing/2014/main" id="{E7C89A38-E753-DCB3-C504-B1B212D11298}"/>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3147141" y="1360588"/>
                <a:ext cx="696056" cy="696056"/>
              </a:xfrm>
              <a:prstGeom prst="rect">
                <a:avLst/>
              </a:prstGeom>
            </p:spPr>
          </p:pic>
          <p:sp>
            <p:nvSpPr>
              <p:cNvPr id="51" name="TextBox 50">
                <a:extLst>
                  <a:ext uri="{FF2B5EF4-FFF2-40B4-BE49-F238E27FC236}">
                    <a16:creationId xmlns:a16="http://schemas.microsoft.com/office/drawing/2014/main" id="{4627653F-F7C0-A3A6-6827-B6FE11798C22}"/>
                  </a:ext>
                </a:extLst>
              </p:cNvPr>
              <p:cNvSpPr txBox="1"/>
              <p:nvPr/>
            </p:nvSpPr>
            <p:spPr>
              <a:xfrm>
                <a:off x="2745148" y="2077029"/>
                <a:ext cx="1500042" cy="369332"/>
              </a:xfrm>
              <a:prstGeom prst="rect">
                <a:avLst/>
              </a:prstGeom>
              <a:noFill/>
            </p:spPr>
            <p:txBody>
              <a:bodyPr wrap="square">
                <a:spAutoFit/>
              </a:bodyPr>
              <a:lstStyle/>
              <a:p>
                <a:pPr algn="ctr"/>
                <a:r>
                  <a:rPr lang="en-US">
                    <a:solidFill>
                      <a:schemeClr val="bg1"/>
                    </a:solidFill>
                  </a:rPr>
                  <a:t>Repairability</a:t>
                </a:r>
              </a:p>
            </p:txBody>
          </p:sp>
        </p:grpSp>
        <p:grpSp>
          <p:nvGrpSpPr>
            <p:cNvPr id="52" name="Group 51">
              <a:extLst>
                <a:ext uri="{FF2B5EF4-FFF2-40B4-BE49-F238E27FC236}">
                  <a16:creationId xmlns:a16="http://schemas.microsoft.com/office/drawing/2014/main" id="{6AF7C366-EDB1-6CD4-778D-69078A4FB495}"/>
                </a:ext>
              </a:extLst>
            </p:cNvPr>
            <p:cNvGrpSpPr/>
            <p:nvPr/>
          </p:nvGrpSpPr>
          <p:grpSpPr>
            <a:xfrm>
              <a:off x="7846143" y="1778457"/>
              <a:ext cx="1904705" cy="1641987"/>
              <a:chOff x="2557529" y="1202437"/>
              <a:chExt cx="1904705" cy="1641987"/>
            </a:xfrm>
          </p:grpSpPr>
          <p:sp>
            <p:nvSpPr>
              <p:cNvPr id="53" name="Hexagon 52">
                <a:extLst>
                  <a:ext uri="{FF2B5EF4-FFF2-40B4-BE49-F238E27FC236}">
                    <a16:creationId xmlns:a16="http://schemas.microsoft.com/office/drawing/2014/main" id="{1C5DBF8E-C653-ABB8-A016-699BD8151353}"/>
                  </a:ext>
                </a:extLst>
              </p:cNvPr>
              <p:cNvSpPr>
                <a:spLocks/>
              </p:cNvSpPr>
              <p:nvPr/>
            </p:nvSpPr>
            <p:spPr>
              <a:xfrm>
                <a:off x="2557529" y="1202437"/>
                <a:ext cx="1904705" cy="1641987"/>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Box 53">
                <a:extLst>
                  <a:ext uri="{FF2B5EF4-FFF2-40B4-BE49-F238E27FC236}">
                    <a16:creationId xmlns:a16="http://schemas.microsoft.com/office/drawing/2014/main" id="{F1BB3DCB-2FF7-25AB-E90D-294A4295AE8C}"/>
                  </a:ext>
                </a:extLst>
              </p:cNvPr>
              <p:cNvSpPr txBox="1">
                <a:spLocks/>
              </p:cNvSpPr>
              <p:nvPr/>
            </p:nvSpPr>
            <p:spPr>
              <a:xfrm>
                <a:off x="2848191" y="2077029"/>
                <a:ext cx="1323380" cy="369332"/>
              </a:xfrm>
              <a:prstGeom prst="rect">
                <a:avLst/>
              </a:prstGeom>
              <a:noFill/>
            </p:spPr>
            <p:txBody>
              <a:bodyPr wrap="square">
                <a:spAutoFit/>
              </a:bodyPr>
              <a:lstStyle/>
              <a:p>
                <a:pPr algn="ctr"/>
                <a:r>
                  <a:rPr lang="en-US">
                    <a:solidFill>
                      <a:schemeClr val="bg1"/>
                    </a:solidFill>
                  </a:rPr>
                  <a:t>Durability</a:t>
                </a:r>
              </a:p>
            </p:txBody>
          </p:sp>
          <p:pic>
            <p:nvPicPr>
              <p:cNvPr id="55" name="Graphic 54">
                <a:extLst>
                  <a:ext uri="{FF2B5EF4-FFF2-40B4-BE49-F238E27FC236}">
                    <a16:creationId xmlns:a16="http://schemas.microsoft.com/office/drawing/2014/main" id="{0E401D3B-D812-BC36-049F-B754BD33BA43}"/>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3161853" y="1360587"/>
                <a:ext cx="696056" cy="696056"/>
              </a:xfrm>
              <a:prstGeom prst="rect">
                <a:avLst/>
              </a:prstGeom>
            </p:spPr>
          </p:pic>
        </p:grpSp>
        <p:grpSp>
          <p:nvGrpSpPr>
            <p:cNvPr id="56" name="Group 55">
              <a:extLst>
                <a:ext uri="{FF2B5EF4-FFF2-40B4-BE49-F238E27FC236}">
                  <a16:creationId xmlns:a16="http://schemas.microsoft.com/office/drawing/2014/main" id="{8BBCA4C2-B933-258B-A3BA-39BB738456AA}"/>
                </a:ext>
              </a:extLst>
            </p:cNvPr>
            <p:cNvGrpSpPr/>
            <p:nvPr/>
          </p:nvGrpSpPr>
          <p:grpSpPr>
            <a:xfrm>
              <a:off x="9413746" y="4368804"/>
              <a:ext cx="1904705" cy="1641987"/>
              <a:chOff x="2643932" y="1202438"/>
              <a:chExt cx="1904705" cy="1641987"/>
            </a:xfrm>
          </p:grpSpPr>
          <p:sp>
            <p:nvSpPr>
              <p:cNvPr id="57" name="Hexagon 56">
                <a:extLst>
                  <a:ext uri="{FF2B5EF4-FFF2-40B4-BE49-F238E27FC236}">
                    <a16:creationId xmlns:a16="http://schemas.microsoft.com/office/drawing/2014/main" id="{D2C7BC98-9EE1-3C18-5938-BE7139653F0F}"/>
                  </a:ext>
                </a:extLst>
              </p:cNvPr>
              <p:cNvSpPr>
                <a:spLocks/>
              </p:cNvSpPr>
              <p:nvPr/>
            </p:nvSpPr>
            <p:spPr>
              <a:xfrm>
                <a:off x="2643932" y="1202438"/>
                <a:ext cx="1904705" cy="1641987"/>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extBox 57">
                <a:extLst>
                  <a:ext uri="{FF2B5EF4-FFF2-40B4-BE49-F238E27FC236}">
                    <a16:creationId xmlns:a16="http://schemas.microsoft.com/office/drawing/2014/main" id="{3CFF5C1E-DAA4-FE51-FDD6-52D2DF2E32C4}"/>
                  </a:ext>
                </a:extLst>
              </p:cNvPr>
              <p:cNvSpPr txBox="1">
                <a:spLocks/>
              </p:cNvSpPr>
              <p:nvPr/>
            </p:nvSpPr>
            <p:spPr>
              <a:xfrm>
                <a:off x="2846263" y="2077029"/>
                <a:ext cx="1500042" cy="369332"/>
              </a:xfrm>
              <a:prstGeom prst="rect">
                <a:avLst/>
              </a:prstGeom>
              <a:noFill/>
            </p:spPr>
            <p:txBody>
              <a:bodyPr wrap="square">
                <a:spAutoFit/>
              </a:bodyPr>
              <a:lstStyle/>
              <a:p>
                <a:pPr algn="ctr"/>
                <a:r>
                  <a:rPr lang="en-US">
                    <a:solidFill>
                      <a:schemeClr val="bg1"/>
                    </a:solidFill>
                  </a:rPr>
                  <a:t>Reusability</a:t>
                </a:r>
              </a:p>
            </p:txBody>
          </p:sp>
          <p:pic>
            <p:nvPicPr>
              <p:cNvPr id="59" name="Graphic 58">
                <a:extLst>
                  <a:ext uri="{FF2B5EF4-FFF2-40B4-BE49-F238E27FC236}">
                    <a16:creationId xmlns:a16="http://schemas.microsoft.com/office/drawing/2014/main" id="{DC324655-7DC7-0E80-944E-5DADD4029BD9}"/>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3248256" y="1360587"/>
                <a:ext cx="696056" cy="696056"/>
              </a:xfrm>
              <a:prstGeom prst="rect">
                <a:avLst/>
              </a:prstGeom>
            </p:spPr>
          </p:pic>
        </p:grpSp>
        <p:grpSp>
          <p:nvGrpSpPr>
            <p:cNvPr id="60" name="Group 59">
              <a:extLst>
                <a:ext uri="{FF2B5EF4-FFF2-40B4-BE49-F238E27FC236}">
                  <a16:creationId xmlns:a16="http://schemas.microsoft.com/office/drawing/2014/main" id="{2F3E281A-A54D-6FB1-99DD-D8938A01C7C1}"/>
                </a:ext>
              </a:extLst>
            </p:cNvPr>
            <p:cNvGrpSpPr/>
            <p:nvPr/>
          </p:nvGrpSpPr>
          <p:grpSpPr>
            <a:xfrm>
              <a:off x="-5709" y="2649519"/>
              <a:ext cx="1904705" cy="1641987"/>
              <a:chOff x="2555884" y="1202438"/>
              <a:chExt cx="1904705" cy="1641987"/>
            </a:xfrm>
          </p:grpSpPr>
          <p:sp>
            <p:nvSpPr>
              <p:cNvPr id="61" name="Hexagon 60">
                <a:extLst>
                  <a:ext uri="{FF2B5EF4-FFF2-40B4-BE49-F238E27FC236}">
                    <a16:creationId xmlns:a16="http://schemas.microsoft.com/office/drawing/2014/main" id="{5839D001-5132-24C8-559A-D834DE975F92}"/>
                  </a:ext>
                </a:extLst>
              </p:cNvPr>
              <p:cNvSpPr>
                <a:spLocks/>
              </p:cNvSpPr>
              <p:nvPr/>
            </p:nvSpPr>
            <p:spPr>
              <a:xfrm>
                <a:off x="2555884" y="1202438"/>
                <a:ext cx="1904705" cy="1641987"/>
              </a:xfrm>
              <a:prstGeom prst="hexagon">
                <a:avLst/>
              </a:prstGeom>
              <a:solidFill>
                <a:srgbClr val="004A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2" name="Graphic 61">
                <a:extLst>
                  <a:ext uri="{FF2B5EF4-FFF2-40B4-BE49-F238E27FC236}">
                    <a16:creationId xmlns:a16="http://schemas.microsoft.com/office/drawing/2014/main" id="{771864E4-D9BC-0D70-AC8B-91786B7C561F}"/>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3134269" y="1360587"/>
                <a:ext cx="747935" cy="747935"/>
              </a:xfrm>
              <a:prstGeom prst="rect">
                <a:avLst/>
              </a:prstGeom>
            </p:spPr>
          </p:pic>
          <p:sp>
            <p:nvSpPr>
              <p:cNvPr id="63" name="TextBox 62">
                <a:extLst>
                  <a:ext uri="{FF2B5EF4-FFF2-40B4-BE49-F238E27FC236}">
                    <a16:creationId xmlns:a16="http://schemas.microsoft.com/office/drawing/2014/main" id="{028C033E-584C-4657-B45D-5929E7491CD0}"/>
                  </a:ext>
                </a:extLst>
              </p:cNvPr>
              <p:cNvSpPr txBox="1"/>
              <p:nvPr/>
            </p:nvSpPr>
            <p:spPr>
              <a:xfrm>
                <a:off x="2864406" y="2077029"/>
                <a:ext cx="1287661" cy="590931"/>
              </a:xfrm>
              <a:prstGeom prst="rect">
                <a:avLst/>
              </a:prstGeom>
              <a:noFill/>
            </p:spPr>
            <p:txBody>
              <a:bodyPr wrap="square">
                <a:spAutoFit/>
              </a:bodyPr>
              <a:lstStyle/>
              <a:p>
                <a:pPr algn="ctr">
                  <a:lnSpc>
                    <a:spcPct val="90000"/>
                  </a:lnSpc>
                </a:pPr>
                <a:r>
                  <a:rPr lang="en-US">
                    <a:solidFill>
                      <a:schemeClr val="bg1"/>
                    </a:solidFill>
                  </a:rPr>
                  <a:t>Recycled Content</a:t>
                </a:r>
              </a:p>
            </p:txBody>
          </p:sp>
        </p:grpSp>
        <p:grpSp>
          <p:nvGrpSpPr>
            <p:cNvPr id="64" name="Group 63">
              <a:extLst>
                <a:ext uri="{FF2B5EF4-FFF2-40B4-BE49-F238E27FC236}">
                  <a16:creationId xmlns:a16="http://schemas.microsoft.com/office/drawing/2014/main" id="{B40239D9-DFEB-57E8-6068-EACD32D6ADD7}"/>
                </a:ext>
              </a:extLst>
            </p:cNvPr>
            <p:cNvGrpSpPr/>
            <p:nvPr/>
          </p:nvGrpSpPr>
          <p:grpSpPr>
            <a:xfrm>
              <a:off x="6253999" y="2649519"/>
              <a:ext cx="1904705" cy="1641987"/>
              <a:chOff x="2510882" y="1202437"/>
              <a:chExt cx="1904705" cy="1641987"/>
            </a:xfrm>
          </p:grpSpPr>
          <p:sp>
            <p:nvSpPr>
              <p:cNvPr id="65" name="Hexagon 64">
                <a:extLst>
                  <a:ext uri="{FF2B5EF4-FFF2-40B4-BE49-F238E27FC236}">
                    <a16:creationId xmlns:a16="http://schemas.microsoft.com/office/drawing/2014/main" id="{CF62E2BA-483F-398F-607E-70C938F6A4B9}"/>
                  </a:ext>
                </a:extLst>
              </p:cNvPr>
              <p:cNvSpPr>
                <a:spLocks/>
              </p:cNvSpPr>
              <p:nvPr/>
            </p:nvSpPr>
            <p:spPr>
              <a:xfrm>
                <a:off x="2510882" y="1202437"/>
                <a:ext cx="1904705" cy="1641987"/>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TextBox 65">
                <a:extLst>
                  <a:ext uri="{FF2B5EF4-FFF2-40B4-BE49-F238E27FC236}">
                    <a16:creationId xmlns:a16="http://schemas.microsoft.com/office/drawing/2014/main" id="{925D2A51-556F-18C5-2DE8-C32C3061BA83}"/>
                  </a:ext>
                </a:extLst>
              </p:cNvPr>
              <p:cNvSpPr txBox="1"/>
              <p:nvPr/>
            </p:nvSpPr>
            <p:spPr>
              <a:xfrm>
                <a:off x="2719095" y="2077029"/>
                <a:ext cx="1488278" cy="369332"/>
              </a:xfrm>
              <a:prstGeom prst="rect">
                <a:avLst/>
              </a:prstGeom>
              <a:noFill/>
            </p:spPr>
            <p:txBody>
              <a:bodyPr wrap="square">
                <a:spAutoFit/>
              </a:bodyPr>
              <a:lstStyle/>
              <a:p>
                <a:pPr algn="ctr"/>
                <a:r>
                  <a:rPr lang="en-US">
                    <a:solidFill>
                      <a:schemeClr val="bg1"/>
                    </a:solidFill>
                  </a:rPr>
                  <a:t>Recyclability</a:t>
                </a:r>
              </a:p>
            </p:txBody>
          </p:sp>
          <p:pic>
            <p:nvPicPr>
              <p:cNvPr id="67" name="Graphic 66">
                <a:extLst>
                  <a:ext uri="{FF2B5EF4-FFF2-40B4-BE49-F238E27FC236}">
                    <a16:creationId xmlns:a16="http://schemas.microsoft.com/office/drawing/2014/main" id="{FB8D8BF3-E1FE-2360-C08B-DAB4B818D244}"/>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3084087" y="1360587"/>
                <a:ext cx="758294" cy="758294"/>
              </a:xfrm>
              <a:prstGeom prst="rect">
                <a:avLst/>
              </a:prstGeom>
            </p:spPr>
          </p:pic>
        </p:grpSp>
        <p:grpSp>
          <p:nvGrpSpPr>
            <p:cNvPr id="68" name="Group 67">
              <a:extLst>
                <a:ext uri="{FF2B5EF4-FFF2-40B4-BE49-F238E27FC236}">
                  <a16:creationId xmlns:a16="http://schemas.microsoft.com/office/drawing/2014/main" id="{50BD1936-C674-6151-F9D3-1C5358EA0277}"/>
                </a:ext>
              </a:extLst>
            </p:cNvPr>
            <p:cNvGrpSpPr/>
            <p:nvPr/>
          </p:nvGrpSpPr>
          <p:grpSpPr>
            <a:xfrm>
              <a:off x="1551024" y="1778457"/>
              <a:ext cx="1904705" cy="1641987"/>
              <a:chOff x="347668" y="1202438"/>
              <a:chExt cx="1904705" cy="1641987"/>
            </a:xfrm>
          </p:grpSpPr>
          <p:sp>
            <p:nvSpPr>
              <p:cNvPr id="69" name="Hexagon 68">
                <a:extLst>
                  <a:ext uri="{FF2B5EF4-FFF2-40B4-BE49-F238E27FC236}">
                    <a16:creationId xmlns:a16="http://schemas.microsoft.com/office/drawing/2014/main" id="{D19AFC25-1A72-504C-3F1E-B8889DE5CFAB}"/>
                  </a:ext>
                </a:extLst>
              </p:cNvPr>
              <p:cNvSpPr/>
              <p:nvPr/>
            </p:nvSpPr>
            <p:spPr>
              <a:xfrm>
                <a:off x="347668" y="1202438"/>
                <a:ext cx="1904705" cy="1641987"/>
              </a:xfrm>
              <a:prstGeom prst="hexagon">
                <a:avLst/>
              </a:prstGeom>
              <a:solidFill>
                <a:srgbClr val="004A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TextBox 69">
                <a:extLst>
                  <a:ext uri="{FF2B5EF4-FFF2-40B4-BE49-F238E27FC236}">
                    <a16:creationId xmlns:a16="http://schemas.microsoft.com/office/drawing/2014/main" id="{0110FA8C-8F90-632F-C846-7CD9E25E0828}"/>
                  </a:ext>
                </a:extLst>
              </p:cNvPr>
              <p:cNvSpPr txBox="1"/>
              <p:nvPr/>
            </p:nvSpPr>
            <p:spPr>
              <a:xfrm>
                <a:off x="460739" y="2077029"/>
                <a:ext cx="1678563" cy="590931"/>
              </a:xfrm>
              <a:prstGeom prst="rect">
                <a:avLst/>
              </a:prstGeom>
              <a:noFill/>
            </p:spPr>
            <p:txBody>
              <a:bodyPr wrap="square">
                <a:spAutoFit/>
              </a:bodyPr>
              <a:lstStyle/>
              <a:p>
                <a:pPr algn="ctr">
                  <a:lnSpc>
                    <a:spcPct val="90000"/>
                  </a:lnSpc>
                </a:pPr>
                <a:r>
                  <a:rPr lang="en-US">
                    <a:solidFill>
                      <a:schemeClr val="bg1"/>
                    </a:solidFill>
                  </a:rPr>
                  <a:t>Water Use &amp; Efficiency</a:t>
                </a:r>
              </a:p>
            </p:txBody>
          </p:sp>
          <p:pic>
            <p:nvPicPr>
              <p:cNvPr id="71" name="Graphic 70">
                <a:extLst>
                  <a:ext uri="{FF2B5EF4-FFF2-40B4-BE49-F238E27FC236}">
                    <a16:creationId xmlns:a16="http://schemas.microsoft.com/office/drawing/2014/main" id="{E1B4F6A7-B1BA-52E5-3E86-0DB41F2E03CE}"/>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951992" y="1360587"/>
                <a:ext cx="696056" cy="696056"/>
              </a:xfrm>
              <a:prstGeom prst="rect">
                <a:avLst/>
              </a:prstGeom>
            </p:spPr>
          </p:pic>
        </p:grpSp>
      </p:grpSp>
      <p:sp>
        <p:nvSpPr>
          <p:cNvPr id="72" name="Title 71">
            <a:extLst>
              <a:ext uri="{FF2B5EF4-FFF2-40B4-BE49-F238E27FC236}">
                <a16:creationId xmlns:a16="http://schemas.microsoft.com/office/drawing/2014/main" id="{C450DCDA-596E-89AD-78C2-7D7D1A1240C5}"/>
              </a:ext>
            </a:extLst>
          </p:cNvPr>
          <p:cNvSpPr>
            <a:spLocks noGrp="1"/>
          </p:cNvSpPr>
          <p:nvPr>
            <p:ph type="title"/>
          </p:nvPr>
        </p:nvSpPr>
        <p:spPr/>
        <p:txBody>
          <a:bodyPr/>
          <a:lstStyle/>
          <a:p>
            <a:r>
              <a:rPr lang="en-US"/>
              <a:t>Ecodesign Requirements </a:t>
            </a:r>
            <a:r>
              <a:rPr lang="en-US" sz="2000" b="0"/>
              <a:t>(see ESPR §5)</a:t>
            </a:r>
            <a:endParaRPr lang="en-US" b="0"/>
          </a:p>
        </p:txBody>
      </p:sp>
      <p:sp>
        <p:nvSpPr>
          <p:cNvPr id="73" name="Date Placeholder 3">
            <a:extLst>
              <a:ext uri="{FF2B5EF4-FFF2-40B4-BE49-F238E27FC236}">
                <a16:creationId xmlns:a16="http://schemas.microsoft.com/office/drawing/2014/main" id="{EF66953D-8C34-6069-2F2F-271DE0ED9AB4}"/>
              </a:ext>
            </a:extLst>
          </p:cNvPr>
          <p:cNvSpPr>
            <a:spLocks noGrp="1"/>
          </p:cNvSpPr>
          <p:nvPr>
            <p:ph type="dt" sz="half" idx="11"/>
          </p:nvPr>
        </p:nvSpPr>
        <p:spPr>
          <a:xfrm>
            <a:off x="687600" y="6516000"/>
            <a:ext cx="468000" cy="151200"/>
          </a:xfrm>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368FC967-E25B-4DC7-87C0-1C454DF70C3D}"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4" name="Slide Number Placeholder 4">
            <a:extLst>
              <a:ext uri="{FF2B5EF4-FFF2-40B4-BE49-F238E27FC236}">
                <a16:creationId xmlns:a16="http://schemas.microsoft.com/office/drawing/2014/main" id="{42AEE440-1429-AB5E-DEE8-6E9E122CA615}"/>
              </a:ext>
            </a:extLst>
          </p:cNvPr>
          <p:cNvSpPr>
            <a:spLocks noGrp="1"/>
          </p:cNvSpPr>
          <p:nvPr>
            <p:ph type="sldNum" sz="quarter" idx="12"/>
          </p:nvPr>
        </p:nvSpPr>
        <p:spPr>
          <a:xfrm>
            <a:off x="226800" y="6516000"/>
            <a:ext cx="360000" cy="151200"/>
          </a:xfrm>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13</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
        <p:nvSpPr>
          <p:cNvPr id="75" name="Fußzeilenplatzhalter 3">
            <a:extLst>
              <a:ext uri="{FF2B5EF4-FFF2-40B4-BE49-F238E27FC236}">
                <a16:creationId xmlns:a16="http://schemas.microsoft.com/office/drawing/2014/main" id="{10834C6E-1F06-B3A9-22FE-F5EA69164E8D}"/>
              </a:ext>
            </a:extLst>
          </p:cNvPr>
          <p:cNvSpPr txBox="1">
            <a:spLocks/>
          </p:cNvSpPr>
          <p:nvPr/>
        </p:nvSpPr>
        <p:spPr>
          <a:xfrm>
            <a:off x="1368178" y="6516000"/>
            <a:ext cx="5616000" cy="167933"/>
          </a:xfrm>
          <a:prstGeom prst="rect">
            <a:avLst/>
          </a:prstGeom>
        </p:spPr>
        <p:txBody>
          <a:bodyPr lIns="0" tIns="0" rIns="0" bIns="0"/>
          <a:ls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900">
                <a:latin typeface="Arial" panose="020B0604020202020204"/>
                <a:cs typeface="Arial"/>
              </a:rPr>
              <a:t>|  </a:t>
            </a:r>
            <a:r>
              <a:rPr lang="en-US" sz="900">
                <a:latin typeface="+mj-lt"/>
                <a:cs typeface="Calibri" panose="020F0502020204030204" pitchFamily="34" charset="0"/>
                <a:sym typeface="Calibri" panose="020F0502020204030204" pitchFamily="34" charset="0"/>
              </a:rPr>
              <a:t>Source: </a:t>
            </a:r>
            <a:r>
              <a:rPr lang="en-US" sz="900">
                <a:latin typeface="+mj-lt"/>
                <a:cs typeface="Calibri" panose="020F0502020204030204" pitchFamily="34" charset="0"/>
                <a:sym typeface="Calibri" panose="020F0502020204030204" pitchFamily="34" charset="0"/>
                <a:hlinkClick r:id="rId34">
                  <a:extLst>
                    <a:ext uri="{A12FA001-AC4F-418D-AE19-62706E023703}">
                      <ahyp:hlinkClr xmlns:ahyp="http://schemas.microsoft.com/office/drawing/2018/hyperlinkcolor" val="tx"/>
                    </a:ext>
                  </a:extLst>
                </a:hlinkClick>
              </a:rPr>
              <a:t>https://eur-lex.europa.eu/legal-content/EN/TXT/HTML/?uri=OJ:L_202401781#d1e2556-1-1</a:t>
            </a:r>
            <a:r>
              <a:rPr lang="en-US" sz="900">
                <a:latin typeface="+mj-lt"/>
                <a:cs typeface="Calibri" panose="020F0502020204030204" pitchFamily="34" charset="0"/>
                <a:sym typeface="Calibri" panose="020F0502020204030204" pitchFamily="34" charset="0"/>
              </a:rPr>
              <a:t> </a:t>
            </a:r>
          </a:p>
        </p:txBody>
      </p:sp>
      <p:grpSp>
        <p:nvGrpSpPr>
          <p:cNvPr id="81" name="Group 80">
            <a:extLst>
              <a:ext uri="{FF2B5EF4-FFF2-40B4-BE49-F238E27FC236}">
                <a16:creationId xmlns:a16="http://schemas.microsoft.com/office/drawing/2014/main" id="{3D499C44-67FD-AF7C-86FF-3659A6D2A005}"/>
              </a:ext>
            </a:extLst>
          </p:cNvPr>
          <p:cNvGrpSpPr/>
          <p:nvPr/>
        </p:nvGrpSpPr>
        <p:grpSpPr>
          <a:xfrm>
            <a:off x="7308750" y="4988664"/>
            <a:ext cx="2272977" cy="796757"/>
            <a:chOff x="7739604" y="5183580"/>
            <a:chExt cx="2272977" cy="796757"/>
          </a:xfrm>
        </p:grpSpPr>
        <p:sp>
          <p:nvSpPr>
            <p:cNvPr id="77" name="Rectangle 76">
              <a:extLst>
                <a:ext uri="{FF2B5EF4-FFF2-40B4-BE49-F238E27FC236}">
                  <a16:creationId xmlns:a16="http://schemas.microsoft.com/office/drawing/2014/main" id="{2ED21AA6-5775-73B8-E8D6-31F02B67D26A}"/>
                </a:ext>
              </a:extLst>
            </p:cNvPr>
            <p:cNvSpPr/>
            <p:nvPr/>
          </p:nvSpPr>
          <p:spPr>
            <a:xfrm>
              <a:off x="7739604" y="5249703"/>
              <a:ext cx="167934" cy="167934"/>
            </a:xfrm>
            <a:prstGeom prst="rect">
              <a:avLst/>
            </a:prstGeom>
            <a:solidFill>
              <a:srgbClr val="004A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tangle 77">
              <a:extLst>
                <a:ext uri="{FF2B5EF4-FFF2-40B4-BE49-F238E27FC236}">
                  <a16:creationId xmlns:a16="http://schemas.microsoft.com/office/drawing/2014/main" id="{1A6825B9-590F-F3AF-62B0-8CE2AA62D257}"/>
                </a:ext>
              </a:extLst>
            </p:cNvPr>
            <p:cNvSpPr/>
            <p:nvPr/>
          </p:nvSpPr>
          <p:spPr>
            <a:xfrm>
              <a:off x="7739604" y="5531053"/>
              <a:ext cx="167934" cy="167934"/>
            </a:xfrm>
            <a:prstGeom prst="rect">
              <a:avLst/>
            </a:prstGeom>
            <a:solidFill>
              <a:srgbClr val="F3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78">
              <a:extLst>
                <a:ext uri="{FF2B5EF4-FFF2-40B4-BE49-F238E27FC236}">
                  <a16:creationId xmlns:a16="http://schemas.microsoft.com/office/drawing/2014/main" id="{DEAC9787-82FB-CAB6-5467-27567B5BF2B2}"/>
                </a:ext>
              </a:extLst>
            </p:cNvPr>
            <p:cNvSpPr/>
            <p:nvPr/>
          </p:nvSpPr>
          <p:spPr>
            <a:xfrm>
              <a:off x="7739604" y="5812403"/>
              <a:ext cx="167934" cy="16793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TextBox 79">
              <a:extLst>
                <a:ext uri="{FF2B5EF4-FFF2-40B4-BE49-F238E27FC236}">
                  <a16:creationId xmlns:a16="http://schemas.microsoft.com/office/drawing/2014/main" id="{A8B3E53E-28B9-B157-5F78-69FA5F8ECD49}"/>
                </a:ext>
              </a:extLst>
            </p:cNvPr>
            <p:cNvSpPr txBox="1"/>
            <p:nvPr/>
          </p:nvSpPr>
          <p:spPr>
            <a:xfrm>
              <a:off x="7991975" y="5183580"/>
              <a:ext cx="2020606" cy="796757"/>
            </a:xfrm>
            <a:prstGeom prst="rect">
              <a:avLst/>
            </a:prstGeom>
            <a:noFill/>
          </p:spPr>
          <p:txBody>
            <a:bodyPr wrap="square" lIns="0" tIns="0" rIns="0" bIns="0" rtlCol="0">
              <a:spAutoFit/>
            </a:bodyPr>
            <a:lstStyle/>
            <a:p>
              <a:pPr>
                <a:lnSpc>
                  <a:spcPct val="150000"/>
                </a:lnSpc>
              </a:pPr>
              <a:r>
                <a:rPr lang="en-US" sz="1200">
                  <a:solidFill>
                    <a:schemeClr val="tx1">
                      <a:lumMod val="65000"/>
                      <a:lumOff val="35000"/>
                    </a:schemeClr>
                  </a:solidFill>
                </a:rPr>
                <a:t>Performance Requirements</a:t>
              </a:r>
            </a:p>
            <a:p>
              <a:pPr>
                <a:lnSpc>
                  <a:spcPct val="150000"/>
                </a:lnSpc>
              </a:pPr>
              <a:r>
                <a:rPr lang="en-US" sz="1200">
                  <a:solidFill>
                    <a:schemeClr val="tx1">
                      <a:lumMod val="65000"/>
                      <a:lumOff val="35000"/>
                    </a:schemeClr>
                  </a:solidFill>
                </a:rPr>
                <a:t>Additional Requirements </a:t>
              </a:r>
              <a:br>
                <a:rPr lang="en-US" sz="1200">
                  <a:solidFill>
                    <a:schemeClr val="tx1">
                      <a:lumMod val="65000"/>
                      <a:lumOff val="35000"/>
                    </a:schemeClr>
                  </a:solidFill>
                </a:rPr>
              </a:br>
              <a:r>
                <a:rPr lang="en-US" sz="1200">
                  <a:solidFill>
                    <a:schemeClr val="tx1">
                      <a:lumMod val="65000"/>
                      <a:lumOff val="35000"/>
                    </a:schemeClr>
                  </a:solidFill>
                </a:rPr>
                <a:t>Information Requirements</a:t>
              </a:r>
            </a:p>
          </p:txBody>
        </p:sp>
      </p:grpSp>
    </p:spTree>
    <p:extLst>
      <p:ext uri="{BB962C8B-B14F-4D97-AF65-F5344CB8AC3E}">
        <p14:creationId xmlns:p14="http://schemas.microsoft.com/office/powerpoint/2010/main" val="9368441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C38010-DB31-798E-4DAA-D26AE9355710}"/>
              </a:ext>
            </a:extLst>
          </p:cNvPr>
          <p:cNvSpPr>
            <a:spLocks noGrp="1"/>
          </p:cNvSpPr>
          <p:nvPr>
            <p:ph type="title"/>
          </p:nvPr>
        </p:nvSpPr>
        <p:spPr/>
        <p:txBody>
          <a:bodyPr/>
          <a:lstStyle/>
          <a:p>
            <a:r>
              <a:rPr lang="en-US"/>
              <a:t>What is a Substance of Concern (SoC) </a:t>
            </a:r>
            <a:r>
              <a:rPr kumimoji="0" lang="en-US" sz="2000" b="0" i="0" u="none" strike="noStrike" kern="1200" cap="none" spc="0" normalizeH="0" baseline="0" noProof="0">
                <a:ln>
                  <a:noFill/>
                </a:ln>
                <a:solidFill>
                  <a:srgbClr val="C50022"/>
                </a:solidFill>
                <a:effectLst/>
                <a:uLnTx/>
                <a:uFillTx/>
                <a:latin typeface="Arial" panose="020B0604020202020204" pitchFamily="34" charset="0"/>
                <a:cs typeface="Arial"/>
              </a:rPr>
              <a:t>(see ESPR §2.27 </a:t>
            </a:r>
            <a:r>
              <a:rPr kumimoji="0" lang="en-US" sz="2000" b="0" u="none" strike="noStrike" kern="1200" cap="none" spc="0" normalizeH="0" baseline="0" noProof="0">
                <a:ln>
                  <a:noFill/>
                </a:ln>
                <a:solidFill>
                  <a:srgbClr val="C50022"/>
                </a:solidFill>
                <a:effectLst/>
                <a:uLnTx/>
                <a:uFillTx/>
                <a:latin typeface="Arial" panose="020B0604020202020204" pitchFamily="34" charset="0"/>
                <a:cs typeface="Arial"/>
              </a:rPr>
              <a:t>ff</a:t>
            </a:r>
            <a:r>
              <a:rPr kumimoji="0" lang="en-US" sz="2000" b="0" i="0" u="none" strike="noStrike" kern="1200" cap="none" spc="0" normalizeH="0" baseline="0" noProof="0">
                <a:ln>
                  <a:noFill/>
                </a:ln>
                <a:solidFill>
                  <a:srgbClr val="C50022"/>
                </a:solidFill>
                <a:effectLst/>
                <a:uLnTx/>
                <a:uFillTx/>
                <a:latin typeface="Arial" panose="020B0604020202020204" pitchFamily="34" charset="0"/>
                <a:cs typeface="Arial"/>
              </a:rPr>
              <a:t>)</a:t>
            </a:r>
            <a:endParaRPr lang="en-US"/>
          </a:p>
        </p:txBody>
      </p:sp>
      <p:sp>
        <p:nvSpPr>
          <p:cNvPr id="5" name="Table Placeholder 4">
            <a:extLst>
              <a:ext uri="{FF2B5EF4-FFF2-40B4-BE49-F238E27FC236}">
                <a16:creationId xmlns:a16="http://schemas.microsoft.com/office/drawing/2014/main" id="{F51399CE-F9AC-0C75-F457-98D2BBDC0E80}"/>
              </a:ext>
            </a:extLst>
          </p:cNvPr>
          <p:cNvSpPr>
            <a:spLocks noGrp="1"/>
          </p:cNvSpPr>
          <p:nvPr>
            <p:ph type="tbl" idx="1"/>
          </p:nvPr>
        </p:nvSpPr>
        <p:spPr/>
        <p:txBody>
          <a:bodyPr/>
          <a:lstStyle/>
          <a:p>
            <a:pPr marL="457200" indent="-457200">
              <a:buFont typeface="+mj-lt"/>
              <a:buAutoNum type="alphaLcParenR"/>
            </a:pPr>
            <a:r>
              <a:rPr lang="en-US">
                <a:solidFill>
                  <a:schemeClr val="tx1">
                    <a:lumMod val="65000"/>
                    <a:lumOff val="35000"/>
                  </a:schemeClr>
                </a:solidFill>
              </a:rPr>
              <a:t>Regulation (EC) No 1907/2006, Article 59 </a:t>
            </a:r>
            <a:r>
              <a:rPr lang="en-US">
                <a:solidFill>
                  <a:schemeClr val="tx1">
                    <a:lumMod val="65000"/>
                    <a:lumOff val="35000"/>
                  </a:schemeClr>
                </a:solidFill>
                <a:sym typeface="Wingdings" pitchFamily="2" charset="2"/>
              </a:rPr>
              <a:t> </a:t>
            </a:r>
            <a:r>
              <a:rPr lang="en-US" b="1">
                <a:solidFill>
                  <a:schemeClr val="tx1">
                    <a:lumMod val="65000"/>
                    <a:lumOff val="35000"/>
                  </a:schemeClr>
                </a:solidFill>
                <a:sym typeface="Wingdings" pitchFamily="2" charset="2"/>
              </a:rPr>
              <a:t>REACH</a:t>
            </a:r>
            <a:r>
              <a:rPr lang="en-US">
                <a:solidFill>
                  <a:schemeClr val="tx1">
                    <a:lumMod val="65000"/>
                    <a:lumOff val="35000"/>
                  </a:schemeClr>
                </a:solidFill>
                <a:sym typeface="Wingdings" pitchFamily="2" charset="2"/>
              </a:rPr>
              <a:t>, Substances of very high concern (SVHCs) </a:t>
            </a:r>
          </a:p>
          <a:p>
            <a:pPr marL="457200" indent="-457200">
              <a:buFont typeface="+mj-lt"/>
              <a:buAutoNum type="alphaLcParenR"/>
            </a:pPr>
            <a:r>
              <a:rPr lang="en-US">
                <a:solidFill>
                  <a:schemeClr val="tx1">
                    <a:lumMod val="65000"/>
                    <a:lumOff val="35000"/>
                  </a:schemeClr>
                </a:solidFill>
              </a:rPr>
              <a:t>Annex VI to Regulation (EC) No 1272/2008 </a:t>
            </a:r>
            <a:r>
              <a:rPr lang="en-US">
                <a:solidFill>
                  <a:schemeClr val="tx1">
                    <a:lumMod val="65000"/>
                    <a:lumOff val="35000"/>
                  </a:schemeClr>
                </a:solidFill>
                <a:sym typeface="Wingdings" pitchFamily="2" charset="2"/>
              </a:rPr>
              <a:t> Classification and Labelling (</a:t>
            </a:r>
            <a:r>
              <a:rPr lang="en-US" b="1">
                <a:solidFill>
                  <a:schemeClr val="tx1">
                    <a:lumMod val="65000"/>
                    <a:lumOff val="35000"/>
                  </a:schemeClr>
                </a:solidFill>
                <a:sym typeface="Wingdings" pitchFamily="2" charset="2"/>
              </a:rPr>
              <a:t>CLP</a:t>
            </a:r>
            <a:r>
              <a:rPr lang="en-US">
                <a:solidFill>
                  <a:schemeClr val="tx1">
                    <a:lumMod val="65000"/>
                    <a:lumOff val="35000"/>
                  </a:schemeClr>
                </a:solidFill>
                <a:sym typeface="Wingdings" pitchFamily="2" charset="2"/>
              </a:rPr>
              <a:t>) Regulation</a:t>
            </a:r>
          </a:p>
          <a:p>
            <a:pPr marL="457200" indent="-457200">
              <a:buFont typeface="+mj-lt"/>
              <a:buAutoNum type="alphaLcParenR"/>
            </a:pPr>
            <a:endParaRPr lang="en-US">
              <a:solidFill>
                <a:schemeClr val="tx1">
                  <a:lumMod val="65000"/>
                  <a:lumOff val="35000"/>
                </a:schemeClr>
              </a:solidFill>
              <a:sym typeface="Wingdings" pitchFamily="2" charset="2"/>
            </a:endParaRPr>
          </a:p>
          <a:p>
            <a:pPr marL="457200" indent="-457200">
              <a:buFont typeface="+mj-lt"/>
              <a:buAutoNum type="alphaLcParenR"/>
            </a:pPr>
            <a:endParaRPr lang="en-US">
              <a:solidFill>
                <a:schemeClr val="tx1">
                  <a:lumMod val="65000"/>
                  <a:lumOff val="35000"/>
                </a:schemeClr>
              </a:solidFill>
              <a:sym typeface="Wingdings" pitchFamily="2" charset="2"/>
            </a:endParaRPr>
          </a:p>
          <a:p>
            <a:pPr marL="457200" indent="-457200">
              <a:buFont typeface="+mj-lt"/>
              <a:buAutoNum type="alphaLcParenR"/>
            </a:pPr>
            <a:endParaRPr lang="en-US">
              <a:solidFill>
                <a:schemeClr val="tx1">
                  <a:lumMod val="65000"/>
                  <a:lumOff val="35000"/>
                </a:schemeClr>
              </a:solidFill>
              <a:sym typeface="Wingdings" pitchFamily="2" charset="2"/>
            </a:endParaRPr>
          </a:p>
          <a:p>
            <a:pPr marL="457200" indent="-457200">
              <a:buFont typeface="+mj-lt"/>
              <a:buAutoNum type="alphaLcParenR"/>
            </a:pPr>
            <a:r>
              <a:rPr lang="en-US">
                <a:solidFill>
                  <a:schemeClr val="tx1">
                    <a:lumMod val="65000"/>
                    <a:lumOff val="35000"/>
                  </a:schemeClr>
                </a:solidFill>
                <a:sym typeface="Wingdings" pitchFamily="2" charset="2"/>
              </a:rPr>
              <a:t>Regulation (EU) 2019/1021, Persistent Organic Pollutants (</a:t>
            </a:r>
            <a:r>
              <a:rPr lang="en-GB" b="1">
                <a:solidFill>
                  <a:schemeClr val="tx1">
                    <a:lumMod val="65000"/>
                    <a:lumOff val="35000"/>
                  </a:schemeClr>
                </a:solidFill>
                <a:effectLst/>
                <a:latin typeface="Arial" panose="020B0604020202020204" pitchFamily="34" charset="0"/>
              </a:rPr>
              <a:t>POPs</a:t>
            </a:r>
            <a:r>
              <a:rPr lang="en-GB">
                <a:solidFill>
                  <a:schemeClr val="tx1">
                    <a:lumMod val="65000"/>
                    <a:lumOff val="35000"/>
                  </a:schemeClr>
                </a:solidFill>
                <a:effectLst/>
                <a:latin typeface="Arial" panose="020B0604020202020204" pitchFamily="34" charset="0"/>
              </a:rPr>
              <a:t>) legislation</a:t>
            </a:r>
            <a:endParaRPr lang="en-US">
              <a:solidFill>
                <a:schemeClr val="tx1">
                  <a:lumMod val="65000"/>
                  <a:lumOff val="35000"/>
                </a:schemeClr>
              </a:solidFill>
              <a:sym typeface="Wingdings" pitchFamily="2" charset="2"/>
            </a:endParaRPr>
          </a:p>
          <a:p>
            <a:pPr marL="457200" indent="-457200">
              <a:buFont typeface="+mj-lt"/>
              <a:buAutoNum type="alphaLcParenR"/>
            </a:pPr>
            <a:r>
              <a:rPr lang="en-US">
                <a:solidFill>
                  <a:schemeClr val="tx1">
                    <a:lumMod val="65000"/>
                    <a:lumOff val="35000"/>
                  </a:schemeClr>
                </a:solidFill>
                <a:sym typeface="Wingdings" pitchFamily="2" charset="2"/>
              </a:rPr>
              <a:t>Negatively affects the reuse and recycling of materials in the product in which it is present.</a:t>
            </a:r>
          </a:p>
          <a:p>
            <a:pPr marL="457200" indent="-457200">
              <a:buFont typeface="+mj-lt"/>
              <a:buAutoNum type="alphaLcParenR"/>
            </a:pPr>
            <a:endParaRPr lang="en-US">
              <a:solidFill>
                <a:schemeClr val="tx1">
                  <a:lumMod val="65000"/>
                  <a:lumOff val="35000"/>
                </a:schemeClr>
              </a:solidFill>
            </a:endParaRPr>
          </a:p>
        </p:txBody>
      </p:sp>
      <p:sp>
        <p:nvSpPr>
          <p:cNvPr id="3" name="Date Placeholder 2">
            <a:extLst>
              <a:ext uri="{FF2B5EF4-FFF2-40B4-BE49-F238E27FC236}">
                <a16:creationId xmlns:a16="http://schemas.microsoft.com/office/drawing/2014/main" id="{624115B7-7F2E-A52B-CAE4-7FE4056C66B3}"/>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2E752000-55A0-4553-BBD4-CFFEEB173D51}"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4" name="Slide Number Placeholder 3">
            <a:extLst>
              <a:ext uri="{FF2B5EF4-FFF2-40B4-BE49-F238E27FC236}">
                <a16:creationId xmlns:a16="http://schemas.microsoft.com/office/drawing/2014/main" id="{3B829D80-3C8A-AD88-E241-5FEDE9535CAF}"/>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14</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
        <p:nvSpPr>
          <p:cNvPr id="6" name="Text Placeholder 19">
            <a:extLst>
              <a:ext uri="{FF2B5EF4-FFF2-40B4-BE49-F238E27FC236}">
                <a16:creationId xmlns:a16="http://schemas.microsoft.com/office/drawing/2014/main" id="{FD00ED76-78CA-529A-364E-F5525CE0BBEE}"/>
              </a:ext>
            </a:extLst>
          </p:cNvPr>
          <p:cNvSpPr txBox="1">
            <a:spLocks/>
          </p:cNvSpPr>
          <p:nvPr/>
        </p:nvSpPr>
        <p:spPr>
          <a:xfrm>
            <a:off x="5715001" y="2879979"/>
            <a:ext cx="6264654" cy="1320546"/>
          </a:xfrm>
          <a:prstGeom prst="rect">
            <a:avLst/>
          </a:prstGeom>
        </p:spPr>
        <p:txBody>
          <a:bodyPr vert="horz" lIns="0" tIns="0" rIns="0" bIns="0" rtlCol="0">
            <a:noAutofit/>
          </a:bodyPr>
          <a:lstStyle>
            <a:lvl1pPr marL="342000" indent="-342000" algn="l" defTabSz="914400" rtl="0" eaLnBrk="1" latinLnBrk="0" hangingPunct="1">
              <a:lnSpc>
                <a:spcPct val="95000"/>
              </a:lnSpc>
              <a:spcBef>
                <a:spcPts val="180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1pPr>
            <a:lvl2pPr marL="622800" indent="-266400" algn="l" defTabSz="914400" rtl="0" eaLnBrk="1" latinLnBrk="0" hangingPunct="1">
              <a:lnSpc>
                <a:spcPct val="95000"/>
              </a:lnSpc>
              <a:spcBef>
                <a:spcPts val="600"/>
              </a:spcBef>
              <a:spcAft>
                <a:spcPts val="0"/>
              </a:spcAft>
              <a:buClr>
                <a:schemeClr val="accent1"/>
              </a:buClr>
              <a:buSzPct val="100000"/>
              <a:buFont typeface="Wingdings 3" panose="05040102010807070707" pitchFamily="18" charset="2"/>
              <a:buChar char=""/>
              <a:defRPr sz="2000" b="0" i="0" kern="1200" baseline="0">
                <a:solidFill>
                  <a:schemeClr val="tx1"/>
                </a:solidFill>
                <a:latin typeface="Arial" panose="020B0604020202020204" pitchFamily="34" charset="0"/>
                <a:ea typeface="+mn-ea"/>
                <a:cs typeface="+mn-cs"/>
              </a:defRPr>
            </a:lvl2pPr>
            <a:lvl3pPr marL="900000" indent="-277200" algn="l" defTabSz="9144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3pPr>
            <a:lvl4pPr marL="11664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4pPr>
            <a:lvl5pPr marL="16236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8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4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300"/>
              </a:spcBef>
            </a:pPr>
            <a:r>
              <a:rPr lang="en-US" sz="1150">
                <a:solidFill>
                  <a:schemeClr val="tx1">
                    <a:lumMod val="65000"/>
                    <a:lumOff val="35000"/>
                  </a:schemeClr>
                </a:solidFill>
              </a:rPr>
              <a:t>persistent, </a:t>
            </a:r>
            <a:r>
              <a:rPr lang="en-US" sz="1150" err="1">
                <a:solidFill>
                  <a:schemeClr val="tx1">
                    <a:lumMod val="65000"/>
                    <a:lumOff val="35000"/>
                  </a:schemeClr>
                </a:solidFill>
              </a:rPr>
              <a:t>bioaccumulative</a:t>
            </a:r>
            <a:r>
              <a:rPr lang="en-US" sz="1150">
                <a:solidFill>
                  <a:schemeClr val="tx1">
                    <a:lumMod val="65000"/>
                    <a:lumOff val="35000"/>
                  </a:schemeClr>
                </a:solidFill>
              </a:rPr>
              <a:t> and toxic or very persistent, very </a:t>
            </a:r>
            <a:r>
              <a:rPr lang="en-US" sz="1150" err="1">
                <a:solidFill>
                  <a:schemeClr val="tx1">
                    <a:lumMod val="65000"/>
                    <a:lumOff val="35000"/>
                  </a:schemeClr>
                </a:solidFill>
              </a:rPr>
              <a:t>bioaccumulative</a:t>
            </a:r>
            <a:r>
              <a:rPr lang="en-US" sz="1150">
                <a:solidFill>
                  <a:schemeClr val="tx1">
                    <a:lumMod val="65000"/>
                    <a:lumOff val="35000"/>
                  </a:schemeClr>
                </a:solidFill>
              </a:rPr>
              <a:t> properties</a:t>
            </a:r>
          </a:p>
          <a:p>
            <a:pPr lvl="0">
              <a:spcBef>
                <a:spcPts val="300"/>
              </a:spcBef>
            </a:pPr>
            <a:r>
              <a:rPr lang="en-US" sz="1150">
                <a:solidFill>
                  <a:schemeClr val="tx1">
                    <a:lumMod val="65000"/>
                    <a:lumOff val="35000"/>
                  </a:schemeClr>
                </a:solidFill>
              </a:rPr>
              <a:t>respiratory </a:t>
            </a:r>
            <a:r>
              <a:rPr lang="en-US" sz="1150" err="1">
                <a:solidFill>
                  <a:schemeClr val="tx1">
                    <a:lumMod val="65000"/>
                    <a:lumOff val="35000"/>
                  </a:schemeClr>
                </a:solidFill>
              </a:rPr>
              <a:t>sensitisation</a:t>
            </a:r>
            <a:r>
              <a:rPr lang="en-US" sz="1150">
                <a:solidFill>
                  <a:schemeClr val="tx1">
                    <a:lumMod val="65000"/>
                    <a:lumOff val="35000"/>
                  </a:schemeClr>
                </a:solidFill>
              </a:rPr>
              <a:t> category 1</a:t>
            </a:r>
          </a:p>
          <a:p>
            <a:pPr lvl="0">
              <a:spcBef>
                <a:spcPts val="300"/>
              </a:spcBef>
            </a:pPr>
            <a:r>
              <a:rPr lang="en-US" sz="1150">
                <a:solidFill>
                  <a:schemeClr val="tx1">
                    <a:lumMod val="65000"/>
                    <a:lumOff val="35000"/>
                  </a:schemeClr>
                </a:solidFill>
              </a:rPr>
              <a:t>skin </a:t>
            </a:r>
            <a:r>
              <a:rPr lang="en-US" sz="1150" err="1">
                <a:solidFill>
                  <a:schemeClr val="tx1">
                    <a:lumMod val="65000"/>
                    <a:lumOff val="35000"/>
                  </a:schemeClr>
                </a:solidFill>
              </a:rPr>
              <a:t>sensitisation</a:t>
            </a:r>
            <a:r>
              <a:rPr lang="en-US" sz="1150">
                <a:solidFill>
                  <a:schemeClr val="tx1">
                    <a:lumMod val="65000"/>
                    <a:lumOff val="35000"/>
                  </a:schemeClr>
                </a:solidFill>
              </a:rPr>
              <a:t> category 1</a:t>
            </a:r>
          </a:p>
          <a:p>
            <a:pPr lvl="0">
              <a:spcBef>
                <a:spcPts val="300"/>
              </a:spcBef>
            </a:pPr>
            <a:r>
              <a:rPr lang="en-US" sz="1150">
                <a:solidFill>
                  <a:schemeClr val="tx1">
                    <a:lumMod val="65000"/>
                    <a:lumOff val="35000"/>
                  </a:schemeClr>
                </a:solidFill>
              </a:rPr>
              <a:t>hazardous to the aquatic environment — categories chronic 1 to 4</a:t>
            </a:r>
          </a:p>
          <a:p>
            <a:pPr lvl="0">
              <a:spcBef>
                <a:spcPts val="300"/>
              </a:spcBef>
            </a:pPr>
            <a:r>
              <a:rPr lang="en-US" sz="1150">
                <a:solidFill>
                  <a:schemeClr val="tx1">
                    <a:lumMod val="65000"/>
                    <a:lumOff val="35000"/>
                  </a:schemeClr>
                </a:solidFill>
              </a:rPr>
              <a:t>hazardous to the ozone layer</a:t>
            </a:r>
          </a:p>
          <a:p>
            <a:pPr lvl="0">
              <a:spcBef>
                <a:spcPts val="300"/>
              </a:spcBef>
            </a:pPr>
            <a:r>
              <a:rPr lang="en-US" sz="1150">
                <a:solidFill>
                  <a:schemeClr val="tx1">
                    <a:lumMod val="65000"/>
                    <a:lumOff val="35000"/>
                  </a:schemeClr>
                </a:solidFill>
              </a:rPr>
              <a:t>specific target organ toxicity — repeated exposure categories 1 and 2</a:t>
            </a:r>
          </a:p>
          <a:p>
            <a:pPr lvl="0">
              <a:spcBef>
                <a:spcPts val="300"/>
              </a:spcBef>
            </a:pPr>
            <a:r>
              <a:rPr lang="en-US" sz="1150">
                <a:solidFill>
                  <a:schemeClr val="tx1">
                    <a:lumMod val="65000"/>
                    <a:lumOff val="35000"/>
                  </a:schemeClr>
                </a:solidFill>
              </a:rPr>
              <a:t>specific target organ toxicity — single exposure categories 1 and 2</a:t>
            </a:r>
          </a:p>
        </p:txBody>
      </p:sp>
      <p:sp>
        <p:nvSpPr>
          <p:cNvPr id="7" name="Text Placeholder 19">
            <a:extLst>
              <a:ext uri="{FF2B5EF4-FFF2-40B4-BE49-F238E27FC236}">
                <a16:creationId xmlns:a16="http://schemas.microsoft.com/office/drawing/2014/main" id="{8576FE3B-9B8C-38D3-F8F8-F79AAB552D35}"/>
              </a:ext>
            </a:extLst>
          </p:cNvPr>
          <p:cNvSpPr txBox="1">
            <a:spLocks/>
          </p:cNvSpPr>
          <p:nvPr/>
        </p:nvSpPr>
        <p:spPr>
          <a:xfrm>
            <a:off x="687600" y="2879979"/>
            <a:ext cx="5981286" cy="1463421"/>
          </a:xfrm>
          <a:prstGeom prst="rect">
            <a:avLst/>
          </a:prstGeom>
        </p:spPr>
        <p:txBody>
          <a:bodyPr vert="horz" lIns="0" tIns="0" rIns="0" bIns="0" rtlCol="0">
            <a:noAutofit/>
          </a:bodyPr>
          <a:lstStyle>
            <a:lvl1pPr marL="342000" indent="-342000" algn="l" defTabSz="914400" rtl="0" eaLnBrk="1" latinLnBrk="0" hangingPunct="1">
              <a:lnSpc>
                <a:spcPct val="95000"/>
              </a:lnSpc>
              <a:spcBef>
                <a:spcPts val="180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1pPr>
            <a:lvl2pPr marL="622800" indent="-266400" algn="l" defTabSz="914400" rtl="0" eaLnBrk="1" latinLnBrk="0" hangingPunct="1">
              <a:lnSpc>
                <a:spcPct val="95000"/>
              </a:lnSpc>
              <a:spcBef>
                <a:spcPts val="600"/>
              </a:spcBef>
              <a:spcAft>
                <a:spcPts val="0"/>
              </a:spcAft>
              <a:buClr>
                <a:schemeClr val="accent1"/>
              </a:buClr>
              <a:buSzPct val="100000"/>
              <a:buFont typeface="Wingdings 3" panose="05040102010807070707" pitchFamily="18" charset="2"/>
              <a:buChar char=""/>
              <a:defRPr sz="2000" b="0" i="0" kern="1200" baseline="0">
                <a:solidFill>
                  <a:schemeClr val="tx1"/>
                </a:solidFill>
                <a:latin typeface="Arial" panose="020B0604020202020204" pitchFamily="34" charset="0"/>
                <a:ea typeface="+mn-ea"/>
                <a:cs typeface="+mn-cs"/>
              </a:defRPr>
            </a:lvl2pPr>
            <a:lvl3pPr marL="900000" indent="-277200" algn="l" defTabSz="9144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3pPr>
            <a:lvl4pPr marL="11664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4pPr>
            <a:lvl5pPr marL="16236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8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4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lvl="0">
              <a:spcBef>
                <a:spcPts val="300"/>
              </a:spcBef>
            </a:pPr>
            <a:r>
              <a:rPr lang="en-US" sz="1150">
                <a:solidFill>
                  <a:schemeClr val="tx1">
                    <a:lumMod val="65000"/>
                    <a:lumOff val="35000"/>
                  </a:schemeClr>
                </a:solidFill>
              </a:rPr>
              <a:t>carcinogenicity categories 1 and 2</a:t>
            </a:r>
          </a:p>
          <a:p>
            <a:pPr lvl="0">
              <a:spcBef>
                <a:spcPts val="300"/>
              </a:spcBef>
            </a:pPr>
            <a:r>
              <a:rPr lang="en-US" sz="1150">
                <a:solidFill>
                  <a:schemeClr val="tx1">
                    <a:lumMod val="65000"/>
                    <a:lumOff val="35000"/>
                  </a:schemeClr>
                </a:solidFill>
              </a:rPr>
              <a:t>germ cell mutagenicity categories 1 and 2</a:t>
            </a:r>
          </a:p>
          <a:p>
            <a:pPr lvl="0">
              <a:spcBef>
                <a:spcPts val="300"/>
              </a:spcBef>
            </a:pPr>
            <a:r>
              <a:rPr lang="en-US" sz="1150">
                <a:solidFill>
                  <a:schemeClr val="tx1">
                    <a:lumMod val="65000"/>
                    <a:lumOff val="35000"/>
                  </a:schemeClr>
                </a:solidFill>
              </a:rPr>
              <a:t>reproductive toxicity categories 1 and 2</a:t>
            </a:r>
          </a:p>
          <a:p>
            <a:pPr lvl="0">
              <a:spcBef>
                <a:spcPts val="300"/>
              </a:spcBef>
            </a:pPr>
            <a:r>
              <a:rPr lang="en-US" sz="1150">
                <a:solidFill>
                  <a:schemeClr val="tx1">
                    <a:lumMod val="65000"/>
                    <a:lumOff val="35000"/>
                  </a:schemeClr>
                </a:solidFill>
              </a:rPr>
              <a:t>endocrine disruption for human health categories 1 and 2</a:t>
            </a:r>
          </a:p>
          <a:p>
            <a:pPr lvl="0">
              <a:spcBef>
                <a:spcPts val="300"/>
              </a:spcBef>
            </a:pPr>
            <a:r>
              <a:rPr lang="en-US" sz="1150">
                <a:solidFill>
                  <a:schemeClr val="tx1">
                    <a:lumMod val="65000"/>
                    <a:lumOff val="35000"/>
                  </a:schemeClr>
                </a:solidFill>
              </a:rPr>
              <a:t>endocrine disruption for the environment categories 1 and 2</a:t>
            </a:r>
          </a:p>
          <a:p>
            <a:pPr lvl="0">
              <a:spcBef>
                <a:spcPts val="300"/>
              </a:spcBef>
            </a:pPr>
            <a:r>
              <a:rPr lang="en-US" sz="1150">
                <a:solidFill>
                  <a:schemeClr val="tx1">
                    <a:lumMod val="65000"/>
                    <a:lumOff val="35000"/>
                  </a:schemeClr>
                </a:solidFill>
              </a:rPr>
              <a:t>persistent, mobile and toxic or very persistent, very mobile properties</a:t>
            </a:r>
          </a:p>
        </p:txBody>
      </p:sp>
      <p:sp>
        <p:nvSpPr>
          <p:cNvPr id="8" name="Fußzeilenplatzhalter 3">
            <a:extLst>
              <a:ext uri="{FF2B5EF4-FFF2-40B4-BE49-F238E27FC236}">
                <a16:creationId xmlns:a16="http://schemas.microsoft.com/office/drawing/2014/main" id="{1E2FB86D-1390-668C-B66E-5E9E4B859B88}"/>
              </a:ext>
            </a:extLst>
          </p:cNvPr>
          <p:cNvSpPr txBox="1">
            <a:spLocks/>
          </p:cNvSpPr>
          <p:nvPr/>
        </p:nvSpPr>
        <p:spPr>
          <a:xfrm>
            <a:off x="1368178" y="6516000"/>
            <a:ext cx="7884000" cy="167933"/>
          </a:xfrm>
          <a:prstGeom prst="rect">
            <a:avLst/>
          </a:prstGeom>
        </p:spPr>
        <p:txBody>
          <a:bodyPr lIns="0" tIns="0" rIns="0" bIns="0"/>
          <a:ls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900">
                <a:latin typeface="Arial" panose="020B0604020202020204"/>
                <a:cs typeface="Arial"/>
              </a:rPr>
              <a:t>|  </a:t>
            </a:r>
            <a:r>
              <a:rPr lang="en-US" sz="900">
                <a:latin typeface="+mj-lt"/>
                <a:cs typeface="Calibri" panose="020F0502020204030204" pitchFamily="34" charset="0"/>
                <a:sym typeface="Calibri" panose="020F0502020204030204" pitchFamily="34" charset="0"/>
              </a:rPr>
              <a:t>Source: </a:t>
            </a:r>
            <a:r>
              <a:rPr lang="en-US" sz="900">
                <a:latin typeface="+mj-lt"/>
                <a:cs typeface="Calibri" panose="020F0502020204030204" pitchFamily="34" charset="0"/>
                <a:sym typeface="Calibri" panose="020F0502020204030204" pitchFamily="34" charset="0"/>
                <a:hlinkClick r:id="rId2">
                  <a:extLst>
                    <a:ext uri="{A12FA001-AC4F-418D-AE19-62706E023703}">
                      <ahyp:hlinkClr xmlns:ahyp="http://schemas.microsoft.com/office/drawing/2018/hyperlinkcolor" val="tx"/>
                    </a:ext>
                  </a:extLst>
                </a:hlinkClick>
              </a:rPr>
              <a:t>https://eur-lex.europa.eu/legal-content/EN/TXT/HTML/?uri=OJ:L_202401781#d1e1581-1-1</a:t>
            </a:r>
            <a:r>
              <a:rPr lang="en-US" sz="900">
                <a:latin typeface="+mj-lt"/>
                <a:cs typeface="Calibri" panose="020F0502020204030204" pitchFamily="34" charset="0"/>
                <a:sym typeface="Calibri" panose="020F0502020204030204" pitchFamily="34" charset="0"/>
              </a:rPr>
              <a:t> </a:t>
            </a:r>
          </a:p>
        </p:txBody>
      </p:sp>
    </p:spTree>
    <p:extLst>
      <p:ext uri="{BB962C8B-B14F-4D97-AF65-F5344CB8AC3E}">
        <p14:creationId xmlns:p14="http://schemas.microsoft.com/office/powerpoint/2010/main" val="5329011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77FD78-75D6-078B-F606-0026DEB8300E}"/>
              </a:ext>
            </a:extLst>
          </p:cNvPr>
          <p:cNvSpPr>
            <a:spLocks noGrp="1"/>
          </p:cNvSpPr>
          <p:nvPr>
            <p:ph type="title"/>
          </p:nvPr>
        </p:nvSpPr>
        <p:spPr/>
        <p:txBody>
          <a:bodyPr/>
          <a:lstStyle/>
          <a:p>
            <a:r>
              <a:rPr lang="en-US"/>
              <a:t>What Shall </a:t>
            </a:r>
            <a:r>
              <a:rPr lang="en-US" u="sng"/>
              <a:t>Not</a:t>
            </a:r>
            <a:r>
              <a:rPr lang="en-US"/>
              <a:t> Be Covered by the Ecodesign for Sustainable Product Regulation (ESPR)?</a:t>
            </a:r>
          </a:p>
        </p:txBody>
      </p:sp>
      <p:sp>
        <p:nvSpPr>
          <p:cNvPr id="4" name="Date Placeholder 3">
            <a:extLst>
              <a:ext uri="{FF2B5EF4-FFF2-40B4-BE49-F238E27FC236}">
                <a16:creationId xmlns:a16="http://schemas.microsoft.com/office/drawing/2014/main" id="{4E54B099-420D-7C6A-4FBA-02633EC33690}"/>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368FC967-E25B-4DC7-87C0-1C454DF70C3D}"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5" name="Slide Number Placeholder 4">
            <a:extLst>
              <a:ext uri="{FF2B5EF4-FFF2-40B4-BE49-F238E27FC236}">
                <a16:creationId xmlns:a16="http://schemas.microsoft.com/office/drawing/2014/main" id="{EC74334C-90E0-DE89-767A-2C1C35D725C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15</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grpSp>
        <p:nvGrpSpPr>
          <p:cNvPr id="66" name="Group 65">
            <a:extLst>
              <a:ext uri="{FF2B5EF4-FFF2-40B4-BE49-F238E27FC236}">
                <a16:creationId xmlns:a16="http://schemas.microsoft.com/office/drawing/2014/main" id="{D374FC29-413D-C906-C0B9-71A7DBA84E64}"/>
              </a:ext>
            </a:extLst>
          </p:cNvPr>
          <p:cNvGrpSpPr/>
          <p:nvPr/>
        </p:nvGrpSpPr>
        <p:grpSpPr>
          <a:xfrm>
            <a:off x="183671" y="3381523"/>
            <a:ext cx="1406101" cy="1820924"/>
            <a:chOff x="183671" y="3381523"/>
            <a:chExt cx="1406101" cy="1820924"/>
          </a:xfrm>
        </p:grpSpPr>
        <p:sp>
          <p:nvSpPr>
            <p:cNvPr id="23" name="Rectangle 22">
              <a:extLst>
                <a:ext uri="{FF2B5EF4-FFF2-40B4-BE49-F238E27FC236}">
                  <a16:creationId xmlns:a16="http://schemas.microsoft.com/office/drawing/2014/main" id="{D98F3FBD-F9EA-5119-FFE5-038EF610779B}"/>
                </a:ext>
              </a:extLst>
            </p:cNvPr>
            <p:cNvSpPr/>
            <p:nvPr/>
          </p:nvSpPr>
          <p:spPr>
            <a:xfrm>
              <a:off x="185772" y="4522839"/>
              <a:ext cx="1404000" cy="303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90000"/>
                </a:lnSpc>
              </a:pPr>
              <a:r>
                <a:rPr lang="en-IE" sz="1400" b="1">
                  <a:solidFill>
                    <a:schemeClr val="tx1">
                      <a:lumMod val="65000"/>
                      <a:lumOff val="35000"/>
                    </a:schemeClr>
                  </a:solidFill>
                  <a:latin typeface="Arial Narrow" panose="020B0604020202020204" pitchFamily="34" charset="0"/>
                  <a:cs typeface="Arial Narrow" panose="020B0604020202020204" pitchFamily="34" charset="0"/>
                </a:rPr>
                <a:t>Food</a:t>
              </a:r>
              <a:endParaRPr lang="en-US" sz="1400" b="1">
                <a:solidFill>
                  <a:schemeClr val="tx1">
                    <a:lumMod val="65000"/>
                    <a:lumOff val="35000"/>
                  </a:schemeClr>
                </a:solidFill>
                <a:latin typeface="Arial Narrow" panose="020B0604020202020204" pitchFamily="34" charset="0"/>
                <a:cs typeface="Arial Narrow" panose="020B0604020202020204" pitchFamily="34" charset="0"/>
              </a:endParaRPr>
            </a:p>
          </p:txBody>
        </p:sp>
        <p:pic>
          <p:nvPicPr>
            <p:cNvPr id="7" name="Graphic 6">
              <a:extLst>
                <a:ext uri="{FF2B5EF4-FFF2-40B4-BE49-F238E27FC236}">
                  <a16:creationId xmlns:a16="http://schemas.microsoft.com/office/drawing/2014/main" id="{9D655961-8EB0-DE12-6A58-6ECF80B977E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60122" y="3381523"/>
              <a:ext cx="855300" cy="855300"/>
            </a:xfrm>
            <a:prstGeom prst="rect">
              <a:avLst/>
            </a:prstGeom>
          </p:spPr>
        </p:pic>
        <p:sp>
          <p:nvSpPr>
            <p:cNvPr id="48" name="Rectangle 47">
              <a:extLst>
                <a:ext uri="{FF2B5EF4-FFF2-40B4-BE49-F238E27FC236}">
                  <a16:creationId xmlns:a16="http://schemas.microsoft.com/office/drawing/2014/main" id="{731325EB-ECFC-EE48-32A8-F755B596122D}"/>
                </a:ext>
              </a:extLst>
            </p:cNvPr>
            <p:cNvSpPr/>
            <p:nvPr/>
          </p:nvSpPr>
          <p:spPr>
            <a:xfrm>
              <a:off x="183671" y="4830477"/>
              <a:ext cx="1404000" cy="371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90000"/>
                </a:lnSpc>
              </a:pPr>
              <a:r>
                <a:rPr lang="en-IE" sz="1050">
                  <a:solidFill>
                    <a:schemeClr val="tx1">
                      <a:lumMod val="65000"/>
                      <a:lumOff val="35000"/>
                    </a:schemeClr>
                  </a:solidFill>
                </a:rPr>
                <a:t>Regulation (EC) 178/2002</a:t>
              </a:r>
              <a:endParaRPr lang="en-US" sz="1050">
                <a:solidFill>
                  <a:schemeClr val="tx1">
                    <a:lumMod val="65000"/>
                    <a:lumOff val="35000"/>
                  </a:schemeClr>
                </a:solidFill>
              </a:endParaRPr>
            </a:p>
          </p:txBody>
        </p:sp>
      </p:grpSp>
      <p:sp>
        <p:nvSpPr>
          <p:cNvPr id="15" name="Fußzeilenplatzhalter 3">
            <a:extLst>
              <a:ext uri="{FF2B5EF4-FFF2-40B4-BE49-F238E27FC236}">
                <a16:creationId xmlns:a16="http://schemas.microsoft.com/office/drawing/2014/main" id="{2B5AB454-E45B-44BD-4EBC-2D9EAE78EDC0}"/>
              </a:ext>
            </a:extLst>
          </p:cNvPr>
          <p:cNvSpPr txBox="1">
            <a:spLocks/>
          </p:cNvSpPr>
          <p:nvPr/>
        </p:nvSpPr>
        <p:spPr>
          <a:xfrm>
            <a:off x="1368178" y="6516000"/>
            <a:ext cx="5616000" cy="167933"/>
          </a:xfrm>
          <a:prstGeom prst="rect">
            <a:avLst/>
          </a:prstGeom>
        </p:spPr>
        <p:txBody>
          <a:bodyPr lIns="0" tIns="0" rIns="0" bIns="0"/>
          <a:ls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900">
                <a:latin typeface="Arial" panose="020B0604020202020204"/>
                <a:cs typeface="Arial"/>
              </a:rPr>
              <a:t>|  </a:t>
            </a:r>
            <a:r>
              <a:rPr lang="en-US" sz="900">
                <a:latin typeface="+mj-lt"/>
                <a:cs typeface="Calibri" panose="020F0502020204030204" pitchFamily="34" charset="0"/>
                <a:sym typeface="Calibri" panose="020F0502020204030204" pitchFamily="34" charset="0"/>
              </a:rPr>
              <a:t>Source: </a:t>
            </a:r>
            <a:r>
              <a:rPr lang="en-US" sz="900">
                <a:latin typeface="+mj-lt"/>
                <a:cs typeface="Calibri" panose="020F0502020204030204" pitchFamily="34" charset="0"/>
                <a:sym typeface="Calibri" panose="020F0502020204030204" pitchFamily="34" charset="0"/>
                <a:hlinkClick r:id="rId4">
                  <a:extLst>
                    <a:ext uri="{A12FA001-AC4F-418D-AE19-62706E023703}">
                      <ahyp:hlinkClr xmlns:ahyp="http://schemas.microsoft.com/office/drawing/2018/hyperlinkcolor" val="tx"/>
                    </a:ext>
                  </a:extLst>
                </a:hlinkClick>
              </a:rPr>
              <a:t>https://eur-lex.europa.eu/legal-content/EN/TXT/HTML/?uri=OJ:L_202401781#d1e1513-1-1</a:t>
            </a:r>
            <a:r>
              <a:rPr lang="en-US" sz="900">
                <a:latin typeface="+mj-lt"/>
                <a:cs typeface="Calibri" panose="020F0502020204030204" pitchFamily="34" charset="0"/>
                <a:sym typeface="Calibri" panose="020F0502020204030204" pitchFamily="34" charset="0"/>
              </a:rPr>
              <a:t> </a:t>
            </a:r>
          </a:p>
        </p:txBody>
      </p:sp>
      <p:grpSp>
        <p:nvGrpSpPr>
          <p:cNvPr id="65" name="Group 64">
            <a:extLst>
              <a:ext uri="{FF2B5EF4-FFF2-40B4-BE49-F238E27FC236}">
                <a16:creationId xmlns:a16="http://schemas.microsoft.com/office/drawing/2014/main" id="{1CE66EAD-F283-95F0-0D5C-6F3F5B624F8B}"/>
              </a:ext>
            </a:extLst>
          </p:cNvPr>
          <p:cNvGrpSpPr/>
          <p:nvPr/>
        </p:nvGrpSpPr>
        <p:grpSpPr>
          <a:xfrm>
            <a:off x="1654815" y="3385252"/>
            <a:ext cx="1404000" cy="1817195"/>
            <a:chOff x="1654815" y="3385252"/>
            <a:chExt cx="1404000" cy="1817195"/>
          </a:xfrm>
        </p:grpSpPr>
        <p:sp>
          <p:nvSpPr>
            <p:cNvPr id="24" name="Rectangle 23">
              <a:extLst>
                <a:ext uri="{FF2B5EF4-FFF2-40B4-BE49-F238E27FC236}">
                  <a16:creationId xmlns:a16="http://schemas.microsoft.com/office/drawing/2014/main" id="{A24691C1-E9C2-7292-6C26-CC145A3AF35C}"/>
                </a:ext>
              </a:extLst>
            </p:cNvPr>
            <p:cNvSpPr/>
            <p:nvPr/>
          </p:nvSpPr>
          <p:spPr>
            <a:xfrm>
              <a:off x="1654815" y="4522839"/>
              <a:ext cx="1404000" cy="371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90000"/>
                </a:lnSpc>
              </a:pPr>
              <a:r>
                <a:rPr lang="en-IE" sz="1400" b="1">
                  <a:solidFill>
                    <a:schemeClr val="tx1">
                      <a:lumMod val="65000"/>
                      <a:lumOff val="35000"/>
                    </a:schemeClr>
                  </a:solidFill>
                  <a:latin typeface="Arial Narrow" panose="020B0604020202020204" pitchFamily="34" charset="0"/>
                  <a:cs typeface="Arial Narrow" panose="020B0604020202020204" pitchFamily="34" charset="0"/>
                </a:rPr>
                <a:t>Feed</a:t>
              </a:r>
              <a:endParaRPr lang="en-US" sz="1400" b="1">
                <a:solidFill>
                  <a:schemeClr val="tx1">
                    <a:lumMod val="65000"/>
                    <a:lumOff val="35000"/>
                  </a:schemeClr>
                </a:solidFill>
                <a:latin typeface="Arial Narrow" panose="020B0604020202020204" pitchFamily="34" charset="0"/>
                <a:cs typeface="Arial Narrow" panose="020B0604020202020204" pitchFamily="34" charset="0"/>
              </a:endParaRPr>
            </a:p>
          </p:txBody>
        </p:sp>
        <p:pic>
          <p:nvPicPr>
            <p:cNvPr id="3" name="Graphic 2">
              <a:extLst>
                <a:ext uri="{FF2B5EF4-FFF2-40B4-BE49-F238E27FC236}">
                  <a16:creationId xmlns:a16="http://schemas.microsoft.com/office/drawing/2014/main" id="{6C125E53-B38A-B5E6-0C74-162F6D24CE8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932894" y="3385252"/>
              <a:ext cx="847843" cy="847843"/>
            </a:xfrm>
            <a:prstGeom prst="rect">
              <a:avLst/>
            </a:prstGeom>
          </p:spPr>
        </p:pic>
        <p:sp>
          <p:nvSpPr>
            <p:cNvPr id="52" name="Rectangle 51">
              <a:extLst>
                <a:ext uri="{FF2B5EF4-FFF2-40B4-BE49-F238E27FC236}">
                  <a16:creationId xmlns:a16="http://schemas.microsoft.com/office/drawing/2014/main" id="{7113A9A4-239E-34C4-F3DF-942ABF833268}"/>
                </a:ext>
              </a:extLst>
            </p:cNvPr>
            <p:cNvSpPr/>
            <p:nvPr/>
          </p:nvSpPr>
          <p:spPr>
            <a:xfrm>
              <a:off x="1654815" y="4830477"/>
              <a:ext cx="1404000" cy="371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90000"/>
                </a:lnSpc>
              </a:pPr>
              <a:r>
                <a:rPr lang="en-IE" sz="1050">
                  <a:solidFill>
                    <a:schemeClr val="tx1">
                      <a:lumMod val="65000"/>
                      <a:lumOff val="35000"/>
                    </a:schemeClr>
                  </a:solidFill>
                </a:rPr>
                <a:t>Regulation (EC) 178/2002</a:t>
              </a:r>
              <a:endParaRPr lang="en-US" sz="1050">
                <a:solidFill>
                  <a:schemeClr val="tx1">
                    <a:lumMod val="65000"/>
                    <a:lumOff val="35000"/>
                  </a:schemeClr>
                </a:solidFill>
              </a:endParaRPr>
            </a:p>
          </p:txBody>
        </p:sp>
      </p:grpSp>
      <p:grpSp>
        <p:nvGrpSpPr>
          <p:cNvPr id="64" name="Group 63">
            <a:extLst>
              <a:ext uri="{FF2B5EF4-FFF2-40B4-BE49-F238E27FC236}">
                <a16:creationId xmlns:a16="http://schemas.microsoft.com/office/drawing/2014/main" id="{CC8ECBF1-27F1-90E8-D0C7-2F38655EBC93}"/>
              </a:ext>
            </a:extLst>
          </p:cNvPr>
          <p:cNvGrpSpPr/>
          <p:nvPr/>
        </p:nvGrpSpPr>
        <p:grpSpPr>
          <a:xfrm>
            <a:off x="3123858" y="3378388"/>
            <a:ext cx="1406101" cy="2229901"/>
            <a:chOff x="3123858" y="3378388"/>
            <a:chExt cx="1406101" cy="2229901"/>
          </a:xfrm>
        </p:grpSpPr>
        <p:sp>
          <p:nvSpPr>
            <p:cNvPr id="25" name="Rectangle 24">
              <a:extLst>
                <a:ext uri="{FF2B5EF4-FFF2-40B4-BE49-F238E27FC236}">
                  <a16:creationId xmlns:a16="http://schemas.microsoft.com/office/drawing/2014/main" id="{79208C24-7382-3173-B1CF-58B50A2A3AA9}"/>
                </a:ext>
              </a:extLst>
            </p:cNvPr>
            <p:cNvSpPr/>
            <p:nvPr/>
          </p:nvSpPr>
          <p:spPr>
            <a:xfrm>
              <a:off x="3123858" y="4522839"/>
              <a:ext cx="1404000" cy="7079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algn="ctr">
                <a:lnSpc>
                  <a:spcPct val="85000"/>
                </a:lnSpc>
              </a:pPr>
              <a:r>
                <a:rPr lang="en-IE" sz="1400" b="1">
                  <a:solidFill>
                    <a:schemeClr val="tx1">
                      <a:lumMod val="65000"/>
                      <a:lumOff val="35000"/>
                    </a:schemeClr>
                  </a:solidFill>
                  <a:latin typeface="Arial Narrow" panose="020B0604020202020204" pitchFamily="34" charset="0"/>
                  <a:cs typeface="Arial Narrow" panose="020B0604020202020204" pitchFamily="34" charset="0"/>
                </a:rPr>
                <a:t>Medicinal products for human use </a:t>
              </a:r>
              <a:endParaRPr lang="en-US" sz="1400" b="1">
                <a:solidFill>
                  <a:schemeClr val="tx1">
                    <a:lumMod val="65000"/>
                    <a:lumOff val="35000"/>
                  </a:schemeClr>
                </a:solidFill>
                <a:latin typeface="Arial Narrow" panose="020B0604020202020204" pitchFamily="34" charset="0"/>
                <a:cs typeface="Arial Narrow" panose="020B0604020202020204" pitchFamily="34" charset="0"/>
              </a:endParaRPr>
            </a:p>
          </p:txBody>
        </p:sp>
        <p:pic>
          <p:nvPicPr>
            <p:cNvPr id="12" name="Graphic 11">
              <a:extLst>
                <a:ext uri="{FF2B5EF4-FFF2-40B4-BE49-F238E27FC236}">
                  <a16:creationId xmlns:a16="http://schemas.microsoft.com/office/drawing/2014/main" id="{45811FC4-EF76-B3E3-F566-30CF44ADAC3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77073" y="3378388"/>
              <a:ext cx="861570" cy="861570"/>
            </a:xfrm>
            <a:prstGeom prst="rect">
              <a:avLst/>
            </a:prstGeom>
          </p:spPr>
        </p:pic>
        <p:sp>
          <p:nvSpPr>
            <p:cNvPr id="53" name="Rectangle 52">
              <a:extLst>
                <a:ext uri="{FF2B5EF4-FFF2-40B4-BE49-F238E27FC236}">
                  <a16:creationId xmlns:a16="http://schemas.microsoft.com/office/drawing/2014/main" id="{AAADD3AE-E429-309B-5F2E-7ADA178E33BD}"/>
                </a:ext>
              </a:extLst>
            </p:cNvPr>
            <p:cNvSpPr/>
            <p:nvPr/>
          </p:nvSpPr>
          <p:spPr>
            <a:xfrm>
              <a:off x="3125959" y="5236319"/>
              <a:ext cx="1404000" cy="371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90000"/>
                </a:lnSpc>
              </a:pPr>
              <a:r>
                <a:rPr lang="en-IE" sz="1050">
                  <a:solidFill>
                    <a:schemeClr val="tx1">
                      <a:lumMod val="65000"/>
                      <a:lumOff val="35000"/>
                    </a:schemeClr>
                  </a:solidFill>
                </a:rPr>
                <a:t>Directive 2001/83/EC</a:t>
              </a:r>
              <a:endParaRPr lang="en-US" sz="1050">
                <a:solidFill>
                  <a:schemeClr val="tx1">
                    <a:lumMod val="65000"/>
                    <a:lumOff val="35000"/>
                  </a:schemeClr>
                </a:solidFill>
              </a:endParaRPr>
            </a:p>
          </p:txBody>
        </p:sp>
      </p:grpSp>
      <p:grpSp>
        <p:nvGrpSpPr>
          <p:cNvPr id="63" name="Group 62">
            <a:extLst>
              <a:ext uri="{FF2B5EF4-FFF2-40B4-BE49-F238E27FC236}">
                <a16:creationId xmlns:a16="http://schemas.microsoft.com/office/drawing/2014/main" id="{EDA98C2E-9685-0797-C9AF-AFD51738660A}"/>
              </a:ext>
            </a:extLst>
          </p:cNvPr>
          <p:cNvGrpSpPr/>
          <p:nvPr/>
        </p:nvGrpSpPr>
        <p:grpSpPr>
          <a:xfrm>
            <a:off x="4592901" y="3385252"/>
            <a:ext cx="1408202" cy="2223037"/>
            <a:chOff x="4592901" y="3385252"/>
            <a:chExt cx="1408202" cy="2223037"/>
          </a:xfrm>
        </p:grpSpPr>
        <p:sp>
          <p:nvSpPr>
            <p:cNvPr id="26" name="Rectangle 25">
              <a:extLst>
                <a:ext uri="{FF2B5EF4-FFF2-40B4-BE49-F238E27FC236}">
                  <a16:creationId xmlns:a16="http://schemas.microsoft.com/office/drawing/2014/main" id="{A884209D-6007-0941-41C9-E935CAECFE5D}"/>
                </a:ext>
              </a:extLst>
            </p:cNvPr>
            <p:cNvSpPr/>
            <p:nvPr/>
          </p:nvSpPr>
          <p:spPr>
            <a:xfrm>
              <a:off x="4592901" y="4522839"/>
              <a:ext cx="1404000" cy="7079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85000"/>
                </a:lnSpc>
              </a:pPr>
              <a:r>
                <a:rPr lang="en-IE" sz="1400" b="1">
                  <a:solidFill>
                    <a:schemeClr val="tx1">
                      <a:lumMod val="65000"/>
                      <a:lumOff val="35000"/>
                    </a:schemeClr>
                  </a:solidFill>
                  <a:latin typeface="Arial Narrow" panose="020B0604020202020204" pitchFamily="34" charset="0"/>
                  <a:cs typeface="Arial Narrow" panose="020B0604020202020204" pitchFamily="34" charset="0"/>
                </a:rPr>
                <a:t>Veterinary medicinal products </a:t>
              </a:r>
              <a:endParaRPr lang="en-US" sz="1400" b="1">
                <a:solidFill>
                  <a:schemeClr val="tx1">
                    <a:lumMod val="65000"/>
                    <a:lumOff val="35000"/>
                  </a:schemeClr>
                </a:solidFill>
                <a:latin typeface="Arial Narrow" panose="020B0604020202020204" pitchFamily="34" charset="0"/>
                <a:cs typeface="Arial Narrow" panose="020B0604020202020204" pitchFamily="34" charset="0"/>
              </a:endParaRPr>
            </a:p>
          </p:txBody>
        </p:sp>
        <p:pic>
          <p:nvPicPr>
            <p:cNvPr id="8" name="Graphic 7">
              <a:extLst>
                <a:ext uri="{FF2B5EF4-FFF2-40B4-BE49-F238E27FC236}">
                  <a16:creationId xmlns:a16="http://schemas.microsoft.com/office/drawing/2014/main" id="{3632D444-0209-514A-18D2-50420657F84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70980" y="3385252"/>
              <a:ext cx="847843" cy="847843"/>
            </a:xfrm>
            <a:prstGeom prst="rect">
              <a:avLst/>
            </a:prstGeom>
          </p:spPr>
        </p:pic>
        <p:sp>
          <p:nvSpPr>
            <p:cNvPr id="54" name="Rectangle 53">
              <a:extLst>
                <a:ext uri="{FF2B5EF4-FFF2-40B4-BE49-F238E27FC236}">
                  <a16:creationId xmlns:a16="http://schemas.microsoft.com/office/drawing/2014/main" id="{12A82AA2-FA46-4C2D-A3B7-2D27410B201C}"/>
                </a:ext>
              </a:extLst>
            </p:cNvPr>
            <p:cNvSpPr/>
            <p:nvPr/>
          </p:nvSpPr>
          <p:spPr>
            <a:xfrm>
              <a:off x="4597103" y="5236319"/>
              <a:ext cx="1404000" cy="371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90000"/>
                </a:lnSpc>
              </a:pPr>
              <a:r>
                <a:rPr lang="en-IE" sz="1050">
                  <a:solidFill>
                    <a:schemeClr val="tx1">
                      <a:lumMod val="65000"/>
                      <a:lumOff val="35000"/>
                    </a:schemeClr>
                  </a:solidFill>
                </a:rPr>
                <a:t>Regulation (EU) 2019/6</a:t>
              </a:r>
              <a:endParaRPr lang="en-US" sz="1050">
                <a:solidFill>
                  <a:schemeClr val="tx1">
                    <a:lumMod val="65000"/>
                    <a:lumOff val="35000"/>
                  </a:schemeClr>
                </a:solidFill>
              </a:endParaRPr>
            </a:p>
          </p:txBody>
        </p:sp>
      </p:grpSp>
      <p:grpSp>
        <p:nvGrpSpPr>
          <p:cNvPr id="62" name="Group 61">
            <a:extLst>
              <a:ext uri="{FF2B5EF4-FFF2-40B4-BE49-F238E27FC236}">
                <a16:creationId xmlns:a16="http://schemas.microsoft.com/office/drawing/2014/main" id="{63EE133F-EA70-5579-C39E-F2A06FC1329A}"/>
              </a:ext>
            </a:extLst>
          </p:cNvPr>
          <p:cNvGrpSpPr/>
          <p:nvPr/>
        </p:nvGrpSpPr>
        <p:grpSpPr>
          <a:xfrm>
            <a:off x="6061944" y="3386685"/>
            <a:ext cx="1410303" cy="2955117"/>
            <a:chOff x="6061944" y="3386685"/>
            <a:chExt cx="1410303" cy="2955117"/>
          </a:xfrm>
        </p:grpSpPr>
        <p:sp>
          <p:nvSpPr>
            <p:cNvPr id="27" name="Rectangle 26">
              <a:extLst>
                <a:ext uri="{FF2B5EF4-FFF2-40B4-BE49-F238E27FC236}">
                  <a16:creationId xmlns:a16="http://schemas.microsoft.com/office/drawing/2014/main" id="{51F5C7EA-35B4-F227-2298-E7E282B83C9F}"/>
                </a:ext>
              </a:extLst>
            </p:cNvPr>
            <p:cNvSpPr/>
            <p:nvPr/>
          </p:nvSpPr>
          <p:spPr>
            <a:xfrm>
              <a:off x="6061944" y="4522839"/>
              <a:ext cx="1404000" cy="140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90000"/>
                </a:lnSpc>
              </a:pPr>
              <a:r>
                <a:rPr lang="en-IE" sz="1400" b="1">
                  <a:solidFill>
                    <a:schemeClr val="tx1">
                      <a:lumMod val="65000"/>
                      <a:lumOff val="35000"/>
                    </a:schemeClr>
                  </a:solidFill>
                  <a:latin typeface="Arial Narrow" panose="020B0604020202020204" pitchFamily="34" charset="0"/>
                  <a:cs typeface="Arial Narrow" panose="020B0604020202020204" pitchFamily="34" charset="0"/>
                </a:rPr>
                <a:t>Living plants, animals and micro-organisms</a:t>
              </a:r>
              <a:endParaRPr lang="en-US" sz="1400" b="1">
                <a:solidFill>
                  <a:schemeClr val="tx1">
                    <a:lumMod val="65000"/>
                    <a:lumOff val="35000"/>
                  </a:schemeClr>
                </a:solidFill>
                <a:latin typeface="Arial Narrow" panose="020B0604020202020204" pitchFamily="34" charset="0"/>
                <a:cs typeface="Arial Narrow" panose="020B0604020202020204" pitchFamily="34" charset="0"/>
              </a:endParaRPr>
            </a:p>
          </p:txBody>
        </p:sp>
        <p:pic>
          <p:nvPicPr>
            <p:cNvPr id="9" name="Graphic 8">
              <a:extLst>
                <a:ext uri="{FF2B5EF4-FFF2-40B4-BE49-F238E27FC236}">
                  <a16:creationId xmlns:a16="http://schemas.microsoft.com/office/drawing/2014/main" id="{EE1B8711-1621-1CAB-BEBA-414F51C35AD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341456" y="3386685"/>
              <a:ext cx="844976" cy="844976"/>
            </a:xfrm>
            <a:prstGeom prst="rect">
              <a:avLst/>
            </a:prstGeom>
          </p:spPr>
        </p:pic>
        <p:sp>
          <p:nvSpPr>
            <p:cNvPr id="55" name="Rectangle 54">
              <a:extLst>
                <a:ext uri="{FF2B5EF4-FFF2-40B4-BE49-F238E27FC236}">
                  <a16:creationId xmlns:a16="http://schemas.microsoft.com/office/drawing/2014/main" id="{82297F0C-6935-9CDB-6111-CAC06701A2A1}"/>
                </a:ext>
              </a:extLst>
            </p:cNvPr>
            <p:cNvSpPr/>
            <p:nvPr/>
          </p:nvSpPr>
          <p:spPr>
            <a:xfrm>
              <a:off x="6068247" y="5969832"/>
              <a:ext cx="1404000" cy="371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90000"/>
                </a:lnSpc>
              </a:pPr>
              <a:endParaRPr lang="en-US" sz="1050">
                <a:solidFill>
                  <a:schemeClr val="tx1">
                    <a:lumMod val="65000"/>
                    <a:lumOff val="35000"/>
                  </a:schemeClr>
                </a:solidFill>
              </a:endParaRPr>
            </a:p>
          </p:txBody>
        </p:sp>
      </p:grpSp>
      <p:grpSp>
        <p:nvGrpSpPr>
          <p:cNvPr id="61" name="Group 60">
            <a:extLst>
              <a:ext uri="{FF2B5EF4-FFF2-40B4-BE49-F238E27FC236}">
                <a16:creationId xmlns:a16="http://schemas.microsoft.com/office/drawing/2014/main" id="{C926D0B0-65B0-E47F-D8B6-33D8144EC914}"/>
              </a:ext>
            </a:extLst>
          </p:cNvPr>
          <p:cNvGrpSpPr/>
          <p:nvPr/>
        </p:nvGrpSpPr>
        <p:grpSpPr>
          <a:xfrm>
            <a:off x="7530987" y="3366970"/>
            <a:ext cx="1412404" cy="2974831"/>
            <a:chOff x="7530987" y="3366970"/>
            <a:chExt cx="1412404" cy="2974831"/>
          </a:xfrm>
        </p:grpSpPr>
        <p:sp>
          <p:nvSpPr>
            <p:cNvPr id="28" name="Rectangle 27">
              <a:extLst>
                <a:ext uri="{FF2B5EF4-FFF2-40B4-BE49-F238E27FC236}">
                  <a16:creationId xmlns:a16="http://schemas.microsoft.com/office/drawing/2014/main" id="{AF8D3774-1C55-3481-355E-199ECD5652E2}"/>
                </a:ext>
              </a:extLst>
            </p:cNvPr>
            <p:cNvSpPr/>
            <p:nvPr/>
          </p:nvSpPr>
          <p:spPr>
            <a:xfrm>
              <a:off x="7530987" y="4522837"/>
              <a:ext cx="1404000" cy="140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90000"/>
                </a:lnSpc>
              </a:pPr>
              <a:r>
                <a:rPr lang="en-IE" sz="1400" b="1">
                  <a:solidFill>
                    <a:schemeClr val="tx1">
                      <a:lumMod val="65000"/>
                      <a:lumOff val="35000"/>
                    </a:schemeClr>
                  </a:solidFill>
                  <a:latin typeface="Arial Narrow" panose="020B0604020202020204" pitchFamily="34" charset="0"/>
                  <a:cs typeface="Arial Narrow" panose="020B0604020202020204" pitchFamily="34" charset="0"/>
                </a:rPr>
                <a:t>Products of human origin</a:t>
              </a:r>
              <a:endParaRPr lang="en-US" sz="1400" b="1">
                <a:solidFill>
                  <a:schemeClr val="tx1">
                    <a:lumMod val="65000"/>
                    <a:lumOff val="35000"/>
                  </a:schemeClr>
                </a:solidFill>
                <a:latin typeface="Arial Narrow" panose="020B0604020202020204" pitchFamily="34" charset="0"/>
                <a:cs typeface="Arial Narrow" panose="020B0604020202020204" pitchFamily="34" charset="0"/>
              </a:endParaRPr>
            </a:p>
          </p:txBody>
        </p:sp>
        <p:pic>
          <p:nvPicPr>
            <p:cNvPr id="10" name="Graphic 9">
              <a:extLst>
                <a:ext uri="{FF2B5EF4-FFF2-40B4-BE49-F238E27FC236}">
                  <a16:creationId xmlns:a16="http://schemas.microsoft.com/office/drawing/2014/main" id="{F26376E2-6436-5134-B7BA-F21BB1EE7B8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744963" y="3366970"/>
              <a:ext cx="976049" cy="976049"/>
            </a:xfrm>
            <a:prstGeom prst="rect">
              <a:avLst/>
            </a:prstGeom>
          </p:spPr>
        </p:pic>
        <p:sp>
          <p:nvSpPr>
            <p:cNvPr id="56" name="Rectangle 55">
              <a:extLst>
                <a:ext uri="{FF2B5EF4-FFF2-40B4-BE49-F238E27FC236}">
                  <a16:creationId xmlns:a16="http://schemas.microsoft.com/office/drawing/2014/main" id="{20A5CF23-51FF-7DB5-26C3-49764218BC0B}"/>
                </a:ext>
              </a:extLst>
            </p:cNvPr>
            <p:cNvSpPr/>
            <p:nvPr/>
          </p:nvSpPr>
          <p:spPr>
            <a:xfrm>
              <a:off x="7539391" y="5969831"/>
              <a:ext cx="1404000" cy="371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90000"/>
                </a:lnSpc>
              </a:pPr>
              <a:endParaRPr lang="en-US" sz="1050">
                <a:solidFill>
                  <a:schemeClr val="tx1">
                    <a:lumMod val="65000"/>
                    <a:lumOff val="35000"/>
                  </a:schemeClr>
                </a:solidFill>
              </a:endParaRPr>
            </a:p>
          </p:txBody>
        </p:sp>
      </p:grpSp>
      <p:grpSp>
        <p:nvGrpSpPr>
          <p:cNvPr id="60" name="Group 59">
            <a:extLst>
              <a:ext uri="{FF2B5EF4-FFF2-40B4-BE49-F238E27FC236}">
                <a16:creationId xmlns:a16="http://schemas.microsoft.com/office/drawing/2014/main" id="{D84D8BEB-8C08-D35B-B4AC-F02440C3BA98}"/>
              </a:ext>
            </a:extLst>
          </p:cNvPr>
          <p:cNvGrpSpPr/>
          <p:nvPr/>
        </p:nvGrpSpPr>
        <p:grpSpPr>
          <a:xfrm>
            <a:off x="9000030" y="3397031"/>
            <a:ext cx="1414505" cy="2944769"/>
            <a:chOff x="9000030" y="3397031"/>
            <a:chExt cx="1414505" cy="2944769"/>
          </a:xfrm>
        </p:grpSpPr>
        <p:sp>
          <p:nvSpPr>
            <p:cNvPr id="29" name="Rectangle 28">
              <a:extLst>
                <a:ext uri="{FF2B5EF4-FFF2-40B4-BE49-F238E27FC236}">
                  <a16:creationId xmlns:a16="http://schemas.microsoft.com/office/drawing/2014/main" id="{1396BC97-5227-7CCE-C276-48FC2978AE7C}"/>
                </a:ext>
              </a:extLst>
            </p:cNvPr>
            <p:cNvSpPr/>
            <p:nvPr/>
          </p:nvSpPr>
          <p:spPr>
            <a:xfrm>
              <a:off x="9000030" y="4522837"/>
              <a:ext cx="1404000" cy="140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lnSpc>
                  <a:spcPct val="85000"/>
                </a:lnSpc>
              </a:pPr>
              <a:r>
                <a:rPr lang="en-IE" sz="1400" b="1">
                  <a:solidFill>
                    <a:schemeClr val="tx1">
                      <a:lumMod val="65000"/>
                      <a:lumOff val="35000"/>
                    </a:schemeClr>
                  </a:solidFill>
                  <a:latin typeface="Arial Narrow" panose="020B0604020202020204" pitchFamily="34" charset="0"/>
                  <a:cs typeface="Arial Narrow" panose="020B0604020202020204" pitchFamily="34" charset="0"/>
                </a:rPr>
                <a:t>Products of plants and animals relating directly to their future reproduction</a:t>
              </a:r>
              <a:endParaRPr lang="en-US" sz="1400" b="1">
                <a:solidFill>
                  <a:schemeClr val="tx1">
                    <a:lumMod val="65000"/>
                    <a:lumOff val="35000"/>
                  </a:schemeClr>
                </a:solidFill>
                <a:latin typeface="Arial Narrow" panose="020B0604020202020204" pitchFamily="34" charset="0"/>
                <a:cs typeface="Arial Narrow" panose="020B0604020202020204" pitchFamily="34" charset="0"/>
              </a:endParaRPr>
            </a:p>
          </p:txBody>
        </p:sp>
        <p:pic>
          <p:nvPicPr>
            <p:cNvPr id="11" name="Graphic 10">
              <a:extLst>
                <a:ext uri="{FF2B5EF4-FFF2-40B4-BE49-F238E27FC236}">
                  <a16:creationId xmlns:a16="http://schemas.microsoft.com/office/drawing/2014/main" id="{F238E191-1C04-4997-086E-9B2879AE9AA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289888" y="3397031"/>
              <a:ext cx="824284" cy="824284"/>
            </a:xfrm>
            <a:prstGeom prst="rect">
              <a:avLst/>
            </a:prstGeom>
          </p:spPr>
        </p:pic>
        <p:sp>
          <p:nvSpPr>
            <p:cNvPr id="57" name="Rectangle 56">
              <a:extLst>
                <a:ext uri="{FF2B5EF4-FFF2-40B4-BE49-F238E27FC236}">
                  <a16:creationId xmlns:a16="http://schemas.microsoft.com/office/drawing/2014/main" id="{B80C25F3-2CC1-9D9A-8579-3CBA033CA52F}"/>
                </a:ext>
              </a:extLst>
            </p:cNvPr>
            <p:cNvSpPr/>
            <p:nvPr/>
          </p:nvSpPr>
          <p:spPr>
            <a:xfrm>
              <a:off x="9010535" y="5969830"/>
              <a:ext cx="1404000" cy="371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90000"/>
                </a:lnSpc>
              </a:pPr>
              <a:endParaRPr lang="en-US" sz="1050">
                <a:solidFill>
                  <a:schemeClr val="tx1">
                    <a:lumMod val="65000"/>
                    <a:lumOff val="35000"/>
                  </a:schemeClr>
                </a:solidFill>
              </a:endParaRPr>
            </a:p>
          </p:txBody>
        </p:sp>
      </p:grpSp>
      <p:grpSp>
        <p:nvGrpSpPr>
          <p:cNvPr id="59" name="Group 58">
            <a:extLst>
              <a:ext uri="{FF2B5EF4-FFF2-40B4-BE49-F238E27FC236}">
                <a16:creationId xmlns:a16="http://schemas.microsoft.com/office/drawing/2014/main" id="{4C7499A2-9F84-8696-2766-271B04CF49E0}"/>
              </a:ext>
            </a:extLst>
          </p:cNvPr>
          <p:cNvGrpSpPr/>
          <p:nvPr/>
        </p:nvGrpSpPr>
        <p:grpSpPr>
          <a:xfrm>
            <a:off x="10469075" y="3381523"/>
            <a:ext cx="1416604" cy="2393596"/>
            <a:chOff x="10469075" y="3381523"/>
            <a:chExt cx="1416604" cy="2393596"/>
          </a:xfrm>
        </p:grpSpPr>
        <p:sp>
          <p:nvSpPr>
            <p:cNvPr id="31" name="Rectangle 30">
              <a:extLst>
                <a:ext uri="{FF2B5EF4-FFF2-40B4-BE49-F238E27FC236}">
                  <a16:creationId xmlns:a16="http://schemas.microsoft.com/office/drawing/2014/main" id="{910F6605-1271-B308-66F0-6CD920F3B7D6}"/>
                </a:ext>
              </a:extLst>
            </p:cNvPr>
            <p:cNvSpPr/>
            <p:nvPr/>
          </p:nvSpPr>
          <p:spPr>
            <a:xfrm>
              <a:off x="10469075" y="4522837"/>
              <a:ext cx="1404000" cy="4943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90000"/>
                </a:lnSpc>
              </a:pPr>
              <a:r>
                <a:rPr lang="en-US" sz="1400" b="1">
                  <a:solidFill>
                    <a:schemeClr val="tx1">
                      <a:lumMod val="65000"/>
                      <a:lumOff val="35000"/>
                    </a:schemeClr>
                  </a:solidFill>
                  <a:latin typeface="Arial Narrow" panose="020B0604020202020204" pitchFamily="34" charset="0"/>
                  <a:cs typeface="Arial Narrow" panose="020B0604020202020204" pitchFamily="34" charset="0"/>
                </a:rPr>
                <a:t>Vehicles</a:t>
              </a:r>
            </a:p>
          </p:txBody>
        </p:sp>
        <p:pic>
          <p:nvPicPr>
            <p:cNvPr id="14" name="Graphic 13">
              <a:extLst>
                <a:ext uri="{FF2B5EF4-FFF2-40B4-BE49-F238E27FC236}">
                  <a16:creationId xmlns:a16="http://schemas.microsoft.com/office/drawing/2014/main" id="{3AA8890B-6542-C8B0-B6D3-CFFF87EFC41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743425" y="3381523"/>
              <a:ext cx="855300" cy="855300"/>
            </a:xfrm>
            <a:prstGeom prst="rect">
              <a:avLst/>
            </a:prstGeom>
          </p:spPr>
        </p:pic>
        <p:sp>
          <p:nvSpPr>
            <p:cNvPr id="58" name="Rectangle 57">
              <a:extLst>
                <a:ext uri="{FF2B5EF4-FFF2-40B4-BE49-F238E27FC236}">
                  <a16:creationId xmlns:a16="http://schemas.microsoft.com/office/drawing/2014/main" id="{B48D4295-E923-1B02-B48C-8548711B7EEA}"/>
                </a:ext>
              </a:extLst>
            </p:cNvPr>
            <p:cNvSpPr/>
            <p:nvPr/>
          </p:nvSpPr>
          <p:spPr>
            <a:xfrm>
              <a:off x="10481679" y="4831229"/>
              <a:ext cx="1404000" cy="9438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90000"/>
                </a:lnSpc>
              </a:pPr>
              <a:r>
                <a:rPr lang="en-IE" sz="1050">
                  <a:solidFill>
                    <a:schemeClr val="tx1">
                      <a:lumMod val="65000"/>
                      <a:lumOff val="35000"/>
                    </a:schemeClr>
                  </a:solidFill>
                </a:rPr>
                <a:t>Regulation (EU) 167/2012, Regulation (EU) 168/2023, Regulation (EU) 2018/858</a:t>
              </a:r>
              <a:endParaRPr lang="en-US" sz="1050">
                <a:solidFill>
                  <a:schemeClr val="tx1">
                    <a:lumMod val="65000"/>
                    <a:lumOff val="35000"/>
                  </a:schemeClr>
                </a:solidFill>
              </a:endParaRPr>
            </a:p>
          </p:txBody>
        </p:sp>
      </p:grpSp>
      <p:sp>
        <p:nvSpPr>
          <p:cNvPr id="67" name="Text Placeholder 2">
            <a:extLst>
              <a:ext uri="{FF2B5EF4-FFF2-40B4-BE49-F238E27FC236}">
                <a16:creationId xmlns:a16="http://schemas.microsoft.com/office/drawing/2014/main" id="{2D9CE884-9374-C8DB-3FF7-B5187D6C61AB}"/>
              </a:ext>
            </a:extLst>
          </p:cNvPr>
          <p:cNvSpPr txBox="1">
            <a:spLocks/>
          </p:cNvSpPr>
          <p:nvPr/>
        </p:nvSpPr>
        <p:spPr>
          <a:xfrm>
            <a:off x="212345" y="1619461"/>
            <a:ext cx="11753976" cy="1635637"/>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just">
              <a:spcBef>
                <a:spcPts val="600"/>
              </a:spcBef>
              <a:spcAft>
                <a:spcPts val="600"/>
              </a:spcAft>
            </a:pPr>
            <a:r>
              <a:rPr lang="en-GB" sz="2000">
                <a:solidFill>
                  <a:schemeClr val="tx1">
                    <a:lumMod val="65000"/>
                    <a:lumOff val="35000"/>
                  </a:schemeClr>
                </a:solidFill>
                <a:latin typeface="+mn-lt"/>
                <a:ea typeface="Calibri" panose="020F0502020204030204" pitchFamily="34" charset="0"/>
              </a:rPr>
              <a:t>Article 1, Paragraph 2</a:t>
            </a:r>
          </a:p>
          <a:p>
            <a:pPr algn="just">
              <a:spcBef>
                <a:spcPts val="600"/>
              </a:spcBef>
              <a:spcAft>
                <a:spcPts val="600"/>
              </a:spcAft>
            </a:pPr>
            <a:r>
              <a:rPr lang="en-GB" sz="1800">
                <a:solidFill>
                  <a:schemeClr val="tx1">
                    <a:lumMod val="65000"/>
                    <a:lumOff val="35000"/>
                  </a:schemeClr>
                </a:solidFill>
                <a:latin typeface="+mn-lt"/>
                <a:ea typeface="Calibri" panose="020F0502020204030204" pitchFamily="34" charset="0"/>
              </a:rPr>
              <a:t>This (Ecodesign for sustainable Product) Regulation applies to </a:t>
            </a:r>
            <a:r>
              <a:rPr lang="en-GB" sz="1800" b="1">
                <a:solidFill>
                  <a:schemeClr val="tx1">
                    <a:lumMod val="65000"/>
                    <a:lumOff val="35000"/>
                  </a:schemeClr>
                </a:solidFill>
                <a:latin typeface="+mn-lt"/>
                <a:ea typeface="Calibri" panose="020F0502020204030204" pitchFamily="34" charset="0"/>
              </a:rPr>
              <a:t>any physical goods </a:t>
            </a:r>
            <a:r>
              <a:rPr lang="en-GB" sz="1800">
                <a:solidFill>
                  <a:schemeClr val="tx1">
                    <a:lumMod val="65000"/>
                    <a:lumOff val="35000"/>
                  </a:schemeClr>
                </a:solidFill>
                <a:latin typeface="+mn-lt"/>
                <a:ea typeface="Calibri" panose="020F0502020204030204" pitchFamily="34" charset="0"/>
              </a:rPr>
              <a:t>that are </a:t>
            </a:r>
            <a:r>
              <a:rPr lang="en-GB" sz="1800" b="1">
                <a:solidFill>
                  <a:schemeClr val="tx1">
                    <a:lumMod val="65000"/>
                    <a:lumOff val="35000"/>
                  </a:schemeClr>
                </a:solidFill>
                <a:latin typeface="+mn-lt"/>
                <a:ea typeface="Calibri" panose="020F0502020204030204" pitchFamily="34" charset="0"/>
              </a:rPr>
              <a:t>placed on the market or put into service</a:t>
            </a:r>
            <a:r>
              <a:rPr lang="en-GB" sz="1800">
                <a:solidFill>
                  <a:schemeClr val="tx1">
                    <a:lumMod val="65000"/>
                    <a:lumOff val="35000"/>
                  </a:schemeClr>
                </a:solidFill>
                <a:latin typeface="+mn-lt"/>
                <a:ea typeface="Calibri" panose="020F0502020204030204" pitchFamily="34" charset="0"/>
              </a:rPr>
              <a:t>, including </a:t>
            </a:r>
            <a:r>
              <a:rPr lang="en-GB" sz="1800" b="1">
                <a:solidFill>
                  <a:schemeClr val="tx1">
                    <a:lumMod val="65000"/>
                    <a:lumOff val="35000"/>
                  </a:schemeClr>
                </a:solidFill>
                <a:latin typeface="+mn-lt"/>
                <a:ea typeface="Calibri" panose="020F0502020204030204" pitchFamily="34" charset="0"/>
              </a:rPr>
              <a:t>components</a:t>
            </a:r>
            <a:r>
              <a:rPr lang="en-GB" sz="1800">
                <a:solidFill>
                  <a:schemeClr val="tx1">
                    <a:lumMod val="65000"/>
                    <a:lumOff val="35000"/>
                  </a:schemeClr>
                </a:solidFill>
                <a:latin typeface="+mn-lt"/>
                <a:ea typeface="Calibri" panose="020F0502020204030204" pitchFamily="34" charset="0"/>
              </a:rPr>
              <a:t> and </a:t>
            </a:r>
            <a:r>
              <a:rPr lang="en-GB" sz="1800" b="1">
                <a:solidFill>
                  <a:schemeClr val="tx1">
                    <a:lumMod val="65000"/>
                    <a:lumOff val="35000"/>
                  </a:schemeClr>
                </a:solidFill>
                <a:latin typeface="+mn-lt"/>
                <a:ea typeface="Calibri" panose="020F0502020204030204" pitchFamily="34" charset="0"/>
              </a:rPr>
              <a:t>intermediate</a:t>
            </a:r>
            <a:r>
              <a:rPr lang="en-GB" sz="1800">
                <a:solidFill>
                  <a:schemeClr val="tx1">
                    <a:lumMod val="65000"/>
                    <a:lumOff val="35000"/>
                  </a:schemeClr>
                </a:solidFill>
                <a:latin typeface="+mn-lt"/>
                <a:ea typeface="Calibri" panose="020F0502020204030204" pitchFamily="34" charset="0"/>
              </a:rPr>
              <a:t> </a:t>
            </a:r>
            <a:r>
              <a:rPr lang="en-GB" sz="1800" b="1">
                <a:solidFill>
                  <a:schemeClr val="tx1">
                    <a:lumMod val="65000"/>
                    <a:lumOff val="35000"/>
                  </a:schemeClr>
                </a:solidFill>
                <a:latin typeface="+mn-lt"/>
                <a:ea typeface="Calibri" panose="020F0502020204030204" pitchFamily="34" charset="0"/>
              </a:rPr>
              <a:t>products</a:t>
            </a:r>
            <a:r>
              <a:rPr lang="en-GB" sz="1800">
                <a:solidFill>
                  <a:schemeClr val="tx1">
                    <a:lumMod val="65000"/>
                    <a:lumOff val="35000"/>
                  </a:schemeClr>
                </a:solidFill>
                <a:latin typeface="+mn-lt"/>
                <a:ea typeface="Calibri" panose="020F0502020204030204" pitchFamily="34" charset="0"/>
              </a:rPr>
              <a:t>. However, it does not apply to:</a:t>
            </a:r>
            <a:endParaRPr lang="en-CH" sz="1800">
              <a:solidFill>
                <a:schemeClr val="tx1">
                  <a:lumMod val="65000"/>
                  <a:lumOff val="35000"/>
                </a:schemeClr>
              </a:solidFill>
              <a:latin typeface="+mn-lt"/>
              <a:ea typeface="Calibri" panose="020F0502020204030204" pitchFamily="34" charset="0"/>
            </a:endParaRPr>
          </a:p>
        </p:txBody>
      </p:sp>
    </p:spTree>
    <p:extLst>
      <p:ext uri="{BB962C8B-B14F-4D97-AF65-F5344CB8AC3E}">
        <p14:creationId xmlns:p14="http://schemas.microsoft.com/office/powerpoint/2010/main" val="6501703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E39FDF-D679-DE5B-F8B0-E64C33D94A8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6AD5798-7560-D2D8-C620-4345713B2FCB}"/>
              </a:ext>
            </a:extLst>
          </p:cNvPr>
          <p:cNvSpPr>
            <a:spLocks noGrp="1"/>
          </p:cNvSpPr>
          <p:nvPr>
            <p:ph type="title"/>
          </p:nvPr>
        </p:nvSpPr>
        <p:spPr/>
        <p:txBody>
          <a:bodyPr/>
          <a:lstStyle/>
          <a:p>
            <a:r>
              <a:rPr lang="en-US"/>
              <a:t>What Shall Be Covered by the Ecodesign for Sustainable Product Regulation (ESPR)?</a:t>
            </a:r>
          </a:p>
        </p:txBody>
      </p:sp>
      <p:sp>
        <p:nvSpPr>
          <p:cNvPr id="3" name="Date Placeholder 2">
            <a:extLst>
              <a:ext uri="{FF2B5EF4-FFF2-40B4-BE49-F238E27FC236}">
                <a16:creationId xmlns:a16="http://schemas.microsoft.com/office/drawing/2014/main" id="{6BFA2680-187F-0FF1-5B62-C456EA2AF16C}"/>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2E752000-55A0-4553-BBD4-CFFEEB173D51}"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4" name="Slide Number Placeholder 3">
            <a:extLst>
              <a:ext uri="{FF2B5EF4-FFF2-40B4-BE49-F238E27FC236}">
                <a16:creationId xmlns:a16="http://schemas.microsoft.com/office/drawing/2014/main" id="{94B1F51A-442C-4A61-66EA-459972CD81C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16</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
        <p:nvSpPr>
          <p:cNvPr id="5" name="TextBox 4">
            <a:extLst>
              <a:ext uri="{FF2B5EF4-FFF2-40B4-BE49-F238E27FC236}">
                <a16:creationId xmlns:a16="http://schemas.microsoft.com/office/drawing/2014/main" id="{AB358BCF-F22F-CA41-8C07-96BCDC79993D}"/>
              </a:ext>
            </a:extLst>
          </p:cNvPr>
          <p:cNvSpPr txBox="1"/>
          <p:nvPr/>
        </p:nvSpPr>
        <p:spPr>
          <a:xfrm>
            <a:off x="317611" y="2871945"/>
            <a:ext cx="1938351" cy="338554"/>
          </a:xfrm>
          <a:prstGeom prst="rect">
            <a:avLst/>
          </a:prstGeom>
          <a:noFill/>
        </p:spPr>
        <p:txBody>
          <a:bodyPr wrap="none" rtlCol="0">
            <a:spAutoFit/>
          </a:bodyPr>
          <a:lstStyle/>
          <a:p>
            <a:pPr marL="0" indent="0" algn="l">
              <a:buClr>
                <a:schemeClr val="bg2"/>
              </a:buClr>
              <a:buSzPct val="80000"/>
              <a:buFont typeface="Arial" panose="020B0604020202020204" pitchFamily="34" charset="0"/>
              <a:buNone/>
            </a:pPr>
            <a:r>
              <a:rPr lang="en-US" sz="1600" b="1" i="0" u="none" strike="noStrike" cap="none">
                <a:solidFill>
                  <a:schemeClr val="tx1">
                    <a:lumMod val="65000"/>
                    <a:lumOff val="35000"/>
                  </a:schemeClr>
                </a:solidFill>
                <a:latin typeface="Arial" panose="020B0604020202020204" pitchFamily="34" charset="0"/>
                <a:cs typeface="Arial" panose="020B0604020202020204" pitchFamily="34" charset="0"/>
                <a:sym typeface="Calibri" panose="020F0502020204030204" pitchFamily="34" charset="0"/>
              </a:rPr>
              <a:t>End-use Products</a:t>
            </a:r>
          </a:p>
        </p:txBody>
      </p:sp>
      <p:sp>
        <p:nvSpPr>
          <p:cNvPr id="6" name="TextBox 5">
            <a:extLst>
              <a:ext uri="{FF2B5EF4-FFF2-40B4-BE49-F238E27FC236}">
                <a16:creationId xmlns:a16="http://schemas.microsoft.com/office/drawing/2014/main" id="{37E897C8-1C88-4836-E096-660BE55299A3}"/>
              </a:ext>
            </a:extLst>
          </p:cNvPr>
          <p:cNvSpPr txBox="1"/>
          <p:nvPr/>
        </p:nvSpPr>
        <p:spPr>
          <a:xfrm>
            <a:off x="7821382" y="2867085"/>
            <a:ext cx="2351926" cy="338554"/>
          </a:xfrm>
          <a:prstGeom prst="rect">
            <a:avLst/>
          </a:prstGeom>
          <a:noFill/>
        </p:spPr>
        <p:txBody>
          <a:bodyPr wrap="none" rtlCol="0">
            <a:spAutoFit/>
          </a:bodyPr>
          <a:lstStyle/>
          <a:p>
            <a:pPr marL="0" indent="0" algn="l">
              <a:buClr>
                <a:schemeClr val="bg2"/>
              </a:buClr>
              <a:buSzPct val="80000"/>
              <a:buFont typeface="Arial" panose="020B0604020202020204" pitchFamily="34" charset="0"/>
              <a:buNone/>
            </a:pPr>
            <a:r>
              <a:rPr lang="en-US" sz="1600" b="1">
                <a:solidFill>
                  <a:schemeClr val="tx1">
                    <a:lumMod val="65000"/>
                    <a:lumOff val="35000"/>
                  </a:schemeClr>
                </a:solidFill>
                <a:latin typeface="Arial" panose="020B0604020202020204" pitchFamily="34" charset="0"/>
                <a:cs typeface="Arial" panose="020B0604020202020204" pitchFamily="34" charset="0"/>
                <a:sym typeface="Calibri" panose="020F0502020204030204" pitchFamily="34" charset="0"/>
              </a:rPr>
              <a:t>Intermediate</a:t>
            </a:r>
            <a:r>
              <a:rPr lang="en-US" sz="1600" b="1" i="0" u="none" strike="noStrike" cap="none">
                <a:solidFill>
                  <a:schemeClr val="tx1">
                    <a:lumMod val="65000"/>
                    <a:lumOff val="35000"/>
                  </a:schemeClr>
                </a:solidFill>
                <a:latin typeface="Arial" panose="020B0604020202020204" pitchFamily="34" charset="0"/>
                <a:cs typeface="Arial" panose="020B0604020202020204" pitchFamily="34" charset="0"/>
                <a:sym typeface="Calibri" panose="020F0502020204030204" pitchFamily="34" charset="0"/>
              </a:rPr>
              <a:t> Products</a:t>
            </a:r>
          </a:p>
        </p:txBody>
      </p:sp>
      <p:grpSp>
        <p:nvGrpSpPr>
          <p:cNvPr id="7" name="Group 6">
            <a:extLst>
              <a:ext uri="{FF2B5EF4-FFF2-40B4-BE49-F238E27FC236}">
                <a16:creationId xmlns:a16="http://schemas.microsoft.com/office/drawing/2014/main" id="{C85E8FBF-585E-B656-6C19-8E3328019F98}"/>
              </a:ext>
            </a:extLst>
          </p:cNvPr>
          <p:cNvGrpSpPr/>
          <p:nvPr/>
        </p:nvGrpSpPr>
        <p:grpSpPr>
          <a:xfrm>
            <a:off x="6383419" y="3281517"/>
            <a:ext cx="1008000" cy="1296000"/>
            <a:chOff x="5352347" y="1127003"/>
            <a:chExt cx="1008000" cy="1296000"/>
          </a:xfrm>
        </p:grpSpPr>
        <p:sp>
          <p:nvSpPr>
            <p:cNvPr id="8" name="Rectangle 7">
              <a:extLst>
                <a:ext uri="{FF2B5EF4-FFF2-40B4-BE49-F238E27FC236}">
                  <a16:creationId xmlns:a16="http://schemas.microsoft.com/office/drawing/2014/main" id="{B3103543-9EA5-EFAF-8384-1A05D49DCA37}"/>
                </a:ext>
              </a:extLst>
            </p:cNvPr>
            <p:cNvSpPr>
              <a:spLocks/>
            </p:cNvSpPr>
            <p:nvPr/>
          </p:nvSpPr>
          <p:spPr>
            <a:xfrm>
              <a:off x="5352347" y="1127003"/>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ICT</a:t>
              </a:r>
            </a:p>
          </p:txBody>
        </p:sp>
        <p:pic>
          <p:nvPicPr>
            <p:cNvPr id="9" name="Graphic 8">
              <a:extLst>
                <a:ext uri="{FF2B5EF4-FFF2-40B4-BE49-F238E27FC236}">
                  <a16:creationId xmlns:a16="http://schemas.microsoft.com/office/drawing/2014/main" id="{2C4B47E7-1B3D-62C1-975B-D331A018CAC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49592" y="1285200"/>
              <a:ext cx="613509" cy="613509"/>
            </a:xfrm>
            <a:prstGeom prst="rect">
              <a:avLst/>
            </a:prstGeom>
          </p:spPr>
        </p:pic>
      </p:grpSp>
      <p:grpSp>
        <p:nvGrpSpPr>
          <p:cNvPr id="10" name="Group 9">
            <a:extLst>
              <a:ext uri="{FF2B5EF4-FFF2-40B4-BE49-F238E27FC236}">
                <a16:creationId xmlns:a16="http://schemas.microsoft.com/office/drawing/2014/main" id="{7145B259-4141-FB30-65E0-5DA4E193FF7E}"/>
              </a:ext>
            </a:extLst>
          </p:cNvPr>
          <p:cNvGrpSpPr/>
          <p:nvPr/>
        </p:nvGrpSpPr>
        <p:grpSpPr>
          <a:xfrm>
            <a:off x="3352000" y="3281517"/>
            <a:ext cx="1008000" cy="1296000"/>
            <a:chOff x="3939195" y="1116466"/>
            <a:chExt cx="1008000" cy="1296000"/>
          </a:xfrm>
        </p:grpSpPr>
        <p:sp>
          <p:nvSpPr>
            <p:cNvPr id="11" name="Rectangle 10">
              <a:extLst>
                <a:ext uri="{FF2B5EF4-FFF2-40B4-BE49-F238E27FC236}">
                  <a16:creationId xmlns:a16="http://schemas.microsoft.com/office/drawing/2014/main" id="{E226B1DB-0B99-5E65-9EAA-997311648C63}"/>
                </a:ext>
              </a:extLst>
            </p:cNvPr>
            <p:cNvSpPr>
              <a:spLocks/>
            </p:cNvSpPr>
            <p:nvPr/>
          </p:nvSpPr>
          <p:spPr>
            <a:xfrm>
              <a:off x="3939195" y="1116466"/>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Construction</a:t>
              </a:r>
            </a:p>
          </p:txBody>
        </p:sp>
        <p:pic>
          <p:nvPicPr>
            <p:cNvPr id="12" name="Graphic 11">
              <a:extLst>
                <a:ext uri="{FF2B5EF4-FFF2-40B4-BE49-F238E27FC236}">
                  <a16:creationId xmlns:a16="http://schemas.microsoft.com/office/drawing/2014/main" id="{6ECE1FF0-D76B-DDBA-68E8-DF1A4A158ED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86775" y="1335534"/>
              <a:ext cx="512841" cy="512841"/>
            </a:xfrm>
            <a:prstGeom prst="rect">
              <a:avLst/>
            </a:prstGeom>
          </p:spPr>
        </p:pic>
      </p:grpSp>
      <p:grpSp>
        <p:nvGrpSpPr>
          <p:cNvPr id="13" name="Group 12">
            <a:extLst>
              <a:ext uri="{FF2B5EF4-FFF2-40B4-BE49-F238E27FC236}">
                <a16:creationId xmlns:a16="http://schemas.microsoft.com/office/drawing/2014/main" id="{6B741BF5-ED8E-0BC7-F753-6C5724108075}"/>
              </a:ext>
            </a:extLst>
          </p:cNvPr>
          <p:cNvGrpSpPr/>
          <p:nvPr/>
        </p:nvGrpSpPr>
        <p:grpSpPr>
          <a:xfrm>
            <a:off x="317611" y="3281517"/>
            <a:ext cx="1008000" cy="1296000"/>
            <a:chOff x="126440" y="2965471"/>
            <a:chExt cx="1008000" cy="1296000"/>
          </a:xfrm>
        </p:grpSpPr>
        <p:sp>
          <p:nvSpPr>
            <p:cNvPr id="14" name="Rectangle 13">
              <a:extLst>
                <a:ext uri="{FF2B5EF4-FFF2-40B4-BE49-F238E27FC236}">
                  <a16:creationId xmlns:a16="http://schemas.microsoft.com/office/drawing/2014/main" id="{BAD9A60E-150E-52E5-93F6-53620CDF0CEF}"/>
                </a:ext>
              </a:extLst>
            </p:cNvPr>
            <p:cNvSpPr>
              <a:spLocks/>
            </p:cNvSpPr>
            <p:nvPr/>
          </p:nvSpPr>
          <p:spPr>
            <a:xfrm>
              <a:off x="126440" y="2965471"/>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Textile</a:t>
              </a:r>
            </a:p>
          </p:txBody>
        </p:sp>
        <p:pic>
          <p:nvPicPr>
            <p:cNvPr id="15" name="Graphic 14">
              <a:extLst>
                <a:ext uri="{FF2B5EF4-FFF2-40B4-BE49-F238E27FC236}">
                  <a16:creationId xmlns:a16="http://schemas.microsoft.com/office/drawing/2014/main" id="{7AB3B068-1C5B-776F-FAD1-BADB9AE9401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2216" y="3161579"/>
              <a:ext cx="536448" cy="536448"/>
            </a:xfrm>
            <a:prstGeom prst="rect">
              <a:avLst/>
            </a:prstGeom>
          </p:spPr>
        </p:pic>
      </p:grpSp>
      <p:grpSp>
        <p:nvGrpSpPr>
          <p:cNvPr id="16" name="Group 15">
            <a:extLst>
              <a:ext uri="{FF2B5EF4-FFF2-40B4-BE49-F238E27FC236}">
                <a16:creationId xmlns:a16="http://schemas.microsoft.com/office/drawing/2014/main" id="{46BEAFA0-64C4-A7AE-B316-565BE20DDC8B}"/>
              </a:ext>
            </a:extLst>
          </p:cNvPr>
          <p:cNvGrpSpPr/>
          <p:nvPr/>
        </p:nvGrpSpPr>
        <p:grpSpPr>
          <a:xfrm>
            <a:off x="1329074" y="3281517"/>
            <a:ext cx="1008000" cy="1296000"/>
            <a:chOff x="1337184" y="2969210"/>
            <a:chExt cx="1008000" cy="1296000"/>
          </a:xfrm>
        </p:grpSpPr>
        <p:sp>
          <p:nvSpPr>
            <p:cNvPr id="17" name="Rectangle 16">
              <a:extLst>
                <a:ext uri="{FF2B5EF4-FFF2-40B4-BE49-F238E27FC236}">
                  <a16:creationId xmlns:a16="http://schemas.microsoft.com/office/drawing/2014/main" id="{5FB275BD-67DC-3283-9984-567B7C4D5E56}"/>
                </a:ext>
              </a:extLst>
            </p:cNvPr>
            <p:cNvSpPr>
              <a:spLocks/>
            </p:cNvSpPr>
            <p:nvPr/>
          </p:nvSpPr>
          <p:spPr>
            <a:xfrm>
              <a:off x="1337184" y="2969210"/>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Furniture</a:t>
              </a:r>
            </a:p>
          </p:txBody>
        </p:sp>
        <p:pic>
          <p:nvPicPr>
            <p:cNvPr id="18" name="Graphic 17">
              <a:extLst>
                <a:ext uri="{FF2B5EF4-FFF2-40B4-BE49-F238E27FC236}">
                  <a16:creationId xmlns:a16="http://schemas.microsoft.com/office/drawing/2014/main" id="{4FF69F59-92D0-19F2-DC31-0E8F1CCC2DC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72960" y="3161579"/>
              <a:ext cx="536448" cy="536448"/>
            </a:xfrm>
            <a:prstGeom prst="rect">
              <a:avLst/>
            </a:prstGeom>
          </p:spPr>
        </p:pic>
      </p:grpSp>
      <p:grpSp>
        <p:nvGrpSpPr>
          <p:cNvPr id="19" name="Group 18">
            <a:extLst>
              <a:ext uri="{FF2B5EF4-FFF2-40B4-BE49-F238E27FC236}">
                <a16:creationId xmlns:a16="http://schemas.microsoft.com/office/drawing/2014/main" id="{C5AF164D-9400-E470-6BC8-034B954CC5A6}"/>
              </a:ext>
            </a:extLst>
          </p:cNvPr>
          <p:cNvGrpSpPr/>
          <p:nvPr/>
        </p:nvGrpSpPr>
        <p:grpSpPr>
          <a:xfrm>
            <a:off x="4363463" y="3281517"/>
            <a:ext cx="1008000" cy="1296000"/>
            <a:chOff x="2547928" y="2972949"/>
            <a:chExt cx="1008000" cy="1296000"/>
          </a:xfrm>
        </p:grpSpPr>
        <p:sp>
          <p:nvSpPr>
            <p:cNvPr id="20" name="Rectangle 19">
              <a:extLst>
                <a:ext uri="{FF2B5EF4-FFF2-40B4-BE49-F238E27FC236}">
                  <a16:creationId xmlns:a16="http://schemas.microsoft.com/office/drawing/2014/main" id="{1A705FC4-6805-1BAF-840F-7D71DE55ECC2}"/>
                </a:ext>
              </a:extLst>
            </p:cNvPr>
            <p:cNvSpPr>
              <a:spLocks/>
            </p:cNvSpPr>
            <p:nvPr/>
          </p:nvSpPr>
          <p:spPr>
            <a:xfrm>
              <a:off x="2547928" y="2972949"/>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Tires</a:t>
              </a:r>
            </a:p>
          </p:txBody>
        </p:sp>
        <p:pic>
          <p:nvPicPr>
            <p:cNvPr id="21" name="Graphic 20">
              <a:extLst>
                <a:ext uri="{FF2B5EF4-FFF2-40B4-BE49-F238E27FC236}">
                  <a16:creationId xmlns:a16="http://schemas.microsoft.com/office/drawing/2014/main" id="{052F864E-A322-6183-D3D4-E4E5F3F3FCE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754356" y="3132231"/>
              <a:ext cx="595144" cy="595144"/>
            </a:xfrm>
            <a:prstGeom prst="rect">
              <a:avLst/>
            </a:prstGeom>
          </p:spPr>
        </p:pic>
      </p:grpSp>
      <p:grpSp>
        <p:nvGrpSpPr>
          <p:cNvPr id="22" name="Group 21">
            <a:extLst>
              <a:ext uri="{FF2B5EF4-FFF2-40B4-BE49-F238E27FC236}">
                <a16:creationId xmlns:a16="http://schemas.microsoft.com/office/drawing/2014/main" id="{00C09060-DC1F-ED6E-6F3A-984C711ABC77}"/>
              </a:ext>
            </a:extLst>
          </p:cNvPr>
          <p:cNvGrpSpPr/>
          <p:nvPr/>
        </p:nvGrpSpPr>
        <p:grpSpPr>
          <a:xfrm>
            <a:off x="1328579" y="4680794"/>
            <a:ext cx="1008000" cy="1296000"/>
            <a:chOff x="3758672" y="2976688"/>
            <a:chExt cx="1008000" cy="1296000"/>
          </a:xfrm>
        </p:grpSpPr>
        <p:sp>
          <p:nvSpPr>
            <p:cNvPr id="23" name="Rectangle 22">
              <a:extLst>
                <a:ext uri="{FF2B5EF4-FFF2-40B4-BE49-F238E27FC236}">
                  <a16:creationId xmlns:a16="http://schemas.microsoft.com/office/drawing/2014/main" id="{B6E0350D-17FD-3FE8-E9B9-6E87F21F4689}"/>
                </a:ext>
              </a:extLst>
            </p:cNvPr>
            <p:cNvSpPr>
              <a:spLocks/>
            </p:cNvSpPr>
            <p:nvPr/>
          </p:nvSpPr>
          <p:spPr>
            <a:xfrm>
              <a:off x="3758672" y="2976688"/>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Ceramics</a:t>
              </a:r>
            </a:p>
          </p:txBody>
        </p:sp>
        <p:pic>
          <p:nvPicPr>
            <p:cNvPr id="24" name="Graphic 23">
              <a:extLst>
                <a:ext uri="{FF2B5EF4-FFF2-40B4-BE49-F238E27FC236}">
                  <a16:creationId xmlns:a16="http://schemas.microsoft.com/office/drawing/2014/main" id="{29C00D75-6FE4-A93D-276A-45893458F48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939195" y="3106326"/>
              <a:ext cx="646954" cy="646954"/>
            </a:xfrm>
            <a:prstGeom prst="rect">
              <a:avLst/>
            </a:prstGeom>
          </p:spPr>
        </p:pic>
      </p:grpSp>
      <p:grpSp>
        <p:nvGrpSpPr>
          <p:cNvPr id="25" name="Group 24">
            <a:extLst>
              <a:ext uri="{FF2B5EF4-FFF2-40B4-BE49-F238E27FC236}">
                <a16:creationId xmlns:a16="http://schemas.microsoft.com/office/drawing/2014/main" id="{78BD3C82-8641-70F9-8DFF-3B484396583F}"/>
              </a:ext>
            </a:extLst>
          </p:cNvPr>
          <p:cNvGrpSpPr/>
          <p:nvPr/>
        </p:nvGrpSpPr>
        <p:grpSpPr>
          <a:xfrm>
            <a:off x="5374926" y="3281517"/>
            <a:ext cx="1008000" cy="1296000"/>
            <a:chOff x="4969416" y="2980427"/>
            <a:chExt cx="1008000" cy="1296000"/>
          </a:xfrm>
        </p:grpSpPr>
        <p:sp>
          <p:nvSpPr>
            <p:cNvPr id="26" name="Rectangle 25">
              <a:extLst>
                <a:ext uri="{FF2B5EF4-FFF2-40B4-BE49-F238E27FC236}">
                  <a16:creationId xmlns:a16="http://schemas.microsoft.com/office/drawing/2014/main" id="{20F8BF0F-E4EE-BE10-D3FF-796AC50BD89A}"/>
                </a:ext>
              </a:extLst>
            </p:cNvPr>
            <p:cNvSpPr>
              <a:spLocks/>
            </p:cNvSpPr>
            <p:nvPr/>
          </p:nvSpPr>
          <p:spPr>
            <a:xfrm>
              <a:off x="4969416" y="2980427"/>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Detergents</a:t>
              </a:r>
            </a:p>
          </p:txBody>
        </p:sp>
        <p:pic>
          <p:nvPicPr>
            <p:cNvPr id="27" name="Graphic 26">
              <a:extLst>
                <a:ext uri="{FF2B5EF4-FFF2-40B4-BE49-F238E27FC236}">
                  <a16:creationId xmlns:a16="http://schemas.microsoft.com/office/drawing/2014/main" id="{2F65DB59-8941-CD04-92E0-A8FBD127E1B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205192" y="3161579"/>
              <a:ext cx="536448" cy="536448"/>
            </a:xfrm>
            <a:prstGeom prst="rect">
              <a:avLst/>
            </a:prstGeom>
          </p:spPr>
        </p:pic>
      </p:grpSp>
      <p:grpSp>
        <p:nvGrpSpPr>
          <p:cNvPr id="28" name="Group 27">
            <a:extLst>
              <a:ext uri="{FF2B5EF4-FFF2-40B4-BE49-F238E27FC236}">
                <a16:creationId xmlns:a16="http://schemas.microsoft.com/office/drawing/2014/main" id="{98B3B62D-47C0-BDE8-314C-1AB2889F67E9}"/>
              </a:ext>
            </a:extLst>
          </p:cNvPr>
          <p:cNvGrpSpPr/>
          <p:nvPr/>
        </p:nvGrpSpPr>
        <p:grpSpPr>
          <a:xfrm>
            <a:off x="2339547" y="3281517"/>
            <a:ext cx="1008000" cy="1296000"/>
            <a:chOff x="6180161" y="2984166"/>
            <a:chExt cx="1008000" cy="1296000"/>
          </a:xfrm>
        </p:grpSpPr>
        <p:sp>
          <p:nvSpPr>
            <p:cNvPr id="29" name="Rectangle 28">
              <a:extLst>
                <a:ext uri="{FF2B5EF4-FFF2-40B4-BE49-F238E27FC236}">
                  <a16:creationId xmlns:a16="http://schemas.microsoft.com/office/drawing/2014/main" id="{48343312-192E-1F49-576A-D4CCF04F3E0D}"/>
                </a:ext>
              </a:extLst>
            </p:cNvPr>
            <p:cNvSpPr>
              <a:spLocks/>
            </p:cNvSpPr>
            <p:nvPr/>
          </p:nvSpPr>
          <p:spPr>
            <a:xfrm>
              <a:off x="6180161" y="2984166"/>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Mattresses</a:t>
              </a:r>
            </a:p>
          </p:txBody>
        </p:sp>
        <p:pic>
          <p:nvPicPr>
            <p:cNvPr id="30" name="Graphic 29">
              <a:extLst>
                <a:ext uri="{FF2B5EF4-FFF2-40B4-BE49-F238E27FC236}">
                  <a16:creationId xmlns:a16="http://schemas.microsoft.com/office/drawing/2014/main" id="{B08F8938-BDBA-F35A-53DC-93E8D8607DD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415937" y="3161579"/>
              <a:ext cx="536448" cy="536448"/>
            </a:xfrm>
            <a:prstGeom prst="rect">
              <a:avLst/>
            </a:prstGeom>
          </p:spPr>
        </p:pic>
      </p:grpSp>
      <p:grpSp>
        <p:nvGrpSpPr>
          <p:cNvPr id="31" name="Group 30">
            <a:extLst>
              <a:ext uri="{FF2B5EF4-FFF2-40B4-BE49-F238E27FC236}">
                <a16:creationId xmlns:a16="http://schemas.microsoft.com/office/drawing/2014/main" id="{70344770-F30D-9445-5C1E-2DB51BE22952}"/>
              </a:ext>
            </a:extLst>
          </p:cNvPr>
          <p:cNvGrpSpPr/>
          <p:nvPr/>
        </p:nvGrpSpPr>
        <p:grpSpPr>
          <a:xfrm>
            <a:off x="317611" y="4682663"/>
            <a:ext cx="1008000" cy="1296000"/>
            <a:chOff x="126440" y="4468206"/>
            <a:chExt cx="1008000" cy="1296000"/>
          </a:xfrm>
        </p:grpSpPr>
        <p:sp>
          <p:nvSpPr>
            <p:cNvPr id="32" name="Rectangle 31">
              <a:extLst>
                <a:ext uri="{FF2B5EF4-FFF2-40B4-BE49-F238E27FC236}">
                  <a16:creationId xmlns:a16="http://schemas.microsoft.com/office/drawing/2014/main" id="{47C996A7-DEBE-BD21-A746-06DA76DF2709}"/>
                </a:ext>
              </a:extLst>
            </p:cNvPr>
            <p:cNvSpPr>
              <a:spLocks/>
            </p:cNvSpPr>
            <p:nvPr/>
          </p:nvSpPr>
          <p:spPr>
            <a:xfrm>
              <a:off x="126440" y="4468206"/>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Lubricants</a:t>
              </a:r>
            </a:p>
          </p:txBody>
        </p:sp>
        <p:pic>
          <p:nvPicPr>
            <p:cNvPr id="33" name="Graphic 32">
              <a:extLst>
                <a:ext uri="{FF2B5EF4-FFF2-40B4-BE49-F238E27FC236}">
                  <a16:creationId xmlns:a16="http://schemas.microsoft.com/office/drawing/2014/main" id="{84DFD6B2-B13B-C013-489A-80A028544C9A}"/>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27244" y="4585996"/>
              <a:ext cx="606392" cy="606392"/>
            </a:xfrm>
            <a:prstGeom prst="rect">
              <a:avLst/>
            </a:prstGeom>
          </p:spPr>
        </p:pic>
      </p:grpSp>
      <p:grpSp>
        <p:nvGrpSpPr>
          <p:cNvPr id="34" name="Group 33">
            <a:extLst>
              <a:ext uri="{FF2B5EF4-FFF2-40B4-BE49-F238E27FC236}">
                <a16:creationId xmlns:a16="http://schemas.microsoft.com/office/drawing/2014/main" id="{D47CD3D7-ACC8-7446-67E2-57D0EB4BC72B}"/>
              </a:ext>
            </a:extLst>
          </p:cNvPr>
          <p:cNvGrpSpPr/>
          <p:nvPr/>
        </p:nvGrpSpPr>
        <p:grpSpPr>
          <a:xfrm>
            <a:off x="3350515" y="4682663"/>
            <a:ext cx="1008000" cy="1296000"/>
            <a:chOff x="2547928" y="4475684"/>
            <a:chExt cx="1008000" cy="1296000"/>
          </a:xfrm>
        </p:grpSpPr>
        <p:sp>
          <p:nvSpPr>
            <p:cNvPr id="35" name="Rectangle 34">
              <a:extLst>
                <a:ext uri="{FF2B5EF4-FFF2-40B4-BE49-F238E27FC236}">
                  <a16:creationId xmlns:a16="http://schemas.microsoft.com/office/drawing/2014/main" id="{3BFF4DAE-B8C6-73EE-9DCC-3FB8F2E4D01A}"/>
                </a:ext>
              </a:extLst>
            </p:cNvPr>
            <p:cNvSpPr>
              <a:spLocks/>
            </p:cNvSpPr>
            <p:nvPr/>
          </p:nvSpPr>
          <p:spPr>
            <a:xfrm>
              <a:off x="2547928" y="4475684"/>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Cosmetics</a:t>
              </a:r>
            </a:p>
          </p:txBody>
        </p:sp>
        <p:pic>
          <p:nvPicPr>
            <p:cNvPr id="36" name="Graphic 35">
              <a:extLst>
                <a:ext uri="{FF2B5EF4-FFF2-40B4-BE49-F238E27FC236}">
                  <a16:creationId xmlns:a16="http://schemas.microsoft.com/office/drawing/2014/main" id="{F169D4F2-3081-12AE-ED34-9DDB921A4160}"/>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2748732" y="4585996"/>
              <a:ext cx="606392" cy="606392"/>
            </a:xfrm>
            <a:prstGeom prst="rect">
              <a:avLst/>
            </a:prstGeom>
          </p:spPr>
        </p:pic>
      </p:grpSp>
      <p:grpSp>
        <p:nvGrpSpPr>
          <p:cNvPr id="37" name="Group 36">
            <a:extLst>
              <a:ext uri="{FF2B5EF4-FFF2-40B4-BE49-F238E27FC236}">
                <a16:creationId xmlns:a16="http://schemas.microsoft.com/office/drawing/2014/main" id="{1F974BE6-0113-A3B7-0902-1190AE6A4A94}"/>
              </a:ext>
            </a:extLst>
          </p:cNvPr>
          <p:cNvGrpSpPr/>
          <p:nvPr/>
        </p:nvGrpSpPr>
        <p:grpSpPr>
          <a:xfrm>
            <a:off x="4361483" y="4686402"/>
            <a:ext cx="1008000" cy="1296000"/>
            <a:chOff x="3758672" y="4479423"/>
            <a:chExt cx="1008000" cy="1296000"/>
          </a:xfrm>
        </p:grpSpPr>
        <p:sp>
          <p:nvSpPr>
            <p:cNvPr id="38" name="Rectangle 37">
              <a:extLst>
                <a:ext uri="{FF2B5EF4-FFF2-40B4-BE49-F238E27FC236}">
                  <a16:creationId xmlns:a16="http://schemas.microsoft.com/office/drawing/2014/main" id="{98F83809-1C55-24C0-EC8C-8FE5B55B4033}"/>
                </a:ext>
              </a:extLst>
            </p:cNvPr>
            <p:cNvSpPr>
              <a:spLocks/>
            </p:cNvSpPr>
            <p:nvPr/>
          </p:nvSpPr>
          <p:spPr>
            <a:xfrm>
              <a:off x="3758672" y="4479423"/>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Toys</a:t>
              </a:r>
            </a:p>
          </p:txBody>
        </p:sp>
        <p:pic>
          <p:nvPicPr>
            <p:cNvPr id="39" name="Graphic 38">
              <a:extLst>
                <a:ext uri="{FF2B5EF4-FFF2-40B4-BE49-F238E27FC236}">
                  <a16:creationId xmlns:a16="http://schemas.microsoft.com/office/drawing/2014/main" id="{4DC7EC8D-CF14-0218-47C5-B0999167CA43}"/>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3994448" y="4620968"/>
              <a:ext cx="536448" cy="536448"/>
            </a:xfrm>
            <a:prstGeom prst="rect">
              <a:avLst/>
            </a:prstGeom>
          </p:spPr>
        </p:pic>
      </p:grpSp>
      <p:grpSp>
        <p:nvGrpSpPr>
          <p:cNvPr id="40" name="Group 39">
            <a:extLst>
              <a:ext uri="{FF2B5EF4-FFF2-40B4-BE49-F238E27FC236}">
                <a16:creationId xmlns:a16="http://schemas.microsoft.com/office/drawing/2014/main" id="{2A496C13-CAE1-CA69-4294-CFE7BC401251}"/>
              </a:ext>
            </a:extLst>
          </p:cNvPr>
          <p:cNvGrpSpPr/>
          <p:nvPr/>
        </p:nvGrpSpPr>
        <p:grpSpPr>
          <a:xfrm>
            <a:off x="5372451" y="4690141"/>
            <a:ext cx="1008000" cy="1296000"/>
            <a:chOff x="4969416" y="4483162"/>
            <a:chExt cx="1008000" cy="1296000"/>
          </a:xfrm>
        </p:grpSpPr>
        <p:sp>
          <p:nvSpPr>
            <p:cNvPr id="41" name="Rectangle 40">
              <a:extLst>
                <a:ext uri="{FF2B5EF4-FFF2-40B4-BE49-F238E27FC236}">
                  <a16:creationId xmlns:a16="http://schemas.microsoft.com/office/drawing/2014/main" id="{3DD7F351-B4FA-87F4-7D82-AF34151D13BE}"/>
                </a:ext>
              </a:extLst>
            </p:cNvPr>
            <p:cNvSpPr>
              <a:spLocks/>
            </p:cNvSpPr>
            <p:nvPr/>
          </p:nvSpPr>
          <p:spPr>
            <a:xfrm>
              <a:off x="4969416" y="4483162"/>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b"/>
            <a:lstStyle/>
            <a:p>
              <a:pPr algn="ctr">
                <a:lnSpc>
                  <a:spcPct val="85000"/>
                </a:lnSpc>
              </a:pPr>
              <a:r>
                <a:rPr lang="en-US" sz="1400" b="1">
                  <a:solidFill>
                    <a:schemeClr val="tx1">
                      <a:lumMod val="65000"/>
                      <a:lumOff val="35000"/>
                    </a:schemeClr>
                  </a:solidFill>
                  <a:latin typeface="Arial Narrow" panose="020B0604020202020204" pitchFamily="34" charset="0"/>
                  <a:cs typeface="Arial Narrow" panose="020B0604020202020204" pitchFamily="34" charset="0"/>
                </a:rPr>
                <a:t>Fishing Nets &amp; Gear</a:t>
              </a:r>
            </a:p>
          </p:txBody>
        </p:sp>
        <p:pic>
          <p:nvPicPr>
            <p:cNvPr id="42" name="Graphic 41">
              <a:extLst>
                <a:ext uri="{FF2B5EF4-FFF2-40B4-BE49-F238E27FC236}">
                  <a16:creationId xmlns:a16="http://schemas.microsoft.com/office/drawing/2014/main" id="{FE9F04A1-DCA3-0EA7-ABF1-C023556E056E}"/>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170220" y="4585996"/>
              <a:ext cx="606392" cy="606392"/>
            </a:xfrm>
            <a:prstGeom prst="rect">
              <a:avLst/>
            </a:prstGeom>
          </p:spPr>
        </p:pic>
      </p:grpSp>
      <p:grpSp>
        <p:nvGrpSpPr>
          <p:cNvPr id="43" name="Group 42">
            <a:extLst>
              <a:ext uri="{FF2B5EF4-FFF2-40B4-BE49-F238E27FC236}">
                <a16:creationId xmlns:a16="http://schemas.microsoft.com/office/drawing/2014/main" id="{AA78523B-2FE9-2D20-4D4D-01DFE4E11382}"/>
              </a:ext>
            </a:extLst>
          </p:cNvPr>
          <p:cNvGrpSpPr/>
          <p:nvPr/>
        </p:nvGrpSpPr>
        <p:grpSpPr>
          <a:xfrm>
            <a:off x="6383419" y="4693880"/>
            <a:ext cx="1008000" cy="1296000"/>
            <a:chOff x="6180161" y="4486901"/>
            <a:chExt cx="1008000" cy="1296000"/>
          </a:xfrm>
        </p:grpSpPr>
        <p:sp>
          <p:nvSpPr>
            <p:cNvPr id="44" name="Rectangle 43">
              <a:extLst>
                <a:ext uri="{FF2B5EF4-FFF2-40B4-BE49-F238E27FC236}">
                  <a16:creationId xmlns:a16="http://schemas.microsoft.com/office/drawing/2014/main" id="{5DFA7DB9-7679-2492-DEAD-F3AD0FA96846}"/>
                </a:ext>
              </a:extLst>
            </p:cNvPr>
            <p:cNvSpPr>
              <a:spLocks/>
            </p:cNvSpPr>
            <p:nvPr/>
          </p:nvSpPr>
          <p:spPr>
            <a:xfrm>
              <a:off x="6180161" y="4486901"/>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lnSpc>
                  <a:spcPct val="85000"/>
                </a:lnSpc>
              </a:pPr>
              <a:r>
                <a:rPr lang="en-US" sz="1400" b="1">
                  <a:solidFill>
                    <a:schemeClr val="tx1">
                      <a:lumMod val="65000"/>
                      <a:lumOff val="35000"/>
                    </a:schemeClr>
                  </a:solidFill>
                  <a:latin typeface="Arial Narrow" panose="020B0604020202020204" pitchFamily="34" charset="0"/>
                  <a:cs typeface="Arial Narrow" panose="020B0604020202020204" pitchFamily="34" charset="0"/>
                </a:rPr>
                <a:t>Absorbent Hygiene Products</a:t>
              </a:r>
            </a:p>
          </p:txBody>
        </p:sp>
        <p:pic>
          <p:nvPicPr>
            <p:cNvPr id="45" name="Graphic 44">
              <a:extLst>
                <a:ext uri="{FF2B5EF4-FFF2-40B4-BE49-F238E27FC236}">
                  <a16:creationId xmlns:a16="http://schemas.microsoft.com/office/drawing/2014/main" id="{3E75CFD8-CB21-92FA-A691-011B4905C917}"/>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6415937" y="4620968"/>
              <a:ext cx="536448" cy="536448"/>
            </a:xfrm>
            <a:prstGeom prst="rect">
              <a:avLst/>
            </a:prstGeom>
          </p:spPr>
        </p:pic>
      </p:grpSp>
      <p:grpSp>
        <p:nvGrpSpPr>
          <p:cNvPr id="46" name="Group 45">
            <a:extLst>
              <a:ext uri="{FF2B5EF4-FFF2-40B4-BE49-F238E27FC236}">
                <a16:creationId xmlns:a16="http://schemas.microsoft.com/office/drawing/2014/main" id="{F7B3B408-45A6-C3A7-F1C2-B8D4CDAC7C9F}"/>
              </a:ext>
            </a:extLst>
          </p:cNvPr>
          <p:cNvGrpSpPr/>
          <p:nvPr/>
        </p:nvGrpSpPr>
        <p:grpSpPr>
          <a:xfrm>
            <a:off x="2339547" y="4680794"/>
            <a:ext cx="1008000" cy="1296000"/>
            <a:chOff x="1337184" y="4471945"/>
            <a:chExt cx="1008000" cy="1296000"/>
          </a:xfrm>
        </p:grpSpPr>
        <p:sp>
          <p:nvSpPr>
            <p:cNvPr id="47" name="Rectangle 46">
              <a:extLst>
                <a:ext uri="{FF2B5EF4-FFF2-40B4-BE49-F238E27FC236}">
                  <a16:creationId xmlns:a16="http://schemas.microsoft.com/office/drawing/2014/main" id="{9DB494FF-83D1-7AF8-1BCB-D8ACB52A6603}"/>
                </a:ext>
              </a:extLst>
            </p:cNvPr>
            <p:cNvSpPr>
              <a:spLocks/>
            </p:cNvSpPr>
            <p:nvPr/>
          </p:nvSpPr>
          <p:spPr>
            <a:xfrm>
              <a:off x="1337184" y="4471945"/>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lnSpc>
                  <a:spcPct val="85000"/>
                </a:lnSpc>
              </a:pPr>
              <a:r>
                <a:rPr lang="en-US" sz="1400" b="1">
                  <a:solidFill>
                    <a:schemeClr val="tx1">
                      <a:lumMod val="65000"/>
                      <a:lumOff val="35000"/>
                    </a:schemeClr>
                  </a:solidFill>
                  <a:latin typeface="Arial Narrow" panose="020B0604020202020204" pitchFamily="34" charset="0"/>
                  <a:cs typeface="Arial Narrow" panose="020B0604020202020204" pitchFamily="34" charset="0"/>
                </a:rPr>
                <a:t>Paints</a:t>
              </a:r>
            </a:p>
          </p:txBody>
        </p:sp>
        <p:sp>
          <p:nvSpPr>
            <p:cNvPr id="48" name="Freeform 47">
              <a:extLst>
                <a:ext uri="{FF2B5EF4-FFF2-40B4-BE49-F238E27FC236}">
                  <a16:creationId xmlns:a16="http://schemas.microsoft.com/office/drawing/2014/main" id="{65B851BE-9DF0-BA38-AEC1-24B119D7E497}"/>
                </a:ext>
              </a:extLst>
            </p:cNvPr>
            <p:cNvSpPr/>
            <p:nvPr/>
          </p:nvSpPr>
          <p:spPr>
            <a:xfrm>
              <a:off x="1598629" y="4620968"/>
              <a:ext cx="485111" cy="536448"/>
            </a:xfrm>
            <a:custGeom>
              <a:avLst/>
              <a:gdLst>
                <a:gd name="connsiteX0" fmla="*/ 3359204 w 3591476"/>
                <a:gd name="connsiteY0" fmla="*/ 461909 h 3971547"/>
                <a:gd name="connsiteX1" fmla="*/ 3257072 w 3591476"/>
                <a:gd name="connsiteY1" fmla="*/ 505109 h 3971547"/>
                <a:gd name="connsiteX2" fmla="*/ 3257049 w 3591476"/>
                <a:gd name="connsiteY2" fmla="*/ 505109 h 3971547"/>
                <a:gd name="connsiteX3" fmla="*/ 3268079 w 3591476"/>
                <a:gd name="connsiteY3" fmla="*/ 565785 h 3971547"/>
                <a:gd name="connsiteX4" fmla="*/ 3268079 w 3591476"/>
                <a:gd name="connsiteY4" fmla="*/ 1289647 h 3971547"/>
                <a:gd name="connsiteX5" fmla="*/ 3216307 w 3591476"/>
                <a:gd name="connsiteY5" fmla="*/ 1414708 h 3971547"/>
                <a:gd name="connsiteX6" fmla="*/ 3091200 w 3591476"/>
                <a:gd name="connsiteY6" fmla="*/ 1466298 h 3971547"/>
                <a:gd name="connsiteX7" fmla="*/ 2987992 w 3591476"/>
                <a:gd name="connsiteY7" fmla="*/ 1432385 h 3971547"/>
                <a:gd name="connsiteX8" fmla="*/ 2987992 w 3591476"/>
                <a:gd name="connsiteY8" fmla="*/ 1810512 h 3971547"/>
                <a:gd name="connsiteX9" fmla="*/ 2917806 w 3591476"/>
                <a:gd name="connsiteY9" fmla="*/ 1932070 h 3971547"/>
                <a:gd name="connsiteX10" fmla="*/ 2777434 w 3591476"/>
                <a:gd name="connsiteY10" fmla="*/ 1932070 h 3971547"/>
                <a:gd name="connsiteX11" fmla="*/ 2707248 w 3591476"/>
                <a:gd name="connsiteY11" fmla="*/ 1810512 h 3971547"/>
                <a:gd name="connsiteX12" fmla="*/ 2707248 w 3591476"/>
                <a:gd name="connsiteY12" fmla="*/ 1697772 h 3971547"/>
                <a:gd name="connsiteX13" fmla="*/ 2615631 w 3591476"/>
                <a:gd name="connsiteY13" fmla="*/ 1659847 h 3971547"/>
                <a:gd name="connsiteX14" fmla="*/ 2577707 w 3591476"/>
                <a:gd name="connsiteY14" fmla="*/ 1568230 h 3971547"/>
                <a:gd name="connsiteX15" fmla="*/ 2577707 w 3591476"/>
                <a:gd name="connsiteY15" fmla="*/ 672461 h 3971547"/>
                <a:gd name="connsiteX16" fmla="*/ 1943907 w 3591476"/>
                <a:gd name="connsiteY16" fmla="*/ 715655 h 3971547"/>
                <a:gd name="connsiteX17" fmla="*/ 530136 w 3591476"/>
                <a:gd name="connsiteY17" fmla="*/ 461269 h 3971547"/>
                <a:gd name="connsiteX18" fmla="*/ 509351 w 3591476"/>
                <a:gd name="connsiteY18" fmla="*/ 428877 h 3971547"/>
                <a:gd name="connsiteX19" fmla="*/ 530136 w 3591476"/>
                <a:gd name="connsiteY19" fmla="*/ 396484 h 3971547"/>
                <a:gd name="connsiteX20" fmla="*/ 1945450 w 3591476"/>
                <a:gd name="connsiteY20" fmla="*/ 142098 h 3971547"/>
                <a:gd name="connsiteX21" fmla="*/ 3359233 w 3591476"/>
                <a:gd name="connsiteY21" fmla="*/ 396484 h 3971547"/>
                <a:gd name="connsiteX22" fmla="*/ 3380013 w 3591476"/>
                <a:gd name="connsiteY22" fmla="*/ 428877 h 3971547"/>
                <a:gd name="connsiteX23" fmla="*/ 3359233 w 3591476"/>
                <a:gd name="connsiteY23" fmla="*/ 461269 h 3971547"/>
                <a:gd name="connsiteX24" fmla="*/ 3589833 w 3591476"/>
                <a:gd name="connsiteY24" fmla="*/ 437735 h 3971547"/>
                <a:gd name="connsiteX25" fmla="*/ 3582735 w 3591476"/>
                <a:gd name="connsiteY25" fmla="*/ 388237 h 3971547"/>
                <a:gd name="connsiteX26" fmla="*/ 3549000 w 3591476"/>
                <a:gd name="connsiteY26" fmla="*/ 351335 h 3971547"/>
                <a:gd name="connsiteX27" fmla="*/ 2094418 w 3591476"/>
                <a:gd name="connsiteY27" fmla="*/ 1292 h 3971547"/>
                <a:gd name="connsiteX28" fmla="*/ 2064620 w 3591476"/>
                <a:gd name="connsiteY28" fmla="*/ 1292 h 3971547"/>
                <a:gd name="connsiteX29" fmla="*/ 1954920 w 3591476"/>
                <a:gd name="connsiteY29" fmla="*/ 0 h 3971547"/>
                <a:gd name="connsiteX30" fmla="*/ 1845221 w 3591476"/>
                <a:gd name="connsiteY30" fmla="*/ 1292 h 3971547"/>
                <a:gd name="connsiteX31" fmla="*/ 1815194 w 3591476"/>
                <a:gd name="connsiteY31" fmla="*/ 1292 h 3971547"/>
                <a:gd name="connsiteX32" fmla="*/ 360784 w 3591476"/>
                <a:gd name="connsiteY32" fmla="*/ 351558 h 3971547"/>
                <a:gd name="connsiteX33" fmla="*/ 360807 w 3591476"/>
                <a:gd name="connsiteY33" fmla="*/ 351558 h 3971547"/>
                <a:gd name="connsiteX34" fmla="*/ 327094 w 3591476"/>
                <a:gd name="connsiteY34" fmla="*/ 388460 h 3971547"/>
                <a:gd name="connsiteX35" fmla="*/ 319996 w 3591476"/>
                <a:gd name="connsiteY35" fmla="*/ 437935 h 3971547"/>
                <a:gd name="connsiteX36" fmla="*/ 318904 w 3591476"/>
                <a:gd name="connsiteY36" fmla="*/ 450256 h 3971547"/>
                <a:gd name="connsiteX37" fmla="*/ 318904 w 3591476"/>
                <a:gd name="connsiteY37" fmla="*/ 1996221 h 3971547"/>
                <a:gd name="connsiteX38" fmla="*/ 189334 w 3591476"/>
                <a:gd name="connsiteY38" fmla="*/ 2195332 h 3971547"/>
                <a:gd name="connsiteX39" fmla="*/ 189357 w 3591476"/>
                <a:gd name="connsiteY39" fmla="*/ 2195309 h 3971547"/>
                <a:gd name="connsiteX40" fmla="*/ 3196 w 3591476"/>
                <a:gd name="connsiteY40" fmla="*/ 2672780 h 3971547"/>
                <a:gd name="connsiteX41" fmla="*/ 23262 w 3591476"/>
                <a:gd name="connsiteY41" fmla="*/ 2807328 h 3971547"/>
                <a:gd name="connsiteX42" fmla="*/ 119816 w 3591476"/>
                <a:gd name="connsiteY42" fmla="*/ 2903186 h 3971547"/>
                <a:gd name="connsiteX43" fmla="*/ 227778 w 3591476"/>
                <a:gd name="connsiteY43" fmla="*/ 2930178 h 3971547"/>
                <a:gd name="connsiteX44" fmla="*/ 388021 w 3591476"/>
                <a:gd name="connsiteY44" fmla="*/ 2863221 h 3971547"/>
                <a:gd name="connsiteX45" fmla="*/ 1918613 w 3591476"/>
                <a:gd name="connsiteY45" fmla="*/ 1347088 h 3971547"/>
                <a:gd name="connsiteX46" fmla="*/ 2059836 w 3591476"/>
                <a:gd name="connsiteY46" fmla="*/ 1293533 h 3971547"/>
                <a:gd name="connsiteX47" fmla="*/ 2089863 w 3591476"/>
                <a:gd name="connsiteY47" fmla="*/ 1228748 h 3971547"/>
                <a:gd name="connsiteX48" fmla="*/ 2050595 w 3591476"/>
                <a:gd name="connsiteY48" fmla="*/ 1120854 h 3971547"/>
                <a:gd name="connsiteX49" fmla="*/ 1942816 w 3591476"/>
                <a:gd name="connsiteY49" fmla="*/ 1081278 h 3971547"/>
                <a:gd name="connsiteX50" fmla="*/ 1878031 w 3591476"/>
                <a:gd name="connsiteY50" fmla="*/ 1109562 h 3971547"/>
                <a:gd name="connsiteX51" fmla="*/ 1821886 w 3591476"/>
                <a:gd name="connsiteY51" fmla="*/ 1251431 h 3971547"/>
                <a:gd name="connsiteX52" fmla="*/ 292781 w 3591476"/>
                <a:gd name="connsiteY52" fmla="*/ 2766306 h 3971547"/>
                <a:gd name="connsiteX53" fmla="*/ 240477 w 3591476"/>
                <a:gd name="connsiteY53" fmla="*/ 2792646 h 3971547"/>
                <a:gd name="connsiteX54" fmla="*/ 182859 w 3591476"/>
                <a:gd name="connsiteY54" fmla="*/ 2782068 h 3971547"/>
                <a:gd name="connsiteX55" fmla="*/ 137739 w 3591476"/>
                <a:gd name="connsiteY55" fmla="*/ 2695697 h 3971547"/>
                <a:gd name="connsiteX56" fmla="*/ 304234 w 3591476"/>
                <a:gd name="connsiteY56" fmla="*/ 2269415 h 3971547"/>
                <a:gd name="connsiteX57" fmla="*/ 318921 w 3591476"/>
                <a:gd name="connsiteY57" fmla="*/ 2247824 h 3971547"/>
                <a:gd name="connsiteX58" fmla="*/ 318921 w 3591476"/>
                <a:gd name="connsiteY58" fmla="*/ 2613207 h 3971547"/>
                <a:gd name="connsiteX59" fmla="*/ 318904 w 3591476"/>
                <a:gd name="connsiteY59" fmla="*/ 2613207 h 3971547"/>
                <a:gd name="connsiteX60" fmla="*/ 327140 w 3591476"/>
                <a:gd name="connsiteY60" fmla="*/ 2625911 h 3971547"/>
                <a:gd name="connsiteX61" fmla="*/ 342027 w 3591476"/>
                <a:gd name="connsiteY61" fmla="*/ 2623145 h 3971547"/>
                <a:gd name="connsiteX62" fmla="*/ 1691282 w 3591476"/>
                <a:gd name="connsiteY62" fmla="*/ 1286464 h 3971547"/>
                <a:gd name="connsiteX63" fmla="*/ 1691259 w 3591476"/>
                <a:gd name="connsiteY63" fmla="*/ 1286464 h 3971547"/>
                <a:gd name="connsiteX64" fmla="*/ 1682623 w 3591476"/>
                <a:gd name="connsiteY64" fmla="*/ 1228376 h 3971547"/>
                <a:gd name="connsiteX65" fmla="*/ 1738722 w 3591476"/>
                <a:gd name="connsiteY65" fmla="*/ 1049045 h 3971547"/>
                <a:gd name="connsiteX66" fmla="*/ 1898587 w 3591476"/>
                <a:gd name="connsiteY66" fmla="*/ 950239 h 3971547"/>
                <a:gd name="connsiteX67" fmla="*/ 2116472 w 3591476"/>
                <a:gd name="connsiteY67" fmla="*/ 999216 h 3971547"/>
                <a:gd name="connsiteX68" fmla="*/ 2224720 w 3591476"/>
                <a:gd name="connsiteY68" fmla="*/ 1194578 h 3971547"/>
                <a:gd name="connsiteX69" fmla="*/ 2150739 w 3591476"/>
                <a:gd name="connsiteY69" fmla="*/ 1405296 h 3971547"/>
                <a:gd name="connsiteX70" fmla="*/ 1944153 w 3591476"/>
                <a:gd name="connsiteY70" fmla="*/ 1490106 h 3971547"/>
                <a:gd name="connsiteX71" fmla="*/ 1883677 w 3591476"/>
                <a:gd name="connsiteY71" fmla="*/ 1480396 h 3971547"/>
                <a:gd name="connsiteX72" fmla="*/ 436868 w 3591476"/>
                <a:gd name="connsiteY72" fmla="*/ 2913204 h 3971547"/>
                <a:gd name="connsiteX73" fmla="*/ 319173 w 3591476"/>
                <a:gd name="connsiteY73" fmla="*/ 2985533 h 3971547"/>
                <a:gd name="connsiteX74" fmla="*/ 319173 w 3591476"/>
                <a:gd name="connsiteY74" fmla="*/ 3520646 h 3971547"/>
                <a:gd name="connsiteX75" fmla="*/ 355029 w 3591476"/>
                <a:gd name="connsiteY75" fmla="*/ 3588466 h 3971547"/>
                <a:gd name="connsiteX76" fmla="*/ 1955172 w 3591476"/>
                <a:gd name="connsiteY76" fmla="*/ 3971548 h 3971547"/>
                <a:gd name="connsiteX77" fmla="*/ 3555086 w 3591476"/>
                <a:gd name="connsiteY77" fmla="*/ 3588466 h 3971547"/>
                <a:gd name="connsiteX78" fmla="*/ 3591159 w 3591476"/>
                <a:gd name="connsiteY78" fmla="*/ 3520869 h 3971547"/>
                <a:gd name="connsiteX79" fmla="*/ 3591159 w 3591476"/>
                <a:gd name="connsiteY79" fmla="*/ 450142 h 3971547"/>
                <a:gd name="connsiteX80" fmla="*/ 3591159 w 3591476"/>
                <a:gd name="connsiteY80" fmla="*/ 437838 h 397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591476" h="3971547">
                  <a:moveTo>
                    <a:pt x="3359204" y="461909"/>
                  </a:moveTo>
                  <a:cubicBezTo>
                    <a:pt x="3326389" y="476802"/>
                    <a:pt x="3292253" y="490844"/>
                    <a:pt x="3257072" y="505109"/>
                  </a:cubicBezTo>
                  <a:lnTo>
                    <a:pt x="3257049" y="505109"/>
                  </a:lnTo>
                  <a:cubicBezTo>
                    <a:pt x="3264393" y="524483"/>
                    <a:pt x="3268124" y="545045"/>
                    <a:pt x="3268079" y="565785"/>
                  </a:cubicBezTo>
                  <a:lnTo>
                    <a:pt x="3268079" y="1289647"/>
                  </a:lnTo>
                  <a:cubicBezTo>
                    <a:pt x="3268124" y="1336550"/>
                    <a:pt x="3249505" y="1381556"/>
                    <a:pt x="3216307" y="1414708"/>
                  </a:cubicBezTo>
                  <a:cubicBezTo>
                    <a:pt x="3183137" y="1447838"/>
                    <a:pt x="3138102" y="1466412"/>
                    <a:pt x="3091200" y="1466298"/>
                  </a:cubicBezTo>
                  <a:cubicBezTo>
                    <a:pt x="3054052" y="1466389"/>
                    <a:pt x="3017842" y="1454508"/>
                    <a:pt x="2987992" y="1432385"/>
                  </a:cubicBezTo>
                  <a:lnTo>
                    <a:pt x="2987992" y="1810512"/>
                  </a:lnTo>
                  <a:cubicBezTo>
                    <a:pt x="2987992" y="1860656"/>
                    <a:pt x="2961229" y="1906998"/>
                    <a:pt x="2917806" y="1932070"/>
                  </a:cubicBezTo>
                  <a:cubicBezTo>
                    <a:pt x="2874367" y="1957142"/>
                    <a:pt x="2820874" y="1957142"/>
                    <a:pt x="2777434" y="1932070"/>
                  </a:cubicBezTo>
                  <a:cubicBezTo>
                    <a:pt x="2734018" y="1907004"/>
                    <a:pt x="2707248" y="1860656"/>
                    <a:pt x="2707248" y="1810512"/>
                  </a:cubicBezTo>
                  <a:lnTo>
                    <a:pt x="2707248" y="1697772"/>
                  </a:lnTo>
                  <a:cubicBezTo>
                    <a:pt x="2672896" y="1697772"/>
                    <a:pt x="2639943" y="1684136"/>
                    <a:pt x="2615631" y="1659847"/>
                  </a:cubicBezTo>
                  <a:cubicBezTo>
                    <a:pt x="2591343" y="1635536"/>
                    <a:pt x="2577707" y="1602583"/>
                    <a:pt x="2577707" y="1568230"/>
                  </a:cubicBezTo>
                  <a:lnTo>
                    <a:pt x="2577707" y="672461"/>
                  </a:lnTo>
                  <a:cubicBezTo>
                    <a:pt x="2367720" y="701928"/>
                    <a:pt x="2155911" y="716347"/>
                    <a:pt x="1943907" y="715655"/>
                  </a:cubicBezTo>
                  <a:cubicBezTo>
                    <a:pt x="1397793" y="715655"/>
                    <a:pt x="890290" y="622586"/>
                    <a:pt x="530136" y="461269"/>
                  </a:cubicBezTo>
                  <a:cubicBezTo>
                    <a:pt x="517455" y="455468"/>
                    <a:pt x="509351" y="442810"/>
                    <a:pt x="509351" y="428877"/>
                  </a:cubicBezTo>
                  <a:cubicBezTo>
                    <a:pt x="509351" y="414949"/>
                    <a:pt x="517455" y="402290"/>
                    <a:pt x="530136" y="396484"/>
                  </a:cubicBezTo>
                  <a:cubicBezTo>
                    <a:pt x="891833" y="235389"/>
                    <a:pt x="1399325" y="142098"/>
                    <a:pt x="1945450" y="142098"/>
                  </a:cubicBezTo>
                  <a:cubicBezTo>
                    <a:pt x="2491576" y="142098"/>
                    <a:pt x="2999068" y="235389"/>
                    <a:pt x="3359233" y="396484"/>
                  </a:cubicBezTo>
                  <a:cubicBezTo>
                    <a:pt x="3371886" y="402290"/>
                    <a:pt x="3380013" y="414949"/>
                    <a:pt x="3380013" y="428877"/>
                  </a:cubicBezTo>
                  <a:cubicBezTo>
                    <a:pt x="3380013" y="442810"/>
                    <a:pt x="3371886" y="455468"/>
                    <a:pt x="3359233" y="461269"/>
                  </a:cubicBezTo>
                  <a:close/>
                  <a:moveTo>
                    <a:pt x="3589833" y="437735"/>
                  </a:moveTo>
                  <a:cubicBezTo>
                    <a:pt x="3592468" y="420898"/>
                    <a:pt x="3590010" y="403645"/>
                    <a:pt x="3582735" y="388237"/>
                  </a:cubicBezTo>
                  <a:cubicBezTo>
                    <a:pt x="3575454" y="372835"/>
                    <a:pt x="3563693" y="359976"/>
                    <a:pt x="3549000" y="351335"/>
                  </a:cubicBezTo>
                  <a:cubicBezTo>
                    <a:pt x="3217112" y="153322"/>
                    <a:pt x="2692778" y="19442"/>
                    <a:pt x="2094418" y="1292"/>
                  </a:cubicBezTo>
                  <a:lnTo>
                    <a:pt x="2064620" y="1292"/>
                  </a:lnTo>
                  <a:cubicBezTo>
                    <a:pt x="2028341" y="1292"/>
                    <a:pt x="1991622" y="0"/>
                    <a:pt x="1954920" y="0"/>
                  </a:cubicBezTo>
                  <a:cubicBezTo>
                    <a:pt x="1918218" y="0"/>
                    <a:pt x="1881494" y="0"/>
                    <a:pt x="1845221" y="1292"/>
                  </a:cubicBezTo>
                  <a:lnTo>
                    <a:pt x="1815194" y="1292"/>
                  </a:lnTo>
                  <a:cubicBezTo>
                    <a:pt x="1217005" y="19220"/>
                    <a:pt x="692311" y="152448"/>
                    <a:pt x="360784" y="351558"/>
                  </a:cubicBezTo>
                  <a:lnTo>
                    <a:pt x="360807" y="351558"/>
                  </a:lnTo>
                  <a:cubicBezTo>
                    <a:pt x="346113" y="360199"/>
                    <a:pt x="334375" y="373058"/>
                    <a:pt x="327094" y="388460"/>
                  </a:cubicBezTo>
                  <a:cubicBezTo>
                    <a:pt x="319819" y="403868"/>
                    <a:pt x="317338" y="421098"/>
                    <a:pt x="319996" y="437935"/>
                  </a:cubicBezTo>
                  <a:cubicBezTo>
                    <a:pt x="319213" y="441992"/>
                    <a:pt x="318836" y="446124"/>
                    <a:pt x="318904" y="450256"/>
                  </a:cubicBezTo>
                  <a:lnTo>
                    <a:pt x="318904" y="1996221"/>
                  </a:lnTo>
                  <a:lnTo>
                    <a:pt x="189334" y="2195332"/>
                  </a:lnTo>
                  <a:lnTo>
                    <a:pt x="189357" y="2195309"/>
                  </a:lnTo>
                  <a:cubicBezTo>
                    <a:pt x="95213" y="2340013"/>
                    <a:pt x="31857" y="2502536"/>
                    <a:pt x="3196" y="2672780"/>
                  </a:cubicBezTo>
                  <a:cubicBezTo>
                    <a:pt x="-4776" y="2718608"/>
                    <a:pt x="2259" y="2765803"/>
                    <a:pt x="23262" y="2807328"/>
                  </a:cubicBezTo>
                  <a:cubicBezTo>
                    <a:pt x="44293" y="2848848"/>
                    <a:pt x="78137" y="2882469"/>
                    <a:pt x="119816" y="2903186"/>
                  </a:cubicBezTo>
                  <a:cubicBezTo>
                    <a:pt x="153169" y="2920599"/>
                    <a:pt x="190162" y="2929864"/>
                    <a:pt x="227778" y="2930178"/>
                  </a:cubicBezTo>
                  <a:cubicBezTo>
                    <a:pt x="287963" y="2929972"/>
                    <a:pt x="345582" y="2905889"/>
                    <a:pt x="388021" y="2863221"/>
                  </a:cubicBezTo>
                  <a:lnTo>
                    <a:pt x="1918613" y="1347088"/>
                  </a:lnTo>
                  <a:cubicBezTo>
                    <a:pt x="1957926" y="1357673"/>
                    <a:pt x="2001526" y="1357673"/>
                    <a:pt x="2059836" y="1293533"/>
                  </a:cubicBezTo>
                  <a:cubicBezTo>
                    <a:pt x="2076627" y="1275788"/>
                    <a:pt x="2087165" y="1253037"/>
                    <a:pt x="2089863" y="1228748"/>
                  </a:cubicBezTo>
                  <a:cubicBezTo>
                    <a:pt x="2093303" y="1188766"/>
                    <a:pt x="2078947" y="1149275"/>
                    <a:pt x="2050595" y="1120854"/>
                  </a:cubicBezTo>
                  <a:cubicBezTo>
                    <a:pt x="2022243" y="1092417"/>
                    <a:pt x="1982821" y="1077952"/>
                    <a:pt x="1942816" y="1081278"/>
                  </a:cubicBezTo>
                  <a:cubicBezTo>
                    <a:pt x="1918704" y="1083421"/>
                    <a:pt x="1895981" y="1093354"/>
                    <a:pt x="1878031" y="1109562"/>
                  </a:cubicBezTo>
                  <a:cubicBezTo>
                    <a:pt x="1813245" y="1167426"/>
                    <a:pt x="1811525" y="1211694"/>
                    <a:pt x="1821886" y="1251431"/>
                  </a:cubicBezTo>
                  <a:lnTo>
                    <a:pt x="292781" y="2766306"/>
                  </a:lnTo>
                  <a:cubicBezTo>
                    <a:pt x="278671" y="2780548"/>
                    <a:pt x="260320" y="2789789"/>
                    <a:pt x="240477" y="2792646"/>
                  </a:cubicBezTo>
                  <a:cubicBezTo>
                    <a:pt x="220629" y="2795481"/>
                    <a:pt x="200404" y="2791777"/>
                    <a:pt x="182859" y="2782068"/>
                  </a:cubicBezTo>
                  <a:cubicBezTo>
                    <a:pt x="150283" y="2766506"/>
                    <a:pt x="131915" y="2731325"/>
                    <a:pt x="137739" y="2695697"/>
                  </a:cubicBezTo>
                  <a:cubicBezTo>
                    <a:pt x="163479" y="2543712"/>
                    <a:pt x="220160" y="2398631"/>
                    <a:pt x="304234" y="2269415"/>
                  </a:cubicBezTo>
                  <a:lnTo>
                    <a:pt x="318921" y="2247824"/>
                  </a:lnTo>
                  <a:lnTo>
                    <a:pt x="318921" y="2613207"/>
                  </a:lnTo>
                  <a:lnTo>
                    <a:pt x="318904" y="2613207"/>
                  </a:lnTo>
                  <a:cubicBezTo>
                    <a:pt x="318836" y="2618722"/>
                    <a:pt x="322070" y="2623722"/>
                    <a:pt x="327140" y="2625911"/>
                  </a:cubicBezTo>
                  <a:cubicBezTo>
                    <a:pt x="332209" y="2628077"/>
                    <a:pt x="338078" y="2626986"/>
                    <a:pt x="342027" y="2623145"/>
                  </a:cubicBezTo>
                  <a:lnTo>
                    <a:pt x="1691282" y="1286464"/>
                  </a:lnTo>
                  <a:lnTo>
                    <a:pt x="1691259" y="1286464"/>
                  </a:lnTo>
                  <a:cubicBezTo>
                    <a:pt x="1686081" y="1267507"/>
                    <a:pt x="1683178" y="1248019"/>
                    <a:pt x="1682623" y="1228376"/>
                  </a:cubicBezTo>
                  <a:cubicBezTo>
                    <a:pt x="1679160" y="1163791"/>
                    <a:pt x="1699077" y="1100126"/>
                    <a:pt x="1738722" y="1049045"/>
                  </a:cubicBezTo>
                  <a:cubicBezTo>
                    <a:pt x="1778395" y="997942"/>
                    <a:pt x="1835140" y="962875"/>
                    <a:pt x="1898587" y="950239"/>
                  </a:cubicBezTo>
                  <a:cubicBezTo>
                    <a:pt x="1974871" y="934723"/>
                    <a:pt x="2054167" y="952536"/>
                    <a:pt x="2116472" y="999216"/>
                  </a:cubicBezTo>
                  <a:cubicBezTo>
                    <a:pt x="2178777" y="1045896"/>
                    <a:pt x="2218159" y="1116997"/>
                    <a:pt x="2224720" y="1194578"/>
                  </a:cubicBezTo>
                  <a:cubicBezTo>
                    <a:pt x="2231263" y="1272153"/>
                    <a:pt x="2204340" y="1348837"/>
                    <a:pt x="2150739" y="1405296"/>
                  </a:cubicBezTo>
                  <a:cubicBezTo>
                    <a:pt x="2097138" y="1461754"/>
                    <a:pt x="2021951" y="1492604"/>
                    <a:pt x="1944153" y="1490106"/>
                  </a:cubicBezTo>
                  <a:cubicBezTo>
                    <a:pt x="1923659" y="1489300"/>
                    <a:pt x="1903365" y="1486043"/>
                    <a:pt x="1883677" y="1480396"/>
                  </a:cubicBezTo>
                  <a:lnTo>
                    <a:pt x="436868" y="2913204"/>
                  </a:lnTo>
                  <a:cubicBezTo>
                    <a:pt x="403829" y="2946174"/>
                    <a:pt x="363510" y="2970954"/>
                    <a:pt x="319173" y="2985533"/>
                  </a:cubicBezTo>
                  <a:lnTo>
                    <a:pt x="319173" y="3520646"/>
                  </a:lnTo>
                  <a:cubicBezTo>
                    <a:pt x="319218" y="3547792"/>
                    <a:pt x="332637" y="3573150"/>
                    <a:pt x="355029" y="3588466"/>
                  </a:cubicBezTo>
                  <a:cubicBezTo>
                    <a:pt x="689533" y="3818672"/>
                    <a:pt x="1281202" y="3971548"/>
                    <a:pt x="1955172" y="3971548"/>
                  </a:cubicBezTo>
                  <a:cubicBezTo>
                    <a:pt x="2629142" y="3971548"/>
                    <a:pt x="3220816" y="3818649"/>
                    <a:pt x="3555086" y="3588466"/>
                  </a:cubicBezTo>
                  <a:cubicBezTo>
                    <a:pt x="3577632" y="3573350"/>
                    <a:pt x="3591136" y="3548015"/>
                    <a:pt x="3591159" y="3520869"/>
                  </a:cubicBezTo>
                  <a:lnTo>
                    <a:pt x="3591159" y="450142"/>
                  </a:lnTo>
                  <a:cubicBezTo>
                    <a:pt x="3591582" y="446056"/>
                    <a:pt x="3591582" y="441924"/>
                    <a:pt x="3591159" y="437838"/>
                  </a:cubicBezTo>
                  <a:close/>
                </a:path>
              </a:pathLst>
            </a:custGeom>
            <a:solidFill>
              <a:schemeClr val="tx1">
                <a:lumMod val="65000"/>
                <a:lumOff val="35000"/>
              </a:schemeClr>
            </a:solidFill>
            <a:ln w="5715" cap="flat">
              <a:noFill/>
              <a:prstDash val="solid"/>
              <a:miter/>
            </a:ln>
          </p:spPr>
          <p:txBody>
            <a:bodyPr rtlCol="0" anchor="ctr"/>
            <a:lstStyle/>
            <a:p>
              <a:endParaRPr lang="en-US" b="1"/>
            </a:p>
          </p:txBody>
        </p:sp>
      </p:grpSp>
      <p:grpSp>
        <p:nvGrpSpPr>
          <p:cNvPr id="49" name="Group 48">
            <a:extLst>
              <a:ext uri="{FF2B5EF4-FFF2-40B4-BE49-F238E27FC236}">
                <a16:creationId xmlns:a16="http://schemas.microsoft.com/office/drawing/2014/main" id="{5D892B4E-4CFD-D507-0C93-5B4A5BC3AF05}"/>
              </a:ext>
            </a:extLst>
          </p:cNvPr>
          <p:cNvGrpSpPr/>
          <p:nvPr/>
        </p:nvGrpSpPr>
        <p:grpSpPr>
          <a:xfrm>
            <a:off x="8838769" y="3281517"/>
            <a:ext cx="1008000" cy="1296000"/>
            <a:chOff x="8665691" y="2499694"/>
            <a:chExt cx="1008000" cy="1296000"/>
          </a:xfrm>
        </p:grpSpPr>
        <p:sp>
          <p:nvSpPr>
            <p:cNvPr id="50" name="Rectangle 49">
              <a:extLst>
                <a:ext uri="{FF2B5EF4-FFF2-40B4-BE49-F238E27FC236}">
                  <a16:creationId xmlns:a16="http://schemas.microsoft.com/office/drawing/2014/main" id="{58869695-E2AA-5F57-6ED5-A41826B5FD05}"/>
                </a:ext>
              </a:extLst>
            </p:cNvPr>
            <p:cNvSpPr>
              <a:spLocks/>
            </p:cNvSpPr>
            <p:nvPr/>
          </p:nvSpPr>
          <p:spPr>
            <a:xfrm>
              <a:off x="8665691" y="2499694"/>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b"/>
            <a:lstStyle/>
            <a:p>
              <a:pPr algn="ctr">
                <a:lnSpc>
                  <a:spcPct val="85000"/>
                </a:lnSpc>
              </a:pPr>
              <a:r>
                <a:rPr lang="en-US" sz="1400" b="1">
                  <a:solidFill>
                    <a:schemeClr val="tx1">
                      <a:lumMod val="65000"/>
                      <a:lumOff val="35000"/>
                    </a:schemeClr>
                  </a:solidFill>
                  <a:latin typeface="Arial Narrow" panose="020B0604020202020204" pitchFamily="34" charset="0"/>
                  <a:cs typeface="Arial Narrow" panose="020B0604020202020204" pitchFamily="34" charset="0"/>
                </a:rPr>
                <a:t>Non-Ferrous Metals</a:t>
              </a:r>
            </a:p>
          </p:txBody>
        </p:sp>
        <p:pic>
          <p:nvPicPr>
            <p:cNvPr id="51" name="Graphic 50">
              <a:extLst>
                <a:ext uri="{FF2B5EF4-FFF2-40B4-BE49-F238E27FC236}">
                  <a16:creationId xmlns:a16="http://schemas.microsoft.com/office/drawing/2014/main" id="{C596726F-E03B-C9B7-7A99-3099979FA7A5}"/>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8853752" y="2677107"/>
              <a:ext cx="631878" cy="631878"/>
            </a:xfrm>
            <a:prstGeom prst="rect">
              <a:avLst/>
            </a:prstGeom>
          </p:spPr>
        </p:pic>
      </p:grpSp>
      <p:grpSp>
        <p:nvGrpSpPr>
          <p:cNvPr id="55" name="Group 54">
            <a:extLst>
              <a:ext uri="{FF2B5EF4-FFF2-40B4-BE49-F238E27FC236}">
                <a16:creationId xmlns:a16="http://schemas.microsoft.com/office/drawing/2014/main" id="{C57651E1-DEE4-2592-7FC8-B3CC4DC92A5B}"/>
              </a:ext>
            </a:extLst>
          </p:cNvPr>
          <p:cNvGrpSpPr/>
          <p:nvPr/>
        </p:nvGrpSpPr>
        <p:grpSpPr>
          <a:xfrm>
            <a:off x="10873544" y="3281517"/>
            <a:ext cx="1008000" cy="1296000"/>
            <a:chOff x="10700466" y="2499694"/>
            <a:chExt cx="1008000" cy="1296000"/>
          </a:xfrm>
        </p:grpSpPr>
        <p:sp>
          <p:nvSpPr>
            <p:cNvPr id="56" name="Rectangle 55">
              <a:extLst>
                <a:ext uri="{FF2B5EF4-FFF2-40B4-BE49-F238E27FC236}">
                  <a16:creationId xmlns:a16="http://schemas.microsoft.com/office/drawing/2014/main" id="{CFBB160E-D21F-9F4D-AC54-7F1184DFFAD5}"/>
                </a:ext>
              </a:extLst>
            </p:cNvPr>
            <p:cNvSpPr>
              <a:spLocks/>
            </p:cNvSpPr>
            <p:nvPr/>
          </p:nvSpPr>
          <p:spPr>
            <a:xfrm>
              <a:off x="10700466" y="2499694"/>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Chemicals</a:t>
              </a:r>
            </a:p>
          </p:txBody>
        </p:sp>
        <p:pic>
          <p:nvPicPr>
            <p:cNvPr id="57" name="Graphic 56">
              <a:extLst>
                <a:ext uri="{FF2B5EF4-FFF2-40B4-BE49-F238E27FC236}">
                  <a16:creationId xmlns:a16="http://schemas.microsoft.com/office/drawing/2014/main" id="{45821842-C0D7-9B03-C446-4C5A44A235D2}"/>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10888527" y="2669629"/>
              <a:ext cx="631878" cy="631878"/>
            </a:xfrm>
            <a:prstGeom prst="rect">
              <a:avLst/>
            </a:prstGeom>
          </p:spPr>
        </p:pic>
      </p:grpSp>
      <p:grpSp>
        <p:nvGrpSpPr>
          <p:cNvPr id="58" name="Group 57">
            <a:extLst>
              <a:ext uri="{FF2B5EF4-FFF2-40B4-BE49-F238E27FC236}">
                <a16:creationId xmlns:a16="http://schemas.microsoft.com/office/drawing/2014/main" id="{73CCACFA-8F17-0BCC-357E-3C7B25EA1FB8}"/>
              </a:ext>
            </a:extLst>
          </p:cNvPr>
          <p:cNvGrpSpPr/>
          <p:nvPr/>
        </p:nvGrpSpPr>
        <p:grpSpPr>
          <a:xfrm>
            <a:off x="9856156" y="3281517"/>
            <a:ext cx="1008000" cy="1296000"/>
            <a:chOff x="9683078" y="2499694"/>
            <a:chExt cx="1008000" cy="1296000"/>
          </a:xfrm>
        </p:grpSpPr>
        <p:sp>
          <p:nvSpPr>
            <p:cNvPr id="59" name="Rectangle 58">
              <a:extLst>
                <a:ext uri="{FF2B5EF4-FFF2-40B4-BE49-F238E27FC236}">
                  <a16:creationId xmlns:a16="http://schemas.microsoft.com/office/drawing/2014/main" id="{32F5D19F-2735-D907-074D-F2C10A1F1A2C}"/>
                </a:ext>
              </a:extLst>
            </p:cNvPr>
            <p:cNvSpPr>
              <a:spLocks/>
            </p:cNvSpPr>
            <p:nvPr/>
          </p:nvSpPr>
          <p:spPr>
            <a:xfrm>
              <a:off x="9683078" y="2499694"/>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Aluminum</a:t>
              </a:r>
            </a:p>
          </p:txBody>
        </p:sp>
        <p:pic>
          <p:nvPicPr>
            <p:cNvPr id="60" name="Graphic 59">
              <a:extLst>
                <a:ext uri="{FF2B5EF4-FFF2-40B4-BE49-F238E27FC236}">
                  <a16:creationId xmlns:a16="http://schemas.microsoft.com/office/drawing/2014/main" id="{8B69A5CD-BE00-7C09-6B61-3AF8EE83BEF7}"/>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9871139" y="2673368"/>
              <a:ext cx="631878" cy="631878"/>
            </a:xfrm>
            <a:prstGeom prst="rect">
              <a:avLst/>
            </a:prstGeom>
          </p:spPr>
        </p:pic>
      </p:grpSp>
      <p:grpSp>
        <p:nvGrpSpPr>
          <p:cNvPr id="61" name="Group 60">
            <a:extLst>
              <a:ext uri="{FF2B5EF4-FFF2-40B4-BE49-F238E27FC236}">
                <a16:creationId xmlns:a16="http://schemas.microsoft.com/office/drawing/2014/main" id="{F1869572-1420-2CC1-2A65-5F78B814D721}"/>
              </a:ext>
            </a:extLst>
          </p:cNvPr>
          <p:cNvGrpSpPr/>
          <p:nvPr/>
        </p:nvGrpSpPr>
        <p:grpSpPr>
          <a:xfrm>
            <a:off x="7821382" y="3281517"/>
            <a:ext cx="1008000" cy="1296000"/>
            <a:chOff x="7648304" y="2499694"/>
            <a:chExt cx="1008000" cy="1296000"/>
          </a:xfrm>
        </p:grpSpPr>
        <p:sp>
          <p:nvSpPr>
            <p:cNvPr id="62" name="Rectangle 61">
              <a:extLst>
                <a:ext uri="{FF2B5EF4-FFF2-40B4-BE49-F238E27FC236}">
                  <a16:creationId xmlns:a16="http://schemas.microsoft.com/office/drawing/2014/main" id="{D1327DD6-066C-EFA7-32E9-A630F00AD972}"/>
                </a:ext>
              </a:extLst>
            </p:cNvPr>
            <p:cNvSpPr>
              <a:spLocks/>
            </p:cNvSpPr>
            <p:nvPr/>
          </p:nvSpPr>
          <p:spPr>
            <a:xfrm>
              <a:off x="7648304" y="2499694"/>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Steel</a:t>
              </a:r>
            </a:p>
          </p:txBody>
        </p:sp>
        <p:pic>
          <p:nvPicPr>
            <p:cNvPr id="63" name="Graphic 62">
              <a:extLst>
                <a:ext uri="{FF2B5EF4-FFF2-40B4-BE49-F238E27FC236}">
                  <a16:creationId xmlns:a16="http://schemas.microsoft.com/office/drawing/2014/main" id="{0BA77932-7AAB-D5C6-A266-6ED8E479C963}"/>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7836365" y="2680846"/>
              <a:ext cx="631878" cy="631878"/>
            </a:xfrm>
            <a:prstGeom prst="rect">
              <a:avLst/>
            </a:prstGeom>
          </p:spPr>
        </p:pic>
      </p:grpSp>
      <p:grpSp>
        <p:nvGrpSpPr>
          <p:cNvPr id="77" name="Group 76">
            <a:extLst>
              <a:ext uri="{FF2B5EF4-FFF2-40B4-BE49-F238E27FC236}">
                <a16:creationId xmlns:a16="http://schemas.microsoft.com/office/drawing/2014/main" id="{55D3C032-2412-C48C-0909-085C2EAB8312}"/>
              </a:ext>
            </a:extLst>
          </p:cNvPr>
          <p:cNvGrpSpPr/>
          <p:nvPr/>
        </p:nvGrpSpPr>
        <p:grpSpPr>
          <a:xfrm>
            <a:off x="8838770" y="4693880"/>
            <a:ext cx="3042774" cy="1296000"/>
            <a:chOff x="7821382" y="4693880"/>
            <a:chExt cx="3042774" cy="1296000"/>
          </a:xfrm>
        </p:grpSpPr>
        <p:grpSp>
          <p:nvGrpSpPr>
            <p:cNvPr id="52" name="Group 51">
              <a:extLst>
                <a:ext uri="{FF2B5EF4-FFF2-40B4-BE49-F238E27FC236}">
                  <a16:creationId xmlns:a16="http://schemas.microsoft.com/office/drawing/2014/main" id="{ED6E0218-AA41-0D22-603E-2E1E6045724D}"/>
                </a:ext>
              </a:extLst>
            </p:cNvPr>
            <p:cNvGrpSpPr/>
            <p:nvPr/>
          </p:nvGrpSpPr>
          <p:grpSpPr>
            <a:xfrm>
              <a:off x="7821382" y="4693880"/>
              <a:ext cx="1008000" cy="1296000"/>
              <a:chOff x="7425330" y="4483162"/>
              <a:chExt cx="1008000" cy="1296000"/>
            </a:xfrm>
          </p:grpSpPr>
          <p:sp>
            <p:nvSpPr>
              <p:cNvPr id="53" name="Rectangle 52">
                <a:extLst>
                  <a:ext uri="{FF2B5EF4-FFF2-40B4-BE49-F238E27FC236}">
                    <a16:creationId xmlns:a16="http://schemas.microsoft.com/office/drawing/2014/main" id="{08D695F4-64E9-27E0-B8F3-F7AC72FAEFD6}"/>
                  </a:ext>
                </a:extLst>
              </p:cNvPr>
              <p:cNvSpPr>
                <a:spLocks/>
              </p:cNvSpPr>
              <p:nvPr/>
            </p:nvSpPr>
            <p:spPr>
              <a:xfrm>
                <a:off x="7425330" y="4483162"/>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lnSpc>
                    <a:spcPct val="85000"/>
                  </a:lnSpc>
                </a:pPr>
                <a:r>
                  <a:rPr lang="en-US" sz="1400" b="1">
                    <a:solidFill>
                      <a:schemeClr val="tx1">
                        <a:lumMod val="65000"/>
                        <a:lumOff val="35000"/>
                      </a:schemeClr>
                    </a:solidFill>
                    <a:latin typeface="Arial Narrow" panose="020B0604020202020204" pitchFamily="34" charset="0"/>
                    <a:cs typeface="Arial Narrow" panose="020B0604020202020204" pitchFamily="34" charset="0"/>
                  </a:rPr>
                  <a:t>Plastic and Polymers</a:t>
                </a:r>
              </a:p>
            </p:txBody>
          </p:sp>
          <p:pic>
            <p:nvPicPr>
              <p:cNvPr id="54" name="Graphic 53">
                <a:extLst>
                  <a:ext uri="{FF2B5EF4-FFF2-40B4-BE49-F238E27FC236}">
                    <a16:creationId xmlns:a16="http://schemas.microsoft.com/office/drawing/2014/main" id="{DB2309D9-002F-F99D-9137-0F344FC2936D}"/>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7613391" y="4620968"/>
                <a:ext cx="631878" cy="631878"/>
              </a:xfrm>
              <a:prstGeom prst="rect">
                <a:avLst/>
              </a:prstGeom>
            </p:spPr>
          </p:pic>
        </p:grpSp>
        <p:grpSp>
          <p:nvGrpSpPr>
            <p:cNvPr id="64" name="Group 63">
              <a:extLst>
                <a:ext uri="{FF2B5EF4-FFF2-40B4-BE49-F238E27FC236}">
                  <a16:creationId xmlns:a16="http://schemas.microsoft.com/office/drawing/2014/main" id="{932C8689-0013-4421-D821-0F2062D674C4}"/>
                </a:ext>
              </a:extLst>
            </p:cNvPr>
            <p:cNvGrpSpPr/>
            <p:nvPr/>
          </p:nvGrpSpPr>
          <p:grpSpPr>
            <a:xfrm>
              <a:off x="9856156" y="4693880"/>
              <a:ext cx="1008000" cy="1296000"/>
              <a:chOff x="9846818" y="4490640"/>
              <a:chExt cx="1008000" cy="1296000"/>
            </a:xfrm>
          </p:grpSpPr>
          <p:sp>
            <p:nvSpPr>
              <p:cNvPr id="65" name="Rectangle 64">
                <a:extLst>
                  <a:ext uri="{FF2B5EF4-FFF2-40B4-BE49-F238E27FC236}">
                    <a16:creationId xmlns:a16="http://schemas.microsoft.com/office/drawing/2014/main" id="{DB3CFC34-E1D4-A792-04DF-697FE592F4B3}"/>
                  </a:ext>
                </a:extLst>
              </p:cNvPr>
              <p:cNvSpPr>
                <a:spLocks/>
              </p:cNvSpPr>
              <p:nvPr/>
            </p:nvSpPr>
            <p:spPr>
              <a:xfrm>
                <a:off x="9846818" y="4490640"/>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Glass</a:t>
                </a:r>
              </a:p>
            </p:txBody>
          </p:sp>
          <p:pic>
            <p:nvPicPr>
              <p:cNvPr id="66" name="Graphic 65">
                <a:extLst>
                  <a:ext uri="{FF2B5EF4-FFF2-40B4-BE49-F238E27FC236}">
                    <a16:creationId xmlns:a16="http://schemas.microsoft.com/office/drawing/2014/main" id="{05486F45-6EDA-818B-08D3-E5AB4076D953}"/>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10034879" y="4620968"/>
                <a:ext cx="631878" cy="631878"/>
              </a:xfrm>
              <a:prstGeom prst="rect">
                <a:avLst/>
              </a:prstGeom>
            </p:spPr>
          </p:pic>
        </p:grpSp>
        <p:grpSp>
          <p:nvGrpSpPr>
            <p:cNvPr id="67" name="Group 66">
              <a:extLst>
                <a:ext uri="{FF2B5EF4-FFF2-40B4-BE49-F238E27FC236}">
                  <a16:creationId xmlns:a16="http://schemas.microsoft.com/office/drawing/2014/main" id="{AFED93CA-2FBB-4541-BEB0-6F86E67417F7}"/>
                </a:ext>
              </a:extLst>
            </p:cNvPr>
            <p:cNvGrpSpPr/>
            <p:nvPr/>
          </p:nvGrpSpPr>
          <p:grpSpPr>
            <a:xfrm>
              <a:off x="8838769" y="4693880"/>
              <a:ext cx="1008000" cy="1296000"/>
              <a:chOff x="8636074" y="4486901"/>
              <a:chExt cx="1008000" cy="1296000"/>
            </a:xfrm>
          </p:grpSpPr>
          <p:sp>
            <p:nvSpPr>
              <p:cNvPr id="68" name="Rectangle 67">
                <a:extLst>
                  <a:ext uri="{FF2B5EF4-FFF2-40B4-BE49-F238E27FC236}">
                    <a16:creationId xmlns:a16="http://schemas.microsoft.com/office/drawing/2014/main" id="{83CC3CC6-2FDA-552B-E46C-47BEB906E1EB}"/>
                  </a:ext>
                </a:extLst>
              </p:cNvPr>
              <p:cNvSpPr>
                <a:spLocks/>
              </p:cNvSpPr>
              <p:nvPr/>
            </p:nvSpPr>
            <p:spPr>
              <a:xfrm>
                <a:off x="8636074" y="4486901"/>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lnSpc>
                    <a:spcPct val="80000"/>
                  </a:lnSpc>
                </a:pPr>
                <a:r>
                  <a:rPr lang="en-US" sz="1400" b="1">
                    <a:solidFill>
                      <a:schemeClr val="tx1">
                        <a:lumMod val="65000"/>
                        <a:lumOff val="35000"/>
                      </a:schemeClr>
                    </a:solidFill>
                    <a:latin typeface="Arial Narrow" panose="020B0604020202020204" pitchFamily="34" charset="0"/>
                    <a:cs typeface="Arial Narrow" panose="020B0604020202020204" pitchFamily="34" charset="0"/>
                  </a:rPr>
                  <a:t>Paper Pulp and Boards</a:t>
                </a:r>
              </a:p>
            </p:txBody>
          </p:sp>
          <p:pic>
            <p:nvPicPr>
              <p:cNvPr id="69" name="Graphic 68">
                <a:extLst>
                  <a:ext uri="{FF2B5EF4-FFF2-40B4-BE49-F238E27FC236}">
                    <a16:creationId xmlns:a16="http://schemas.microsoft.com/office/drawing/2014/main" id="{0CF7CB7C-D00B-A2C2-9EDB-F13245AFA570}"/>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8836263" y="4633096"/>
                <a:ext cx="607622" cy="607622"/>
              </a:xfrm>
              <a:prstGeom prst="rect">
                <a:avLst/>
              </a:prstGeom>
            </p:spPr>
          </p:pic>
        </p:grpSp>
      </p:grpSp>
      <p:sp>
        <p:nvSpPr>
          <p:cNvPr id="71" name="Text Placeholder 2">
            <a:extLst>
              <a:ext uri="{FF2B5EF4-FFF2-40B4-BE49-F238E27FC236}">
                <a16:creationId xmlns:a16="http://schemas.microsoft.com/office/drawing/2014/main" id="{0C828CFD-D69A-F710-60C6-381A78E071F0}"/>
              </a:ext>
            </a:extLst>
          </p:cNvPr>
          <p:cNvSpPr txBox="1">
            <a:spLocks/>
          </p:cNvSpPr>
          <p:nvPr/>
        </p:nvSpPr>
        <p:spPr>
          <a:xfrm>
            <a:off x="212345" y="1619461"/>
            <a:ext cx="11753976" cy="1635637"/>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just">
              <a:spcBef>
                <a:spcPts val="600"/>
              </a:spcBef>
              <a:spcAft>
                <a:spcPts val="600"/>
              </a:spcAft>
            </a:pPr>
            <a:r>
              <a:rPr lang="en-GB" sz="2000">
                <a:solidFill>
                  <a:schemeClr val="tx1">
                    <a:lumMod val="65000"/>
                    <a:lumOff val="35000"/>
                  </a:schemeClr>
                </a:solidFill>
                <a:latin typeface="+mn-lt"/>
                <a:ea typeface="Calibri" panose="020F0502020204030204" pitchFamily="34" charset="0"/>
              </a:rPr>
              <a:t>Article 1, Paragraph 2</a:t>
            </a:r>
          </a:p>
          <a:p>
            <a:pPr algn="just">
              <a:spcBef>
                <a:spcPts val="600"/>
              </a:spcBef>
              <a:spcAft>
                <a:spcPts val="600"/>
              </a:spcAft>
            </a:pPr>
            <a:r>
              <a:rPr lang="en-GB" sz="1800">
                <a:solidFill>
                  <a:schemeClr val="tx1">
                    <a:lumMod val="65000"/>
                    <a:lumOff val="35000"/>
                  </a:schemeClr>
                </a:solidFill>
                <a:latin typeface="+mn-lt"/>
                <a:ea typeface="Calibri" panose="020F0502020204030204" pitchFamily="34" charset="0"/>
              </a:rPr>
              <a:t>This (Ecodesign for sustainable Product) Regulation applies to </a:t>
            </a:r>
            <a:r>
              <a:rPr lang="en-GB" sz="1800" b="1">
                <a:solidFill>
                  <a:schemeClr val="tx1">
                    <a:lumMod val="65000"/>
                    <a:lumOff val="35000"/>
                  </a:schemeClr>
                </a:solidFill>
                <a:latin typeface="+mn-lt"/>
                <a:ea typeface="Calibri" panose="020F0502020204030204" pitchFamily="34" charset="0"/>
              </a:rPr>
              <a:t>any physical goods </a:t>
            </a:r>
            <a:r>
              <a:rPr lang="en-GB" sz="1800">
                <a:solidFill>
                  <a:schemeClr val="tx1">
                    <a:lumMod val="65000"/>
                    <a:lumOff val="35000"/>
                  </a:schemeClr>
                </a:solidFill>
                <a:latin typeface="+mn-lt"/>
                <a:ea typeface="Calibri" panose="020F0502020204030204" pitchFamily="34" charset="0"/>
              </a:rPr>
              <a:t>that are </a:t>
            </a:r>
            <a:r>
              <a:rPr lang="en-GB" sz="1800" b="1">
                <a:solidFill>
                  <a:schemeClr val="tx1">
                    <a:lumMod val="65000"/>
                    <a:lumOff val="35000"/>
                  </a:schemeClr>
                </a:solidFill>
                <a:latin typeface="+mn-lt"/>
                <a:ea typeface="Calibri" panose="020F0502020204030204" pitchFamily="34" charset="0"/>
              </a:rPr>
              <a:t>placed on the market or put into service</a:t>
            </a:r>
            <a:r>
              <a:rPr lang="en-GB" sz="1800">
                <a:solidFill>
                  <a:schemeClr val="tx1">
                    <a:lumMod val="65000"/>
                    <a:lumOff val="35000"/>
                  </a:schemeClr>
                </a:solidFill>
                <a:latin typeface="+mn-lt"/>
                <a:ea typeface="Calibri" panose="020F0502020204030204" pitchFamily="34" charset="0"/>
              </a:rPr>
              <a:t>, including </a:t>
            </a:r>
            <a:r>
              <a:rPr lang="en-GB" sz="1800" b="1">
                <a:solidFill>
                  <a:schemeClr val="tx1">
                    <a:lumMod val="65000"/>
                    <a:lumOff val="35000"/>
                  </a:schemeClr>
                </a:solidFill>
                <a:latin typeface="+mn-lt"/>
                <a:ea typeface="Calibri" panose="020F0502020204030204" pitchFamily="34" charset="0"/>
              </a:rPr>
              <a:t>components</a:t>
            </a:r>
            <a:r>
              <a:rPr lang="en-GB" sz="1800">
                <a:solidFill>
                  <a:schemeClr val="tx1">
                    <a:lumMod val="65000"/>
                    <a:lumOff val="35000"/>
                  </a:schemeClr>
                </a:solidFill>
                <a:latin typeface="+mn-lt"/>
                <a:ea typeface="Calibri" panose="020F0502020204030204" pitchFamily="34" charset="0"/>
              </a:rPr>
              <a:t> and </a:t>
            </a:r>
            <a:r>
              <a:rPr lang="en-GB" sz="1800" b="1">
                <a:solidFill>
                  <a:schemeClr val="tx1">
                    <a:lumMod val="65000"/>
                    <a:lumOff val="35000"/>
                  </a:schemeClr>
                </a:solidFill>
                <a:latin typeface="+mn-lt"/>
                <a:ea typeface="Calibri" panose="020F0502020204030204" pitchFamily="34" charset="0"/>
              </a:rPr>
              <a:t>intermediate</a:t>
            </a:r>
            <a:r>
              <a:rPr lang="en-GB" sz="1800">
                <a:solidFill>
                  <a:schemeClr val="tx1">
                    <a:lumMod val="65000"/>
                    <a:lumOff val="35000"/>
                  </a:schemeClr>
                </a:solidFill>
                <a:latin typeface="+mn-lt"/>
                <a:ea typeface="Calibri" panose="020F0502020204030204" pitchFamily="34" charset="0"/>
              </a:rPr>
              <a:t> </a:t>
            </a:r>
            <a:r>
              <a:rPr lang="en-GB" sz="1800" b="1">
                <a:solidFill>
                  <a:schemeClr val="tx1">
                    <a:lumMod val="65000"/>
                    <a:lumOff val="35000"/>
                  </a:schemeClr>
                </a:solidFill>
                <a:latin typeface="+mn-lt"/>
                <a:ea typeface="Calibri" panose="020F0502020204030204" pitchFamily="34" charset="0"/>
              </a:rPr>
              <a:t>products</a:t>
            </a:r>
            <a:r>
              <a:rPr lang="en-GB" sz="1800">
                <a:solidFill>
                  <a:schemeClr val="tx1">
                    <a:lumMod val="65000"/>
                    <a:lumOff val="35000"/>
                  </a:schemeClr>
                </a:solidFill>
                <a:latin typeface="+mn-lt"/>
                <a:ea typeface="Calibri" panose="020F0502020204030204" pitchFamily="34" charset="0"/>
              </a:rPr>
              <a:t>. </a:t>
            </a:r>
            <a:endParaRPr lang="en-CH" sz="1800">
              <a:solidFill>
                <a:schemeClr val="tx1">
                  <a:lumMod val="65000"/>
                  <a:lumOff val="35000"/>
                </a:schemeClr>
              </a:solidFill>
              <a:latin typeface="+mn-lt"/>
              <a:ea typeface="Calibri" panose="020F0502020204030204" pitchFamily="34" charset="0"/>
            </a:endParaRPr>
          </a:p>
        </p:txBody>
      </p:sp>
      <p:sp>
        <p:nvSpPr>
          <p:cNvPr id="72" name="Fußzeilenplatzhalter 3">
            <a:extLst>
              <a:ext uri="{FF2B5EF4-FFF2-40B4-BE49-F238E27FC236}">
                <a16:creationId xmlns:a16="http://schemas.microsoft.com/office/drawing/2014/main" id="{E7DE38ED-44A5-7294-DC28-93735A66CAC0}"/>
              </a:ext>
            </a:extLst>
          </p:cNvPr>
          <p:cNvSpPr txBox="1">
            <a:spLocks/>
          </p:cNvSpPr>
          <p:nvPr/>
        </p:nvSpPr>
        <p:spPr>
          <a:xfrm>
            <a:off x="1368178" y="6516000"/>
            <a:ext cx="7884000" cy="167933"/>
          </a:xfrm>
          <a:prstGeom prst="rect">
            <a:avLst/>
          </a:prstGeom>
        </p:spPr>
        <p:txBody>
          <a:bodyPr lIns="0" tIns="0" rIns="0" bIns="0"/>
          <a:ls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900">
                <a:latin typeface="Arial" panose="020B0604020202020204"/>
                <a:cs typeface="Arial"/>
              </a:rPr>
              <a:t>|  </a:t>
            </a:r>
            <a:r>
              <a:rPr lang="en-US" sz="900">
                <a:latin typeface="+mj-lt"/>
                <a:cs typeface="Calibri" panose="020F0502020204030204" pitchFamily="34" charset="0"/>
                <a:sym typeface="Calibri" panose="020F0502020204030204" pitchFamily="34" charset="0"/>
              </a:rPr>
              <a:t>Source: </a:t>
            </a:r>
            <a:r>
              <a:rPr lang="en-US" sz="900">
                <a:latin typeface="+mj-lt"/>
                <a:cs typeface="Calibri" panose="020F0502020204030204" pitchFamily="34" charset="0"/>
                <a:sym typeface="Calibri" panose="020F0502020204030204" pitchFamily="34" charset="0"/>
                <a:hlinkClick r:id="rId42">
                  <a:extLst>
                    <a:ext uri="{A12FA001-AC4F-418D-AE19-62706E023703}">
                      <ahyp:hlinkClr xmlns:ahyp="http://schemas.microsoft.com/office/drawing/2018/hyperlinkcolor" val="tx"/>
                    </a:ext>
                  </a:extLst>
                </a:hlinkClick>
              </a:rPr>
              <a:t>https://publications.jrc.ec.europa.eu/repository/handle/JRC138903</a:t>
            </a:r>
            <a:r>
              <a:rPr lang="en-US" sz="900">
                <a:latin typeface="+mj-lt"/>
                <a:cs typeface="Calibri" panose="020F0502020204030204" pitchFamily="34" charset="0"/>
                <a:sym typeface="Calibri" panose="020F0502020204030204" pitchFamily="34" charset="0"/>
              </a:rPr>
              <a:t>  </a:t>
            </a:r>
          </a:p>
        </p:txBody>
      </p:sp>
      <p:grpSp>
        <p:nvGrpSpPr>
          <p:cNvPr id="78" name="Group 77">
            <a:extLst>
              <a:ext uri="{FF2B5EF4-FFF2-40B4-BE49-F238E27FC236}">
                <a16:creationId xmlns:a16="http://schemas.microsoft.com/office/drawing/2014/main" id="{9BEC096D-65C8-ED73-B815-A005CC981A1D}"/>
              </a:ext>
            </a:extLst>
          </p:cNvPr>
          <p:cNvGrpSpPr/>
          <p:nvPr/>
        </p:nvGrpSpPr>
        <p:grpSpPr>
          <a:xfrm>
            <a:off x="7394390" y="4693880"/>
            <a:ext cx="1008000" cy="1296000"/>
            <a:chOff x="-583420" y="3360244"/>
            <a:chExt cx="1008000" cy="1296000"/>
          </a:xfrm>
        </p:grpSpPr>
        <p:sp>
          <p:nvSpPr>
            <p:cNvPr id="74" name="Rectangle 73">
              <a:extLst>
                <a:ext uri="{FF2B5EF4-FFF2-40B4-BE49-F238E27FC236}">
                  <a16:creationId xmlns:a16="http://schemas.microsoft.com/office/drawing/2014/main" id="{5D8BD922-12BD-0A6D-19E0-98C1928BDA96}"/>
                </a:ext>
              </a:extLst>
            </p:cNvPr>
            <p:cNvSpPr>
              <a:spLocks/>
            </p:cNvSpPr>
            <p:nvPr/>
          </p:nvSpPr>
          <p:spPr>
            <a:xfrm>
              <a:off x="-583420" y="3360244"/>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lnSpc>
                  <a:spcPct val="85000"/>
                </a:lnSpc>
              </a:pPr>
              <a:r>
                <a:rPr lang="en-US" sz="1400" b="1">
                  <a:solidFill>
                    <a:schemeClr val="tx1">
                      <a:lumMod val="65000"/>
                      <a:lumOff val="35000"/>
                    </a:schemeClr>
                  </a:solidFill>
                  <a:latin typeface="Arial Narrow" panose="020B0604020202020204" pitchFamily="34" charset="0"/>
                  <a:cs typeface="Arial Narrow" panose="020B0604020202020204" pitchFamily="34" charset="0"/>
                </a:rPr>
                <a:t>Energy Related Products</a:t>
              </a:r>
            </a:p>
          </p:txBody>
        </p:sp>
        <p:pic>
          <p:nvPicPr>
            <p:cNvPr id="76" name="Graphic 75">
              <a:extLst>
                <a:ext uri="{FF2B5EF4-FFF2-40B4-BE49-F238E27FC236}">
                  <a16:creationId xmlns:a16="http://schemas.microsoft.com/office/drawing/2014/main" id="{9D998670-9B68-F89D-6B48-EE6957A238D6}"/>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382616" y="3423957"/>
              <a:ext cx="606393" cy="606393"/>
            </a:xfrm>
            <a:prstGeom prst="rect">
              <a:avLst/>
            </a:prstGeom>
          </p:spPr>
        </p:pic>
      </p:grpSp>
      <p:cxnSp>
        <p:nvCxnSpPr>
          <p:cNvPr id="81" name="Elbow Connector 80">
            <a:extLst>
              <a:ext uri="{FF2B5EF4-FFF2-40B4-BE49-F238E27FC236}">
                <a16:creationId xmlns:a16="http://schemas.microsoft.com/office/drawing/2014/main" id="{A2B09248-B8CD-5C29-FF6F-905601E7CB5E}"/>
              </a:ext>
            </a:extLst>
          </p:cNvPr>
          <p:cNvCxnSpPr>
            <a:cxnSpLocks/>
          </p:cNvCxnSpPr>
          <p:nvPr/>
        </p:nvCxnSpPr>
        <p:spPr>
          <a:xfrm rot="16200000" flipH="1">
            <a:off x="6589663" y="4054585"/>
            <a:ext cx="3069881" cy="1033434"/>
          </a:xfrm>
          <a:prstGeom prst="bentConnector3">
            <a:avLst>
              <a:gd name="adj1" fmla="val 51862"/>
            </a:avLst>
          </a:prstGeom>
          <a:ln w="158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676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7B5207-CF0C-2C17-6540-82E55358800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AE85521-13E8-6DBE-36DC-AAAC7D3A2787}"/>
              </a:ext>
            </a:extLst>
          </p:cNvPr>
          <p:cNvSpPr>
            <a:spLocks noGrp="1"/>
          </p:cNvSpPr>
          <p:nvPr>
            <p:ph type="title"/>
          </p:nvPr>
        </p:nvSpPr>
        <p:spPr/>
        <p:txBody>
          <a:bodyPr/>
          <a:lstStyle/>
          <a:p>
            <a:r>
              <a:rPr lang="en-US"/>
              <a:t>What Shall Be Covered by the Ecodesign for Sustainable Product Regulation (ESPR)?</a:t>
            </a:r>
          </a:p>
        </p:txBody>
      </p:sp>
      <p:sp>
        <p:nvSpPr>
          <p:cNvPr id="3" name="Date Placeholder 2">
            <a:extLst>
              <a:ext uri="{FF2B5EF4-FFF2-40B4-BE49-F238E27FC236}">
                <a16:creationId xmlns:a16="http://schemas.microsoft.com/office/drawing/2014/main" id="{2B712A10-AD5A-C9D2-EDB9-A216DA149548}"/>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2E752000-55A0-4553-BBD4-CFFEEB173D51}"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4" name="Slide Number Placeholder 3">
            <a:extLst>
              <a:ext uri="{FF2B5EF4-FFF2-40B4-BE49-F238E27FC236}">
                <a16:creationId xmlns:a16="http://schemas.microsoft.com/office/drawing/2014/main" id="{81A12625-6D2E-3306-1D25-C4F7DD46C3F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17</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
        <p:nvSpPr>
          <p:cNvPr id="5" name="TextBox 4">
            <a:extLst>
              <a:ext uri="{FF2B5EF4-FFF2-40B4-BE49-F238E27FC236}">
                <a16:creationId xmlns:a16="http://schemas.microsoft.com/office/drawing/2014/main" id="{1241C331-A795-2594-A5A5-53DE4232AD72}"/>
              </a:ext>
            </a:extLst>
          </p:cNvPr>
          <p:cNvSpPr txBox="1"/>
          <p:nvPr/>
        </p:nvSpPr>
        <p:spPr>
          <a:xfrm>
            <a:off x="317611" y="2871945"/>
            <a:ext cx="1938351" cy="338554"/>
          </a:xfrm>
          <a:prstGeom prst="rect">
            <a:avLst/>
          </a:prstGeom>
          <a:noFill/>
        </p:spPr>
        <p:txBody>
          <a:bodyPr wrap="none" rtlCol="0">
            <a:spAutoFit/>
          </a:bodyPr>
          <a:lstStyle/>
          <a:p>
            <a:pPr marL="0" indent="0" algn="l">
              <a:buClr>
                <a:schemeClr val="bg2"/>
              </a:buClr>
              <a:buSzPct val="80000"/>
              <a:buFont typeface="Arial" panose="020B0604020202020204" pitchFamily="34" charset="0"/>
              <a:buNone/>
            </a:pPr>
            <a:r>
              <a:rPr lang="en-US" sz="1600" b="1" i="0" u="none" strike="noStrike" cap="none">
                <a:solidFill>
                  <a:schemeClr val="tx1">
                    <a:lumMod val="65000"/>
                    <a:lumOff val="35000"/>
                  </a:schemeClr>
                </a:solidFill>
                <a:latin typeface="Arial" panose="020B0604020202020204" pitchFamily="34" charset="0"/>
                <a:cs typeface="Arial" panose="020B0604020202020204" pitchFamily="34" charset="0"/>
                <a:sym typeface="Calibri" panose="020F0502020204030204" pitchFamily="34" charset="0"/>
              </a:rPr>
              <a:t>End-use Products</a:t>
            </a:r>
          </a:p>
        </p:txBody>
      </p:sp>
      <p:sp>
        <p:nvSpPr>
          <p:cNvPr id="6" name="TextBox 5">
            <a:extLst>
              <a:ext uri="{FF2B5EF4-FFF2-40B4-BE49-F238E27FC236}">
                <a16:creationId xmlns:a16="http://schemas.microsoft.com/office/drawing/2014/main" id="{168BCA2C-B774-A2E1-1E44-F93B7ACA18D4}"/>
              </a:ext>
            </a:extLst>
          </p:cNvPr>
          <p:cNvSpPr txBox="1"/>
          <p:nvPr/>
        </p:nvSpPr>
        <p:spPr>
          <a:xfrm>
            <a:off x="7821382" y="2867085"/>
            <a:ext cx="2351926" cy="338554"/>
          </a:xfrm>
          <a:prstGeom prst="rect">
            <a:avLst/>
          </a:prstGeom>
          <a:noFill/>
        </p:spPr>
        <p:txBody>
          <a:bodyPr wrap="none" rtlCol="0">
            <a:spAutoFit/>
          </a:bodyPr>
          <a:lstStyle/>
          <a:p>
            <a:pPr marL="0" indent="0" algn="l">
              <a:buClr>
                <a:schemeClr val="bg2"/>
              </a:buClr>
              <a:buSzPct val="80000"/>
              <a:buFont typeface="Arial" panose="020B0604020202020204" pitchFamily="34" charset="0"/>
              <a:buNone/>
            </a:pPr>
            <a:r>
              <a:rPr lang="en-US" sz="1600" b="1">
                <a:solidFill>
                  <a:schemeClr val="tx1">
                    <a:lumMod val="65000"/>
                    <a:lumOff val="35000"/>
                  </a:schemeClr>
                </a:solidFill>
                <a:latin typeface="Arial" panose="020B0604020202020204" pitchFamily="34" charset="0"/>
                <a:cs typeface="Arial" panose="020B0604020202020204" pitchFamily="34" charset="0"/>
                <a:sym typeface="Calibri" panose="020F0502020204030204" pitchFamily="34" charset="0"/>
              </a:rPr>
              <a:t>Intermediate</a:t>
            </a:r>
            <a:r>
              <a:rPr lang="en-US" sz="1600" b="1" i="0" u="none" strike="noStrike" cap="none">
                <a:solidFill>
                  <a:schemeClr val="tx1">
                    <a:lumMod val="65000"/>
                    <a:lumOff val="35000"/>
                  </a:schemeClr>
                </a:solidFill>
                <a:latin typeface="Arial" panose="020B0604020202020204" pitchFamily="34" charset="0"/>
                <a:cs typeface="Arial" panose="020B0604020202020204" pitchFamily="34" charset="0"/>
                <a:sym typeface="Calibri" panose="020F0502020204030204" pitchFamily="34" charset="0"/>
              </a:rPr>
              <a:t> Products</a:t>
            </a:r>
          </a:p>
        </p:txBody>
      </p:sp>
      <p:grpSp>
        <p:nvGrpSpPr>
          <p:cNvPr id="7" name="Group 6">
            <a:extLst>
              <a:ext uri="{FF2B5EF4-FFF2-40B4-BE49-F238E27FC236}">
                <a16:creationId xmlns:a16="http://schemas.microsoft.com/office/drawing/2014/main" id="{8F91C3DA-72F9-4551-72C6-48954EECCFEB}"/>
              </a:ext>
            </a:extLst>
          </p:cNvPr>
          <p:cNvGrpSpPr/>
          <p:nvPr/>
        </p:nvGrpSpPr>
        <p:grpSpPr>
          <a:xfrm>
            <a:off x="6383419" y="3281517"/>
            <a:ext cx="1008000" cy="1296000"/>
            <a:chOff x="5352347" y="1127003"/>
            <a:chExt cx="1008000" cy="1296000"/>
          </a:xfrm>
        </p:grpSpPr>
        <p:sp>
          <p:nvSpPr>
            <p:cNvPr id="8" name="Rectangle 7">
              <a:extLst>
                <a:ext uri="{FF2B5EF4-FFF2-40B4-BE49-F238E27FC236}">
                  <a16:creationId xmlns:a16="http://schemas.microsoft.com/office/drawing/2014/main" id="{680D23CF-DB7A-EAEE-6988-4CC31FB7C101}"/>
                </a:ext>
              </a:extLst>
            </p:cNvPr>
            <p:cNvSpPr>
              <a:spLocks/>
            </p:cNvSpPr>
            <p:nvPr/>
          </p:nvSpPr>
          <p:spPr>
            <a:xfrm>
              <a:off x="5352347" y="1127003"/>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ICT</a:t>
              </a:r>
            </a:p>
          </p:txBody>
        </p:sp>
        <p:pic>
          <p:nvPicPr>
            <p:cNvPr id="9" name="Graphic 8">
              <a:extLst>
                <a:ext uri="{FF2B5EF4-FFF2-40B4-BE49-F238E27FC236}">
                  <a16:creationId xmlns:a16="http://schemas.microsoft.com/office/drawing/2014/main" id="{03BE19CB-5710-4D0A-602D-F6AD003862D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49592" y="1285200"/>
              <a:ext cx="613509" cy="613509"/>
            </a:xfrm>
            <a:prstGeom prst="rect">
              <a:avLst/>
            </a:prstGeom>
          </p:spPr>
        </p:pic>
      </p:grpSp>
      <p:grpSp>
        <p:nvGrpSpPr>
          <p:cNvPr id="13" name="Group 12">
            <a:extLst>
              <a:ext uri="{FF2B5EF4-FFF2-40B4-BE49-F238E27FC236}">
                <a16:creationId xmlns:a16="http://schemas.microsoft.com/office/drawing/2014/main" id="{E5859245-69F7-16AB-CD83-5325C4FCF05A}"/>
              </a:ext>
            </a:extLst>
          </p:cNvPr>
          <p:cNvGrpSpPr/>
          <p:nvPr/>
        </p:nvGrpSpPr>
        <p:grpSpPr>
          <a:xfrm>
            <a:off x="317611" y="3281517"/>
            <a:ext cx="1008000" cy="1296000"/>
            <a:chOff x="126440" y="2965471"/>
            <a:chExt cx="1008000" cy="1296000"/>
          </a:xfrm>
        </p:grpSpPr>
        <p:sp>
          <p:nvSpPr>
            <p:cNvPr id="14" name="Rectangle 13">
              <a:extLst>
                <a:ext uri="{FF2B5EF4-FFF2-40B4-BE49-F238E27FC236}">
                  <a16:creationId xmlns:a16="http://schemas.microsoft.com/office/drawing/2014/main" id="{9A2A8B3C-BE00-A164-A29F-19424BC59217}"/>
                </a:ext>
              </a:extLst>
            </p:cNvPr>
            <p:cNvSpPr>
              <a:spLocks/>
            </p:cNvSpPr>
            <p:nvPr/>
          </p:nvSpPr>
          <p:spPr>
            <a:xfrm>
              <a:off x="126440" y="2965471"/>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Textile</a:t>
              </a:r>
            </a:p>
          </p:txBody>
        </p:sp>
        <p:pic>
          <p:nvPicPr>
            <p:cNvPr id="15" name="Graphic 14">
              <a:extLst>
                <a:ext uri="{FF2B5EF4-FFF2-40B4-BE49-F238E27FC236}">
                  <a16:creationId xmlns:a16="http://schemas.microsoft.com/office/drawing/2014/main" id="{B4D173E1-A5E7-3A61-4397-635969DCB4F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2216" y="3161579"/>
              <a:ext cx="536448" cy="536448"/>
            </a:xfrm>
            <a:prstGeom prst="rect">
              <a:avLst/>
            </a:prstGeom>
          </p:spPr>
        </p:pic>
      </p:grpSp>
      <p:grpSp>
        <p:nvGrpSpPr>
          <p:cNvPr id="16" name="Group 15">
            <a:extLst>
              <a:ext uri="{FF2B5EF4-FFF2-40B4-BE49-F238E27FC236}">
                <a16:creationId xmlns:a16="http://schemas.microsoft.com/office/drawing/2014/main" id="{7CE6E8BE-4BBB-8763-74DE-84413A4FCED7}"/>
              </a:ext>
            </a:extLst>
          </p:cNvPr>
          <p:cNvGrpSpPr/>
          <p:nvPr/>
        </p:nvGrpSpPr>
        <p:grpSpPr>
          <a:xfrm>
            <a:off x="1329074" y="3281517"/>
            <a:ext cx="1008000" cy="1296000"/>
            <a:chOff x="1337184" y="2969210"/>
            <a:chExt cx="1008000" cy="1296000"/>
          </a:xfrm>
        </p:grpSpPr>
        <p:sp>
          <p:nvSpPr>
            <p:cNvPr id="17" name="Rectangle 16">
              <a:extLst>
                <a:ext uri="{FF2B5EF4-FFF2-40B4-BE49-F238E27FC236}">
                  <a16:creationId xmlns:a16="http://schemas.microsoft.com/office/drawing/2014/main" id="{0F30EB37-9F38-C294-8EC8-9F8C726F0E7B}"/>
                </a:ext>
              </a:extLst>
            </p:cNvPr>
            <p:cNvSpPr>
              <a:spLocks/>
            </p:cNvSpPr>
            <p:nvPr/>
          </p:nvSpPr>
          <p:spPr>
            <a:xfrm>
              <a:off x="1337184" y="2969210"/>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Furniture</a:t>
              </a:r>
            </a:p>
          </p:txBody>
        </p:sp>
        <p:pic>
          <p:nvPicPr>
            <p:cNvPr id="18" name="Graphic 17">
              <a:extLst>
                <a:ext uri="{FF2B5EF4-FFF2-40B4-BE49-F238E27FC236}">
                  <a16:creationId xmlns:a16="http://schemas.microsoft.com/office/drawing/2014/main" id="{08C246E8-B324-8086-05F4-B657AEAAFCE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72960" y="3161579"/>
              <a:ext cx="536448" cy="536448"/>
            </a:xfrm>
            <a:prstGeom prst="rect">
              <a:avLst/>
            </a:prstGeom>
          </p:spPr>
        </p:pic>
      </p:grpSp>
      <p:grpSp>
        <p:nvGrpSpPr>
          <p:cNvPr id="19" name="Group 18">
            <a:extLst>
              <a:ext uri="{FF2B5EF4-FFF2-40B4-BE49-F238E27FC236}">
                <a16:creationId xmlns:a16="http://schemas.microsoft.com/office/drawing/2014/main" id="{6E3CBA21-81F6-27E5-2A3C-07B7168E5667}"/>
              </a:ext>
            </a:extLst>
          </p:cNvPr>
          <p:cNvGrpSpPr/>
          <p:nvPr/>
        </p:nvGrpSpPr>
        <p:grpSpPr>
          <a:xfrm>
            <a:off x="4363463" y="3281517"/>
            <a:ext cx="1008000" cy="1296000"/>
            <a:chOff x="2547928" y="2972949"/>
            <a:chExt cx="1008000" cy="1296000"/>
          </a:xfrm>
        </p:grpSpPr>
        <p:sp>
          <p:nvSpPr>
            <p:cNvPr id="20" name="Rectangle 19">
              <a:extLst>
                <a:ext uri="{FF2B5EF4-FFF2-40B4-BE49-F238E27FC236}">
                  <a16:creationId xmlns:a16="http://schemas.microsoft.com/office/drawing/2014/main" id="{953BE6B6-B367-0AE7-D480-E1C8FA78575A}"/>
                </a:ext>
              </a:extLst>
            </p:cNvPr>
            <p:cNvSpPr>
              <a:spLocks/>
            </p:cNvSpPr>
            <p:nvPr/>
          </p:nvSpPr>
          <p:spPr>
            <a:xfrm>
              <a:off x="2547928" y="2972949"/>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Tires</a:t>
              </a:r>
            </a:p>
          </p:txBody>
        </p:sp>
        <p:pic>
          <p:nvPicPr>
            <p:cNvPr id="21" name="Graphic 20">
              <a:extLst>
                <a:ext uri="{FF2B5EF4-FFF2-40B4-BE49-F238E27FC236}">
                  <a16:creationId xmlns:a16="http://schemas.microsoft.com/office/drawing/2014/main" id="{7BD98892-8ADD-DF44-0F99-1A915A6109B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54356" y="3132231"/>
              <a:ext cx="595144" cy="595144"/>
            </a:xfrm>
            <a:prstGeom prst="rect">
              <a:avLst/>
            </a:prstGeom>
          </p:spPr>
        </p:pic>
      </p:grpSp>
      <p:grpSp>
        <p:nvGrpSpPr>
          <p:cNvPr id="25" name="Group 24">
            <a:extLst>
              <a:ext uri="{FF2B5EF4-FFF2-40B4-BE49-F238E27FC236}">
                <a16:creationId xmlns:a16="http://schemas.microsoft.com/office/drawing/2014/main" id="{40308B29-A4D9-38A6-086F-DCE3AB1183A5}"/>
              </a:ext>
            </a:extLst>
          </p:cNvPr>
          <p:cNvGrpSpPr/>
          <p:nvPr/>
        </p:nvGrpSpPr>
        <p:grpSpPr>
          <a:xfrm>
            <a:off x="5374926" y="3281517"/>
            <a:ext cx="1008000" cy="1296000"/>
            <a:chOff x="4969416" y="2980427"/>
            <a:chExt cx="1008000" cy="1296000"/>
          </a:xfrm>
        </p:grpSpPr>
        <p:sp>
          <p:nvSpPr>
            <p:cNvPr id="26" name="Rectangle 25">
              <a:extLst>
                <a:ext uri="{FF2B5EF4-FFF2-40B4-BE49-F238E27FC236}">
                  <a16:creationId xmlns:a16="http://schemas.microsoft.com/office/drawing/2014/main" id="{9498948F-861A-C37F-6529-46E9EBC5690C}"/>
                </a:ext>
              </a:extLst>
            </p:cNvPr>
            <p:cNvSpPr>
              <a:spLocks/>
            </p:cNvSpPr>
            <p:nvPr/>
          </p:nvSpPr>
          <p:spPr>
            <a:xfrm>
              <a:off x="4969416" y="2980427"/>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Detergents</a:t>
              </a:r>
            </a:p>
          </p:txBody>
        </p:sp>
        <p:pic>
          <p:nvPicPr>
            <p:cNvPr id="27" name="Graphic 26">
              <a:extLst>
                <a:ext uri="{FF2B5EF4-FFF2-40B4-BE49-F238E27FC236}">
                  <a16:creationId xmlns:a16="http://schemas.microsoft.com/office/drawing/2014/main" id="{CF3EFB19-E1B9-2E81-348D-7F5936EBEF9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205192" y="3161579"/>
              <a:ext cx="536448" cy="536448"/>
            </a:xfrm>
            <a:prstGeom prst="rect">
              <a:avLst/>
            </a:prstGeom>
          </p:spPr>
        </p:pic>
      </p:grpSp>
      <p:grpSp>
        <p:nvGrpSpPr>
          <p:cNvPr id="28" name="Group 27">
            <a:extLst>
              <a:ext uri="{FF2B5EF4-FFF2-40B4-BE49-F238E27FC236}">
                <a16:creationId xmlns:a16="http://schemas.microsoft.com/office/drawing/2014/main" id="{11D2137E-83F8-DA7C-EA57-CC5C45B8DA71}"/>
              </a:ext>
            </a:extLst>
          </p:cNvPr>
          <p:cNvGrpSpPr/>
          <p:nvPr/>
        </p:nvGrpSpPr>
        <p:grpSpPr>
          <a:xfrm>
            <a:off x="2339547" y="3281517"/>
            <a:ext cx="1008000" cy="1296000"/>
            <a:chOff x="6180161" y="2984166"/>
            <a:chExt cx="1008000" cy="1296000"/>
          </a:xfrm>
        </p:grpSpPr>
        <p:sp>
          <p:nvSpPr>
            <p:cNvPr id="29" name="Rectangle 28">
              <a:extLst>
                <a:ext uri="{FF2B5EF4-FFF2-40B4-BE49-F238E27FC236}">
                  <a16:creationId xmlns:a16="http://schemas.microsoft.com/office/drawing/2014/main" id="{F53DA9FE-E404-419C-CFDE-3262BE9219B8}"/>
                </a:ext>
              </a:extLst>
            </p:cNvPr>
            <p:cNvSpPr>
              <a:spLocks/>
            </p:cNvSpPr>
            <p:nvPr/>
          </p:nvSpPr>
          <p:spPr>
            <a:xfrm>
              <a:off x="6180161" y="2984166"/>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Mattresses</a:t>
              </a:r>
            </a:p>
          </p:txBody>
        </p:sp>
        <p:pic>
          <p:nvPicPr>
            <p:cNvPr id="30" name="Graphic 29">
              <a:extLst>
                <a:ext uri="{FF2B5EF4-FFF2-40B4-BE49-F238E27FC236}">
                  <a16:creationId xmlns:a16="http://schemas.microsoft.com/office/drawing/2014/main" id="{7E39C3CD-25B6-C1BB-5453-EEEFA4760B0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415937" y="3161579"/>
              <a:ext cx="536448" cy="536448"/>
            </a:xfrm>
            <a:prstGeom prst="rect">
              <a:avLst/>
            </a:prstGeom>
          </p:spPr>
        </p:pic>
      </p:grpSp>
      <p:grpSp>
        <p:nvGrpSpPr>
          <p:cNvPr id="31" name="Group 30">
            <a:extLst>
              <a:ext uri="{FF2B5EF4-FFF2-40B4-BE49-F238E27FC236}">
                <a16:creationId xmlns:a16="http://schemas.microsoft.com/office/drawing/2014/main" id="{C0A7F81B-A3FF-86B7-E318-D4F9AFD4662F}"/>
              </a:ext>
            </a:extLst>
          </p:cNvPr>
          <p:cNvGrpSpPr/>
          <p:nvPr/>
        </p:nvGrpSpPr>
        <p:grpSpPr>
          <a:xfrm>
            <a:off x="317611" y="4682663"/>
            <a:ext cx="1008000" cy="1296000"/>
            <a:chOff x="126440" y="4468206"/>
            <a:chExt cx="1008000" cy="1296000"/>
          </a:xfrm>
        </p:grpSpPr>
        <p:sp>
          <p:nvSpPr>
            <p:cNvPr id="32" name="Rectangle 31">
              <a:extLst>
                <a:ext uri="{FF2B5EF4-FFF2-40B4-BE49-F238E27FC236}">
                  <a16:creationId xmlns:a16="http://schemas.microsoft.com/office/drawing/2014/main" id="{F69355B5-406F-A34B-1AD6-2399D6ABED7B}"/>
                </a:ext>
              </a:extLst>
            </p:cNvPr>
            <p:cNvSpPr>
              <a:spLocks/>
            </p:cNvSpPr>
            <p:nvPr/>
          </p:nvSpPr>
          <p:spPr>
            <a:xfrm>
              <a:off x="126440" y="4468206"/>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Lubricants</a:t>
              </a:r>
            </a:p>
          </p:txBody>
        </p:sp>
        <p:pic>
          <p:nvPicPr>
            <p:cNvPr id="33" name="Graphic 32">
              <a:extLst>
                <a:ext uri="{FF2B5EF4-FFF2-40B4-BE49-F238E27FC236}">
                  <a16:creationId xmlns:a16="http://schemas.microsoft.com/office/drawing/2014/main" id="{7FFFF03F-39EC-E4E2-5EDA-46E495618EE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27244" y="4585996"/>
              <a:ext cx="606392" cy="606392"/>
            </a:xfrm>
            <a:prstGeom prst="rect">
              <a:avLst/>
            </a:prstGeom>
          </p:spPr>
        </p:pic>
      </p:grpSp>
      <p:grpSp>
        <p:nvGrpSpPr>
          <p:cNvPr id="37" name="Group 36">
            <a:extLst>
              <a:ext uri="{FF2B5EF4-FFF2-40B4-BE49-F238E27FC236}">
                <a16:creationId xmlns:a16="http://schemas.microsoft.com/office/drawing/2014/main" id="{339658CA-F2B7-4C60-62B3-F52B66266578}"/>
              </a:ext>
            </a:extLst>
          </p:cNvPr>
          <p:cNvGrpSpPr/>
          <p:nvPr/>
        </p:nvGrpSpPr>
        <p:grpSpPr>
          <a:xfrm>
            <a:off x="4361483" y="4686402"/>
            <a:ext cx="1008000" cy="1296000"/>
            <a:chOff x="3758672" y="4479423"/>
            <a:chExt cx="1008000" cy="1296000"/>
          </a:xfrm>
        </p:grpSpPr>
        <p:sp>
          <p:nvSpPr>
            <p:cNvPr id="38" name="Rectangle 37">
              <a:extLst>
                <a:ext uri="{FF2B5EF4-FFF2-40B4-BE49-F238E27FC236}">
                  <a16:creationId xmlns:a16="http://schemas.microsoft.com/office/drawing/2014/main" id="{B647768E-749A-2937-5888-32D97701172B}"/>
                </a:ext>
              </a:extLst>
            </p:cNvPr>
            <p:cNvSpPr>
              <a:spLocks/>
            </p:cNvSpPr>
            <p:nvPr/>
          </p:nvSpPr>
          <p:spPr>
            <a:xfrm>
              <a:off x="3758672" y="4479423"/>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Toys</a:t>
              </a:r>
            </a:p>
          </p:txBody>
        </p:sp>
        <p:pic>
          <p:nvPicPr>
            <p:cNvPr id="39" name="Graphic 38">
              <a:extLst>
                <a:ext uri="{FF2B5EF4-FFF2-40B4-BE49-F238E27FC236}">
                  <a16:creationId xmlns:a16="http://schemas.microsoft.com/office/drawing/2014/main" id="{7F4DA7C1-FA60-4BCB-31FA-612DE180C63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994448" y="4620968"/>
              <a:ext cx="536448" cy="536448"/>
            </a:xfrm>
            <a:prstGeom prst="rect">
              <a:avLst/>
            </a:prstGeom>
          </p:spPr>
        </p:pic>
      </p:grpSp>
      <p:grpSp>
        <p:nvGrpSpPr>
          <p:cNvPr id="46" name="Group 45">
            <a:extLst>
              <a:ext uri="{FF2B5EF4-FFF2-40B4-BE49-F238E27FC236}">
                <a16:creationId xmlns:a16="http://schemas.microsoft.com/office/drawing/2014/main" id="{F02B10E1-D8B2-1D3F-F79B-B6CB8BCB8CEC}"/>
              </a:ext>
            </a:extLst>
          </p:cNvPr>
          <p:cNvGrpSpPr/>
          <p:nvPr/>
        </p:nvGrpSpPr>
        <p:grpSpPr>
          <a:xfrm>
            <a:off x="2339547" y="4680794"/>
            <a:ext cx="1008000" cy="1296000"/>
            <a:chOff x="1337184" y="4471945"/>
            <a:chExt cx="1008000" cy="1296000"/>
          </a:xfrm>
        </p:grpSpPr>
        <p:sp>
          <p:nvSpPr>
            <p:cNvPr id="47" name="Rectangle 46">
              <a:extLst>
                <a:ext uri="{FF2B5EF4-FFF2-40B4-BE49-F238E27FC236}">
                  <a16:creationId xmlns:a16="http://schemas.microsoft.com/office/drawing/2014/main" id="{1B7D73D3-A8D8-2E92-CB2F-407D9A0A0EE9}"/>
                </a:ext>
              </a:extLst>
            </p:cNvPr>
            <p:cNvSpPr>
              <a:spLocks/>
            </p:cNvSpPr>
            <p:nvPr/>
          </p:nvSpPr>
          <p:spPr>
            <a:xfrm>
              <a:off x="1337184" y="4471945"/>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lnSpc>
                  <a:spcPct val="85000"/>
                </a:lnSpc>
              </a:pPr>
              <a:r>
                <a:rPr lang="en-US" sz="1400" b="1">
                  <a:solidFill>
                    <a:schemeClr val="tx1">
                      <a:lumMod val="65000"/>
                      <a:lumOff val="35000"/>
                    </a:schemeClr>
                  </a:solidFill>
                  <a:latin typeface="Arial Narrow" panose="020B0604020202020204" pitchFamily="34" charset="0"/>
                  <a:cs typeface="Arial Narrow" panose="020B0604020202020204" pitchFamily="34" charset="0"/>
                </a:rPr>
                <a:t>Paints</a:t>
              </a:r>
            </a:p>
          </p:txBody>
        </p:sp>
        <p:sp>
          <p:nvSpPr>
            <p:cNvPr id="48" name="Freeform 47">
              <a:extLst>
                <a:ext uri="{FF2B5EF4-FFF2-40B4-BE49-F238E27FC236}">
                  <a16:creationId xmlns:a16="http://schemas.microsoft.com/office/drawing/2014/main" id="{3F5F09BD-C891-B5B7-E9E1-B3D1F8A55917}"/>
                </a:ext>
              </a:extLst>
            </p:cNvPr>
            <p:cNvSpPr/>
            <p:nvPr/>
          </p:nvSpPr>
          <p:spPr>
            <a:xfrm>
              <a:off x="1598629" y="4620968"/>
              <a:ext cx="485111" cy="536448"/>
            </a:xfrm>
            <a:custGeom>
              <a:avLst/>
              <a:gdLst>
                <a:gd name="connsiteX0" fmla="*/ 3359204 w 3591476"/>
                <a:gd name="connsiteY0" fmla="*/ 461909 h 3971547"/>
                <a:gd name="connsiteX1" fmla="*/ 3257072 w 3591476"/>
                <a:gd name="connsiteY1" fmla="*/ 505109 h 3971547"/>
                <a:gd name="connsiteX2" fmla="*/ 3257049 w 3591476"/>
                <a:gd name="connsiteY2" fmla="*/ 505109 h 3971547"/>
                <a:gd name="connsiteX3" fmla="*/ 3268079 w 3591476"/>
                <a:gd name="connsiteY3" fmla="*/ 565785 h 3971547"/>
                <a:gd name="connsiteX4" fmla="*/ 3268079 w 3591476"/>
                <a:gd name="connsiteY4" fmla="*/ 1289647 h 3971547"/>
                <a:gd name="connsiteX5" fmla="*/ 3216307 w 3591476"/>
                <a:gd name="connsiteY5" fmla="*/ 1414708 h 3971547"/>
                <a:gd name="connsiteX6" fmla="*/ 3091200 w 3591476"/>
                <a:gd name="connsiteY6" fmla="*/ 1466298 h 3971547"/>
                <a:gd name="connsiteX7" fmla="*/ 2987992 w 3591476"/>
                <a:gd name="connsiteY7" fmla="*/ 1432385 h 3971547"/>
                <a:gd name="connsiteX8" fmla="*/ 2987992 w 3591476"/>
                <a:gd name="connsiteY8" fmla="*/ 1810512 h 3971547"/>
                <a:gd name="connsiteX9" fmla="*/ 2917806 w 3591476"/>
                <a:gd name="connsiteY9" fmla="*/ 1932070 h 3971547"/>
                <a:gd name="connsiteX10" fmla="*/ 2777434 w 3591476"/>
                <a:gd name="connsiteY10" fmla="*/ 1932070 h 3971547"/>
                <a:gd name="connsiteX11" fmla="*/ 2707248 w 3591476"/>
                <a:gd name="connsiteY11" fmla="*/ 1810512 h 3971547"/>
                <a:gd name="connsiteX12" fmla="*/ 2707248 w 3591476"/>
                <a:gd name="connsiteY12" fmla="*/ 1697772 h 3971547"/>
                <a:gd name="connsiteX13" fmla="*/ 2615631 w 3591476"/>
                <a:gd name="connsiteY13" fmla="*/ 1659847 h 3971547"/>
                <a:gd name="connsiteX14" fmla="*/ 2577707 w 3591476"/>
                <a:gd name="connsiteY14" fmla="*/ 1568230 h 3971547"/>
                <a:gd name="connsiteX15" fmla="*/ 2577707 w 3591476"/>
                <a:gd name="connsiteY15" fmla="*/ 672461 h 3971547"/>
                <a:gd name="connsiteX16" fmla="*/ 1943907 w 3591476"/>
                <a:gd name="connsiteY16" fmla="*/ 715655 h 3971547"/>
                <a:gd name="connsiteX17" fmla="*/ 530136 w 3591476"/>
                <a:gd name="connsiteY17" fmla="*/ 461269 h 3971547"/>
                <a:gd name="connsiteX18" fmla="*/ 509351 w 3591476"/>
                <a:gd name="connsiteY18" fmla="*/ 428877 h 3971547"/>
                <a:gd name="connsiteX19" fmla="*/ 530136 w 3591476"/>
                <a:gd name="connsiteY19" fmla="*/ 396484 h 3971547"/>
                <a:gd name="connsiteX20" fmla="*/ 1945450 w 3591476"/>
                <a:gd name="connsiteY20" fmla="*/ 142098 h 3971547"/>
                <a:gd name="connsiteX21" fmla="*/ 3359233 w 3591476"/>
                <a:gd name="connsiteY21" fmla="*/ 396484 h 3971547"/>
                <a:gd name="connsiteX22" fmla="*/ 3380013 w 3591476"/>
                <a:gd name="connsiteY22" fmla="*/ 428877 h 3971547"/>
                <a:gd name="connsiteX23" fmla="*/ 3359233 w 3591476"/>
                <a:gd name="connsiteY23" fmla="*/ 461269 h 3971547"/>
                <a:gd name="connsiteX24" fmla="*/ 3589833 w 3591476"/>
                <a:gd name="connsiteY24" fmla="*/ 437735 h 3971547"/>
                <a:gd name="connsiteX25" fmla="*/ 3582735 w 3591476"/>
                <a:gd name="connsiteY25" fmla="*/ 388237 h 3971547"/>
                <a:gd name="connsiteX26" fmla="*/ 3549000 w 3591476"/>
                <a:gd name="connsiteY26" fmla="*/ 351335 h 3971547"/>
                <a:gd name="connsiteX27" fmla="*/ 2094418 w 3591476"/>
                <a:gd name="connsiteY27" fmla="*/ 1292 h 3971547"/>
                <a:gd name="connsiteX28" fmla="*/ 2064620 w 3591476"/>
                <a:gd name="connsiteY28" fmla="*/ 1292 h 3971547"/>
                <a:gd name="connsiteX29" fmla="*/ 1954920 w 3591476"/>
                <a:gd name="connsiteY29" fmla="*/ 0 h 3971547"/>
                <a:gd name="connsiteX30" fmla="*/ 1845221 w 3591476"/>
                <a:gd name="connsiteY30" fmla="*/ 1292 h 3971547"/>
                <a:gd name="connsiteX31" fmla="*/ 1815194 w 3591476"/>
                <a:gd name="connsiteY31" fmla="*/ 1292 h 3971547"/>
                <a:gd name="connsiteX32" fmla="*/ 360784 w 3591476"/>
                <a:gd name="connsiteY32" fmla="*/ 351558 h 3971547"/>
                <a:gd name="connsiteX33" fmla="*/ 360807 w 3591476"/>
                <a:gd name="connsiteY33" fmla="*/ 351558 h 3971547"/>
                <a:gd name="connsiteX34" fmla="*/ 327094 w 3591476"/>
                <a:gd name="connsiteY34" fmla="*/ 388460 h 3971547"/>
                <a:gd name="connsiteX35" fmla="*/ 319996 w 3591476"/>
                <a:gd name="connsiteY35" fmla="*/ 437935 h 3971547"/>
                <a:gd name="connsiteX36" fmla="*/ 318904 w 3591476"/>
                <a:gd name="connsiteY36" fmla="*/ 450256 h 3971547"/>
                <a:gd name="connsiteX37" fmla="*/ 318904 w 3591476"/>
                <a:gd name="connsiteY37" fmla="*/ 1996221 h 3971547"/>
                <a:gd name="connsiteX38" fmla="*/ 189334 w 3591476"/>
                <a:gd name="connsiteY38" fmla="*/ 2195332 h 3971547"/>
                <a:gd name="connsiteX39" fmla="*/ 189357 w 3591476"/>
                <a:gd name="connsiteY39" fmla="*/ 2195309 h 3971547"/>
                <a:gd name="connsiteX40" fmla="*/ 3196 w 3591476"/>
                <a:gd name="connsiteY40" fmla="*/ 2672780 h 3971547"/>
                <a:gd name="connsiteX41" fmla="*/ 23262 w 3591476"/>
                <a:gd name="connsiteY41" fmla="*/ 2807328 h 3971547"/>
                <a:gd name="connsiteX42" fmla="*/ 119816 w 3591476"/>
                <a:gd name="connsiteY42" fmla="*/ 2903186 h 3971547"/>
                <a:gd name="connsiteX43" fmla="*/ 227778 w 3591476"/>
                <a:gd name="connsiteY43" fmla="*/ 2930178 h 3971547"/>
                <a:gd name="connsiteX44" fmla="*/ 388021 w 3591476"/>
                <a:gd name="connsiteY44" fmla="*/ 2863221 h 3971547"/>
                <a:gd name="connsiteX45" fmla="*/ 1918613 w 3591476"/>
                <a:gd name="connsiteY45" fmla="*/ 1347088 h 3971547"/>
                <a:gd name="connsiteX46" fmla="*/ 2059836 w 3591476"/>
                <a:gd name="connsiteY46" fmla="*/ 1293533 h 3971547"/>
                <a:gd name="connsiteX47" fmla="*/ 2089863 w 3591476"/>
                <a:gd name="connsiteY47" fmla="*/ 1228748 h 3971547"/>
                <a:gd name="connsiteX48" fmla="*/ 2050595 w 3591476"/>
                <a:gd name="connsiteY48" fmla="*/ 1120854 h 3971547"/>
                <a:gd name="connsiteX49" fmla="*/ 1942816 w 3591476"/>
                <a:gd name="connsiteY49" fmla="*/ 1081278 h 3971547"/>
                <a:gd name="connsiteX50" fmla="*/ 1878031 w 3591476"/>
                <a:gd name="connsiteY50" fmla="*/ 1109562 h 3971547"/>
                <a:gd name="connsiteX51" fmla="*/ 1821886 w 3591476"/>
                <a:gd name="connsiteY51" fmla="*/ 1251431 h 3971547"/>
                <a:gd name="connsiteX52" fmla="*/ 292781 w 3591476"/>
                <a:gd name="connsiteY52" fmla="*/ 2766306 h 3971547"/>
                <a:gd name="connsiteX53" fmla="*/ 240477 w 3591476"/>
                <a:gd name="connsiteY53" fmla="*/ 2792646 h 3971547"/>
                <a:gd name="connsiteX54" fmla="*/ 182859 w 3591476"/>
                <a:gd name="connsiteY54" fmla="*/ 2782068 h 3971547"/>
                <a:gd name="connsiteX55" fmla="*/ 137739 w 3591476"/>
                <a:gd name="connsiteY55" fmla="*/ 2695697 h 3971547"/>
                <a:gd name="connsiteX56" fmla="*/ 304234 w 3591476"/>
                <a:gd name="connsiteY56" fmla="*/ 2269415 h 3971547"/>
                <a:gd name="connsiteX57" fmla="*/ 318921 w 3591476"/>
                <a:gd name="connsiteY57" fmla="*/ 2247824 h 3971547"/>
                <a:gd name="connsiteX58" fmla="*/ 318921 w 3591476"/>
                <a:gd name="connsiteY58" fmla="*/ 2613207 h 3971547"/>
                <a:gd name="connsiteX59" fmla="*/ 318904 w 3591476"/>
                <a:gd name="connsiteY59" fmla="*/ 2613207 h 3971547"/>
                <a:gd name="connsiteX60" fmla="*/ 327140 w 3591476"/>
                <a:gd name="connsiteY60" fmla="*/ 2625911 h 3971547"/>
                <a:gd name="connsiteX61" fmla="*/ 342027 w 3591476"/>
                <a:gd name="connsiteY61" fmla="*/ 2623145 h 3971547"/>
                <a:gd name="connsiteX62" fmla="*/ 1691282 w 3591476"/>
                <a:gd name="connsiteY62" fmla="*/ 1286464 h 3971547"/>
                <a:gd name="connsiteX63" fmla="*/ 1691259 w 3591476"/>
                <a:gd name="connsiteY63" fmla="*/ 1286464 h 3971547"/>
                <a:gd name="connsiteX64" fmla="*/ 1682623 w 3591476"/>
                <a:gd name="connsiteY64" fmla="*/ 1228376 h 3971547"/>
                <a:gd name="connsiteX65" fmla="*/ 1738722 w 3591476"/>
                <a:gd name="connsiteY65" fmla="*/ 1049045 h 3971547"/>
                <a:gd name="connsiteX66" fmla="*/ 1898587 w 3591476"/>
                <a:gd name="connsiteY66" fmla="*/ 950239 h 3971547"/>
                <a:gd name="connsiteX67" fmla="*/ 2116472 w 3591476"/>
                <a:gd name="connsiteY67" fmla="*/ 999216 h 3971547"/>
                <a:gd name="connsiteX68" fmla="*/ 2224720 w 3591476"/>
                <a:gd name="connsiteY68" fmla="*/ 1194578 h 3971547"/>
                <a:gd name="connsiteX69" fmla="*/ 2150739 w 3591476"/>
                <a:gd name="connsiteY69" fmla="*/ 1405296 h 3971547"/>
                <a:gd name="connsiteX70" fmla="*/ 1944153 w 3591476"/>
                <a:gd name="connsiteY70" fmla="*/ 1490106 h 3971547"/>
                <a:gd name="connsiteX71" fmla="*/ 1883677 w 3591476"/>
                <a:gd name="connsiteY71" fmla="*/ 1480396 h 3971547"/>
                <a:gd name="connsiteX72" fmla="*/ 436868 w 3591476"/>
                <a:gd name="connsiteY72" fmla="*/ 2913204 h 3971547"/>
                <a:gd name="connsiteX73" fmla="*/ 319173 w 3591476"/>
                <a:gd name="connsiteY73" fmla="*/ 2985533 h 3971547"/>
                <a:gd name="connsiteX74" fmla="*/ 319173 w 3591476"/>
                <a:gd name="connsiteY74" fmla="*/ 3520646 h 3971547"/>
                <a:gd name="connsiteX75" fmla="*/ 355029 w 3591476"/>
                <a:gd name="connsiteY75" fmla="*/ 3588466 h 3971547"/>
                <a:gd name="connsiteX76" fmla="*/ 1955172 w 3591476"/>
                <a:gd name="connsiteY76" fmla="*/ 3971548 h 3971547"/>
                <a:gd name="connsiteX77" fmla="*/ 3555086 w 3591476"/>
                <a:gd name="connsiteY77" fmla="*/ 3588466 h 3971547"/>
                <a:gd name="connsiteX78" fmla="*/ 3591159 w 3591476"/>
                <a:gd name="connsiteY78" fmla="*/ 3520869 h 3971547"/>
                <a:gd name="connsiteX79" fmla="*/ 3591159 w 3591476"/>
                <a:gd name="connsiteY79" fmla="*/ 450142 h 3971547"/>
                <a:gd name="connsiteX80" fmla="*/ 3591159 w 3591476"/>
                <a:gd name="connsiteY80" fmla="*/ 437838 h 397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591476" h="3971547">
                  <a:moveTo>
                    <a:pt x="3359204" y="461909"/>
                  </a:moveTo>
                  <a:cubicBezTo>
                    <a:pt x="3326389" y="476802"/>
                    <a:pt x="3292253" y="490844"/>
                    <a:pt x="3257072" y="505109"/>
                  </a:cubicBezTo>
                  <a:lnTo>
                    <a:pt x="3257049" y="505109"/>
                  </a:lnTo>
                  <a:cubicBezTo>
                    <a:pt x="3264393" y="524483"/>
                    <a:pt x="3268124" y="545045"/>
                    <a:pt x="3268079" y="565785"/>
                  </a:cubicBezTo>
                  <a:lnTo>
                    <a:pt x="3268079" y="1289647"/>
                  </a:lnTo>
                  <a:cubicBezTo>
                    <a:pt x="3268124" y="1336550"/>
                    <a:pt x="3249505" y="1381556"/>
                    <a:pt x="3216307" y="1414708"/>
                  </a:cubicBezTo>
                  <a:cubicBezTo>
                    <a:pt x="3183137" y="1447838"/>
                    <a:pt x="3138102" y="1466412"/>
                    <a:pt x="3091200" y="1466298"/>
                  </a:cubicBezTo>
                  <a:cubicBezTo>
                    <a:pt x="3054052" y="1466389"/>
                    <a:pt x="3017842" y="1454508"/>
                    <a:pt x="2987992" y="1432385"/>
                  </a:cubicBezTo>
                  <a:lnTo>
                    <a:pt x="2987992" y="1810512"/>
                  </a:lnTo>
                  <a:cubicBezTo>
                    <a:pt x="2987992" y="1860656"/>
                    <a:pt x="2961229" y="1906998"/>
                    <a:pt x="2917806" y="1932070"/>
                  </a:cubicBezTo>
                  <a:cubicBezTo>
                    <a:pt x="2874367" y="1957142"/>
                    <a:pt x="2820874" y="1957142"/>
                    <a:pt x="2777434" y="1932070"/>
                  </a:cubicBezTo>
                  <a:cubicBezTo>
                    <a:pt x="2734018" y="1907004"/>
                    <a:pt x="2707248" y="1860656"/>
                    <a:pt x="2707248" y="1810512"/>
                  </a:cubicBezTo>
                  <a:lnTo>
                    <a:pt x="2707248" y="1697772"/>
                  </a:lnTo>
                  <a:cubicBezTo>
                    <a:pt x="2672896" y="1697772"/>
                    <a:pt x="2639943" y="1684136"/>
                    <a:pt x="2615631" y="1659847"/>
                  </a:cubicBezTo>
                  <a:cubicBezTo>
                    <a:pt x="2591343" y="1635536"/>
                    <a:pt x="2577707" y="1602583"/>
                    <a:pt x="2577707" y="1568230"/>
                  </a:cubicBezTo>
                  <a:lnTo>
                    <a:pt x="2577707" y="672461"/>
                  </a:lnTo>
                  <a:cubicBezTo>
                    <a:pt x="2367720" y="701928"/>
                    <a:pt x="2155911" y="716347"/>
                    <a:pt x="1943907" y="715655"/>
                  </a:cubicBezTo>
                  <a:cubicBezTo>
                    <a:pt x="1397793" y="715655"/>
                    <a:pt x="890290" y="622586"/>
                    <a:pt x="530136" y="461269"/>
                  </a:cubicBezTo>
                  <a:cubicBezTo>
                    <a:pt x="517455" y="455468"/>
                    <a:pt x="509351" y="442810"/>
                    <a:pt x="509351" y="428877"/>
                  </a:cubicBezTo>
                  <a:cubicBezTo>
                    <a:pt x="509351" y="414949"/>
                    <a:pt x="517455" y="402290"/>
                    <a:pt x="530136" y="396484"/>
                  </a:cubicBezTo>
                  <a:cubicBezTo>
                    <a:pt x="891833" y="235389"/>
                    <a:pt x="1399325" y="142098"/>
                    <a:pt x="1945450" y="142098"/>
                  </a:cubicBezTo>
                  <a:cubicBezTo>
                    <a:pt x="2491576" y="142098"/>
                    <a:pt x="2999068" y="235389"/>
                    <a:pt x="3359233" y="396484"/>
                  </a:cubicBezTo>
                  <a:cubicBezTo>
                    <a:pt x="3371886" y="402290"/>
                    <a:pt x="3380013" y="414949"/>
                    <a:pt x="3380013" y="428877"/>
                  </a:cubicBezTo>
                  <a:cubicBezTo>
                    <a:pt x="3380013" y="442810"/>
                    <a:pt x="3371886" y="455468"/>
                    <a:pt x="3359233" y="461269"/>
                  </a:cubicBezTo>
                  <a:close/>
                  <a:moveTo>
                    <a:pt x="3589833" y="437735"/>
                  </a:moveTo>
                  <a:cubicBezTo>
                    <a:pt x="3592468" y="420898"/>
                    <a:pt x="3590010" y="403645"/>
                    <a:pt x="3582735" y="388237"/>
                  </a:cubicBezTo>
                  <a:cubicBezTo>
                    <a:pt x="3575454" y="372835"/>
                    <a:pt x="3563693" y="359976"/>
                    <a:pt x="3549000" y="351335"/>
                  </a:cubicBezTo>
                  <a:cubicBezTo>
                    <a:pt x="3217112" y="153322"/>
                    <a:pt x="2692778" y="19442"/>
                    <a:pt x="2094418" y="1292"/>
                  </a:cubicBezTo>
                  <a:lnTo>
                    <a:pt x="2064620" y="1292"/>
                  </a:lnTo>
                  <a:cubicBezTo>
                    <a:pt x="2028341" y="1292"/>
                    <a:pt x="1991622" y="0"/>
                    <a:pt x="1954920" y="0"/>
                  </a:cubicBezTo>
                  <a:cubicBezTo>
                    <a:pt x="1918218" y="0"/>
                    <a:pt x="1881494" y="0"/>
                    <a:pt x="1845221" y="1292"/>
                  </a:cubicBezTo>
                  <a:lnTo>
                    <a:pt x="1815194" y="1292"/>
                  </a:lnTo>
                  <a:cubicBezTo>
                    <a:pt x="1217005" y="19220"/>
                    <a:pt x="692311" y="152448"/>
                    <a:pt x="360784" y="351558"/>
                  </a:cubicBezTo>
                  <a:lnTo>
                    <a:pt x="360807" y="351558"/>
                  </a:lnTo>
                  <a:cubicBezTo>
                    <a:pt x="346113" y="360199"/>
                    <a:pt x="334375" y="373058"/>
                    <a:pt x="327094" y="388460"/>
                  </a:cubicBezTo>
                  <a:cubicBezTo>
                    <a:pt x="319819" y="403868"/>
                    <a:pt x="317338" y="421098"/>
                    <a:pt x="319996" y="437935"/>
                  </a:cubicBezTo>
                  <a:cubicBezTo>
                    <a:pt x="319213" y="441992"/>
                    <a:pt x="318836" y="446124"/>
                    <a:pt x="318904" y="450256"/>
                  </a:cubicBezTo>
                  <a:lnTo>
                    <a:pt x="318904" y="1996221"/>
                  </a:lnTo>
                  <a:lnTo>
                    <a:pt x="189334" y="2195332"/>
                  </a:lnTo>
                  <a:lnTo>
                    <a:pt x="189357" y="2195309"/>
                  </a:lnTo>
                  <a:cubicBezTo>
                    <a:pt x="95213" y="2340013"/>
                    <a:pt x="31857" y="2502536"/>
                    <a:pt x="3196" y="2672780"/>
                  </a:cubicBezTo>
                  <a:cubicBezTo>
                    <a:pt x="-4776" y="2718608"/>
                    <a:pt x="2259" y="2765803"/>
                    <a:pt x="23262" y="2807328"/>
                  </a:cubicBezTo>
                  <a:cubicBezTo>
                    <a:pt x="44293" y="2848848"/>
                    <a:pt x="78137" y="2882469"/>
                    <a:pt x="119816" y="2903186"/>
                  </a:cubicBezTo>
                  <a:cubicBezTo>
                    <a:pt x="153169" y="2920599"/>
                    <a:pt x="190162" y="2929864"/>
                    <a:pt x="227778" y="2930178"/>
                  </a:cubicBezTo>
                  <a:cubicBezTo>
                    <a:pt x="287963" y="2929972"/>
                    <a:pt x="345582" y="2905889"/>
                    <a:pt x="388021" y="2863221"/>
                  </a:cubicBezTo>
                  <a:lnTo>
                    <a:pt x="1918613" y="1347088"/>
                  </a:lnTo>
                  <a:cubicBezTo>
                    <a:pt x="1957926" y="1357673"/>
                    <a:pt x="2001526" y="1357673"/>
                    <a:pt x="2059836" y="1293533"/>
                  </a:cubicBezTo>
                  <a:cubicBezTo>
                    <a:pt x="2076627" y="1275788"/>
                    <a:pt x="2087165" y="1253037"/>
                    <a:pt x="2089863" y="1228748"/>
                  </a:cubicBezTo>
                  <a:cubicBezTo>
                    <a:pt x="2093303" y="1188766"/>
                    <a:pt x="2078947" y="1149275"/>
                    <a:pt x="2050595" y="1120854"/>
                  </a:cubicBezTo>
                  <a:cubicBezTo>
                    <a:pt x="2022243" y="1092417"/>
                    <a:pt x="1982821" y="1077952"/>
                    <a:pt x="1942816" y="1081278"/>
                  </a:cubicBezTo>
                  <a:cubicBezTo>
                    <a:pt x="1918704" y="1083421"/>
                    <a:pt x="1895981" y="1093354"/>
                    <a:pt x="1878031" y="1109562"/>
                  </a:cubicBezTo>
                  <a:cubicBezTo>
                    <a:pt x="1813245" y="1167426"/>
                    <a:pt x="1811525" y="1211694"/>
                    <a:pt x="1821886" y="1251431"/>
                  </a:cubicBezTo>
                  <a:lnTo>
                    <a:pt x="292781" y="2766306"/>
                  </a:lnTo>
                  <a:cubicBezTo>
                    <a:pt x="278671" y="2780548"/>
                    <a:pt x="260320" y="2789789"/>
                    <a:pt x="240477" y="2792646"/>
                  </a:cubicBezTo>
                  <a:cubicBezTo>
                    <a:pt x="220629" y="2795481"/>
                    <a:pt x="200404" y="2791777"/>
                    <a:pt x="182859" y="2782068"/>
                  </a:cubicBezTo>
                  <a:cubicBezTo>
                    <a:pt x="150283" y="2766506"/>
                    <a:pt x="131915" y="2731325"/>
                    <a:pt x="137739" y="2695697"/>
                  </a:cubicBezTo>
                  <a:cubicBezTo>
                    <a:pt x="163479" y="2543712"/>
                    <a:pt x="220160" y="2398631"/>
                    <a:pt x="304234" y="2269415"/>
                  </a:cubicBezTo>
                  <a:lnTo>
                    <a:pt x="318921" y="2247824"/>
                  </a:lnTo>
                  <a:lnTo>
                    <a:pt x="318921" y="2613207"/>
                  </a:lnTo>
                  <a:lnTo>
                    <a:pt x="318904" y="2613207"/>
                  </a:lnTo>
                  <a:cubicBezTo>
                    <a:pt x="318836" y="2618722"/>
                    <a:pt x="322070" y="2623722"/>
                    <a:pt x="327140" y="2625911"/>
                  </a:cubicBezTo>
                  <a:cubicBezTo>
                    <a:pt x="332209" y="2628077"/>
                    <a:pt x="338078" y="2626986"/>
                    <a:pt x="342027" y="2623145"/>
                  </a:cubicBezTo>
                  <a:lnTo>
                    <a:pt x="1691282" y="1286464"/>
                  </a:lnTo>
                  <a:lnTo>
                    <a:pt x="1691259" y="1286464"/>
                  </a:lnTo>
                  <a:cubicBezTo>
                    <a:pt x="1686081" y="1267507"/>
                    <a:pt x="1683178" y="1248019"/>
                    <a:pt x="1682623" y="1228376"/>
                  </a:cubicBezTo>
                  <a:cubicBezTo>
                    <a:pt x="1679160" y="1163791"/>
                    <a:pt x="1699077" y="1100126"/>
                    <a:pt x="1738722" y="1049045"/>
                  </a:cubicBezTo>
                  <a:cubicBezTo>
                    <a:pt x="1778395" y="997942"/>
                    <a:pt x="1835140" y="962875"/>
                    <a:pt x="1898587" y="950239"/>
                  </a:cubicBezTo>
                  <a:cubicBezTo>
                    <a:pt x="1974871" y="934723"/>
                    <a:pt x="2054167" y="952536"/>
                    <a:pt x="2116472" y="999216"/>
                  </a:cubicBezTo>
                  <a:cubicBezTo>
                    <a:pt x="2178777" y="1045896"/>
                    <a:pt x="2218159" y="1116997"/>
                    <a:pt x="2224720" y="1194578"/>
                  </a:cubicBezTo>
                  <a:cubicBezTo>
                    <a:pt x="2231263" y="1272153"/>
                    <a:pt x="2204340" y="1348837"/>
                    <a:pt x="2150739" y="1405296"/>
                  </a:cubicBezTo>
                  <a:cubicBezTo>
                    <a:pt x="2097138" y="1461754"/>
                    <a:pt x="2021951" y="1492604"/>
                    <a:pt x="1944153" y="1490106"/>
                  </a:cubicBezTo>
                  <a:cubicBezTo>
                    <a:pt x="1923659" y="1489300"/>
                    <a:pt x="1903365" y="1486043"/>
                    <a:pt x="1883677" y="1480396"/>
                  </a:cubicBezTo>
                  <a:lnTo>
                    <a:pt x="436868" y="2913204"/>
                  </a:lnTo>
                  <a:cubicBezTo>
                    <a:pt x="403829" y="2946174"/>
                    <a:pt x="363510" y="2970954"/>
                    <a:pt x="319173" y="2985533"/>
                  </a:cubicBezTo>
                  <a:lnTo>
                    <a:pt x="319173" y="3520646"/>
                  </a:lnTo>
                  <a:cubicBezTo>
                    <a:pt x="319218" y="3547792"/>
                    <a:pt x="332637" y="3573150"/>
                    <a:pt x="355029" y="3588466"/>
                  </a:cubicBezTo>
                  <a:cubicBezTo>
                    <a:pt x="689533" y="3818672"/>
                    <a:pt x="1281202" y="3971548"/>
                    <a:pt x="1955172" y="3971548"/>
                  </a:cubicBezTo>
                  <a:cubicBezTo>
                    <a:pt x="2629142" y="3971548"/>
                    <a:pt x="3220816" y="3818649"/>
                    <a:pt x="3555086" y="3588466"/>
                  </a:cubicBezTo>
                  <a:cubicBezTo>
                    <a:pt x="3577632" y="3573350"/>
                    <a:pt x="3591136" y="3548015"/>
                    <a:pt x="3591159" y="3520869"/>
                  </a:cubicBezTo>
                  <a:lnTo>
                    <a:pt x="3591159" y="450142"/>
                  </a:lnTo>
                  <a:cubicBezTo>
                    <a:pt x="3591582" y="446056"/>
                    <a:pt x="3591582" y="441924"/>
                    <a:pt x="3591159" y="437838"/>
                  </a:cubicBezTo>
                  <a:close/>
                </a:path>
              </a:pathLst>
            </a:custGeom>
            <a:solidFill>
              <a:schemeClr val="tx1">
                <a:lumMod val="65000"/>
                <a:lumOff val="35000"/>
              </a:schemeClr>
            </a:solidFill>
            <a:ln w="5715" cap="flat">
              <a:noFill/>
              <a:prstDash val="solid"/>
              <a:miter/>
            </a:ln>
          </p:spPr>
          <p:txBody>
            <a:bodyPr rtlCol="0" anchor="ctr"/>
            <a:lstStyle/>
            <a:p>
              <a:endParaRPr lang="en-US" b="1"/>
            </a:p>
          </p:txBody>
        </p:sp>
      </p:grpSp>
      <p:grpSp>
        <p:nvGrpSpPr>
          <p:cNvPr id="55" name="Group 54">
            <a:extLst>
              <a:ext uri="{FF2B5EF4-FFF2-40B4-BE49-F238E27FC236}">
                <a16:creationId xmlns:a16="http://schemas.microsoft.com/office/drawing/2014/main" id="{8BA695A2-C2D3-974F-51F6-4F08A5DD0A5E}"/>
              </a:ext>
            </a:extLst>
          </p:cNvPr>
          <p:cNvGrpSpPr/>
          <p:nvPr/>
        </p:nvGrpSpPr>
        <p:grpSpPr>
          <a:xfrm>
            <a:off x="10873544" y="3281517"/>
            <a:ext cx="1008000" cy="1296000"/>
            <a:chOff x="10700466" y="2499694"/>
            <a:chExt cx="1008000" cy="1296000"/>
          </a:xfrm>
        </p:grpSpPr>
        <p:sp>
          <p:nvSpPr>
            <p:cNvPr id="56" name="Rectangle 55">
              <a:extLst>
                <a:ext uri="{FF2B5EF4-FFF2-40B4-BE49-F238E27FC236}">
                  <a16:creationId xmlns:a16="http://schemas.microsoft.com/office/drawing/2014/main" id="{A76C3EA8-3B71-D66B-9398-20010E938928}"/>
                </a:ext>
              </a:extLst>
            </p:cNvPr>
            <p:cNvSpPr>
              <a:spLocks/>
            </p:cNvSpPr>
            <p:nvPr/>
          </p:nvSpPr>
          <p:spPr>
            <a:xfrm>
              <a:off x="10700466" y="2499694"/>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Chemicals</a:t>
              </a:r>
            </a:p>
          </p:txBody>
        </p:sp>
        <p:pic>
          <p:nvPicPr>
            <p:cNvPr id="57" name="Graphic 56">
              <a:extLst>
                <a:ext uri="{FF2B5EF4-FFF2-40B4-BE49-F238E27FC236}">
                  <a16:creationId xmlns:a16="http://schemas.microsoft.com/office/drawing/2014/main" id="{E3121E25-922D-C50A-D51F-98DBE9C35A72}"/>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888527" y="2669629"/>
              <a:ext cx="631878" cy="631878"/>
            </a:xfrm>
            <a:prstGeom prst="rect">
              <a:avLst/>
            </a:prstGeom>
          </p:spPr>
        </p:pic>
      </p:grpSp>
      <p:grpSp>
        <p:nvGrpSpPr>
          <p:cNvPr id="58" name="Group 57">
            <a:extLst>
              <a:ext uri="{FF2B5EF4-FFF2-40B4-BE49-F238E27FC236}">
                <a16:creationId xmlns:a16="http://schemas.microsoft.com/office/drawing/2014/main" id="{6E135F9D-DB86-022B-EBD2-4EAFFF8A02FD}"/>
              </a:ext>
            </a:extLst>
          </p:cNvPr>
          <p:cNvGrpSpPr/>
          <p:nvPr/>
        </p:nvGrpSpPr>
        <p:grpSpPr>
          <a:xfrm>
            <a:off x="9856156" y="3281517"/>
            <a:ext cx="1008000" cy="1296000"/>
            <a:chOff x="9683078" y="2499694"/>
            <a:chExt cx="1008000" cy="1296000"/>
          </a:xfrm>
        </p:grpSpPr>
        <p:sp>
          <p:nvSpPr>
            <p:cNvPr id="59" name="Rectangle 58">
              <a:extLst>
                <a:ext uri="{FF2B5EF4-FFF2-40B4-BE49-F238E27FC236}">
                  <a16:creationId xmlns:a16="http://schemas.microsoft.com/office/drawing/2014/main" id="{0FA55927-3A25-A906-1ADE-17531830EAA9}"/>
                </a:ext>
              </a:extLst>
            </p:cNvPr>
            <p:cNvSpPr>
              <a:spLocks/>
            </p:cNvSpPr>
            <p:nvPr/>
          </p:nvSpPr>
          <p:spPr>
            <a:xfrm>
              <a:off x="9683078" y="2499694"/>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Aluminum</a:t>
              </a:r>
            </a:p>
          </p:txBody>
        </p:sp>
        <p:pic>
          <p:nvPicPr>
            <p:cNvPr id="60" name="Graphic 59">
              <a:extLst>
                <a:ext uri="{FF2B5EF4-FFF2-40B4-BE49-F238E27FC236}">
                  <a16:creationId xmlns:a16="http://schemas.microsoft.com/office/drawing/2014/main" id="{E9FB4C84-E669-8BD8-970E-85EC609EF49E}"/>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9871139" y="2673368"/>
              <a:ext cx="631878" cy="631878"/>
            </a:xfrm>
            <a:prstGeom prst="rect">
              <a:avLst/>
            </a:prstGeom>
          </p:spPr>
        </p:pic>
      </p:grpSp>
      <p:grpSp>
        <p:nvGrpSpPr>
          <p:cNvPr id="61" name="Group 60">
            <a:extLst>
              <a:ext uri="{FF2B5EF4-FFF2-40B4-BE49-F238E27FC236}">
                <a16:creationId xmlns:a16="http://schemas.microsoft.com/office/drawing/2014/main" id="{C634EB87-AA43-1C96-7111-5B268DB916BD}"/>
              </a:ext>
            </a:extLst>
          </p:cNvPr>
          <p:cNvGrpSpPr/>
          <p:nvPr/>
        </p:nvGrpSpPr>
        <p:grpSpPr>
          <a:xfrm>
            <a:off x="7821382" y="3281517"/>
            <a:ext cx="1008000" cy="1296000"/>
            <a:chOff x="7648304" y="2499694"/>
            <a:chExt cx="1008000" cy="1296000"/>
          </a:xfrm>
        </p:grpSpPr>
        <p:sp>
          <p:nvSpPr>
            <p:cNvPr id="62" name="Rectangle 61">
              <a:extLst>
                <a:ext uri="{FF2B5EF4-FFF2-40B4-BE49-F238E27FC236}">
                  <a16:creationId xmlns:a16="http://schemas.microsoft.com/office/drawing/2014/main" id="{7E2707A2-BBAC-6D78-B23E-338B1BE5BA44}"/>
                </a:ext>
              </a:extLst>
            </p:cNvPr>
            <p:cNvSpPr>
              <a:spLocks/>
            </p:cNvSpPr>
            <p:nvPr/>
          </p:nvSpPr>
          <p:spPr>
            <a:xfrm>
              <a:off x="7648304" y="2499694"/>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Steel</a:t>
              </a:r>
            </a:p>
          </p:txBody>
        </p:sp>
        <p:pic>
          <p:nvPicPr>
            <p:cNvPr id="63" name="Graphic 62">
              <a:extLst>
                <a:ext uri="{FF2B5EF4-FFF2-40B4-BE49-F238E27FC236}">
                  <a16:creationId xmlns:a16="http://schemas.microsoft.com/office/drawing/2014/main" id="{F5252454-9078-7B97-5939-87668BDA7FB2}"/>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7836365" y="2680846"/>
              <a:ext cx="631878" cy="631878"/>
            </a:xfrm>
            <a:prstGeom prst="rect">
              <a:avLst/>
            </a:prstGeom>
          </p:spPr>
        </p:pic>
      </p:grpSp>
      <p:sp>
        <p:nvSpPr>
          <p:cNvPr id="71" name="Text Placeholder 2">
            <a:extLst>
              <a:ext uri="{FF2B5EF4-FFF2-40B4-BE49-F238E27FC236}">
                <a16:creationId xmlns:a16="http://schemas.microsoft.com/office/drawing/2014/main" id="{535420FD-C0B2-BBCB-01B5-C8FA3B5EA0FA}"/>
              </a:ext>
            </a:extLst>
          </p:cNvPr>
          <p:cNvSpPr txBox="1">
            <a:spLocks/>
          </p:cNvSpPr>
          <p:nvPr/>
        </p:nvSpPr>
        <p:spPr>
          <a:xfrm>
            <a:off x="212345" y="1619461"/>
            <a:ext cx="11753976" cy="1635637"/>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just">
              <a:spcBef>
                <a:spcPts val="600"/>
              </a:spcBef>
              <a:spcAft>
                <a:spcPts val="600"/>
              </a:spcAft>
            </a:pPr>
            <a:r>
              <a:rPr lang="en-GB" sz="2000">
                <a:solidFill>
                  <a:schemeClr val="tx1">
                    <a:lumMod val="65000"/>
                    <a:lumOff val="35000"/>
                  </a:schemeClr>
                </a:solidFill>
                <a:latin typeface="+mn-lt"/>
                <a:ea typeface="Calibri" panose="020F0502020204030204" pitchFamily="34" charset="0"/>
              </a:rPr>
              <a:t>Article 18, Paragraph 5</a:t>
            </a:r>
          </a:p>
          <a:p>
            <a:pPr algn="just">
              <a:spcBef>
                <a:spcPts val="600"/>
              </a:spcBef>
              <a:spcAft>
                <a:spcPts val="600"/>
              </a:spcAft>
            </a:pPr>
            <a:r>
              <a:rPr lang="en-US" sz="1800">
                <a:solidFill>
                  <a:schemeClr val="tx1">
                    <a:lumMod val="65000"/>
                    <a:lumOff val="35000"/>
                  </a:schemeClr>
                </a:solidFill>
                <a:latin typeface="+mn-lt"/>
              </a:rPr>
              <a:t>In the first working plan, which shall be adopted by 19 April 2025, the Commission shall </a:t>
            </a:r>
            <a:r>
              <a:rPr lang="en-US" sz="1800" err="1">
                <a:solidFill>
                  <a:schemeClr val="tx1">
                    <a:lumMod val="65000"/>
                    <a:lumOff val="35000"/>
                  </a:schemeClr>
                </a:solidFill>
                <a:latin typeface="+mn-lt"/>
              </a:rPr>
              <a:t>prioritise</a:t>
            </a:r>
            <a:r>
              <a:rPr lang="en-US" sz="1800">
                <a:solidFill>
                  <a:schemeClr val="tx1">
                    <a:lumMod val="65000"/>
                    <a:lumOff val="35000"/>
                  </a:schemeClr>
                </a:solidFill>
                <a:latin typeface="+mn-lt"/>
              </a:rPr>
              <a:t> the following product groups.</a:t>
            </a:r>
            <a:endParaRPr lang="en-CH" sz="1600">
              <a:solidFill>
                <a:schemeClr val="tx1">
                  <a:lumMod val="65000"/>
                  <a:lumOff val="35000"/>
                </a:schemeClr>
              </a:solidFill>
              <a:latin typeface="+mn-lt"/>
              <a:ea typeface="Calibri" panose="020F0502020204030204" pitchFamily="34" charset="0"/>
            </a:endParaRPr>
          </a:p>
        </p:txBody>
      </p:sp>
      <p:sp>
        <p:nvSpPr>
          <p:cNvPr id="72" name="Fußzeilenplatzhalter 3">
            <a:extLst>
              <a:ext uri="{FF2B5EF4-FFF2-40B4-BE49-F238E27FC236}">
                <a16:creationId xmlns:a16="http://schemas.microsoft.com/office/drawing/2014/main" id="{1C234E21-5E48-D2BE-38BE-C574770A305A}"/>
              </a:ext>
            </a:extLst>
          </p:cNvPr>
          <p:cNvSpPr txBox="1">
            <a:spLocks/>
          </p:cNvSpPr>
          <p:nvPr/>
        </p:nvSpPr>
        <p:spPr>
          <a:xfrm>
            <a:off x="1368178" y="6516000"/>
            <a:ext cx="7884000" cy="167933"/>
          </a:xfrm>
          <a:prstGeom prst="rect">
            <a:avLst/>
          </a:prstGeom>
        </p:spPr>
        <p:txBody>
          <a:bodyPr lIns="0" tIns="0" rIns="0" bIns="0"/>
          <a:ls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900">
                <a:latin typeface="Arial" panose="020B0604020202020204"/>
                <a:cs typeface="Arial"/>
              </a:rPr>
              <a:t>|  </a:t>
            </a:r>
            <a:r>
              <a:rPr lang="en-US" sz="900">
                <a:latin typeface="+mj-lt"/>
                <a:cs typeface="Calibri" panose="020F0502020204030204" pitchFamily="34" charset="0"/>
                <a:sym typeface="Calibri" panose="020F0502020204030204" pitchFamily="34" charset="0"/>
              </a:rPr>
              <a:t>Source: </a:t>
            </a:r>
            <a:r>
              <a:rPr lang="en-US" sz="900">
                <a:latin typeface="+mj-lt"/>
                <a:cs typeface="Calibri" panose="020F0502020204030204" pitchFamily="34" charset="0"/>
                <a:sym typeface="Calibri" panose="020F0502020204030204" pitchFamily="34" charset="0"/>
                <a:hlinkClick r:id="rId24">
                  <a:extLst>
                    <a:ext uri="{A12FA001-AC4F-418D-AE19-62706E023703}">
                      <ahyp:hlinkClr xmlns:ahyp="http://schemas.microsoft.com/office/drawing/2018/hyperlinkcolor" val="tx"/>
                    </a:ext>
                  </a:extLst>
                </a:hlinkClick>
              </a:rPr>
              <a:t>https://eur-lex.europa.eu/legal-content/EN/TXT/HTML/?uri=OJ:L_202401781#art_18</a:t>
            </a:r>
            <a:r>
              <a:rPr lang="en-US" sz="900">
                <a:latin typeface="+mj-lt"/>
                <a:cs typeface="Calibri" panose="020F0502020204030204" pitchFamily="34" charset="0"/>
                <a:sym typeface="Calibri" panose="020F0502020204030204" pitchFamily="34" charset="0"/>
              </a:rPr>
              <a:t> </a:t>
            </a:r>
          </a:p>
        </p:txBody>
      </p:sp>
      <p:grpSp>
        <p:nvGrpSpPr>
          <p:cNvPr id="78" name="Group 77">
            <a:extLst>
              <a:ext uri="{FF2B5EF4-FFF2-40B4-BE49-F238E27FC236}">
                <a16:creationId xmlns:a16="http://schemas.microsoft.com/office/drawing/2014/main" id="{C764BC8A-E8AE-0FB7-4A46-00E065970A5F}"/>
              </a:ext>
            </a:extLst>
          </p:cNvPr>
          <p:cNvGrpSpPr/>
          <p:nvPr/>
        </p:nvGrpSpPr>
        <p:grpSpPr>
          <a:xfrm>
            <a:off x="7394390" y="4693880"/>
            <a:ext cx="1008000" cy="1296000"/>
            <a:chOff x="-583420" y="3360244"/>
            <a:chExt cx="1008000" cy="1296000"/>
          </a:xfrm>
        </p:grpSpPr>
        <p:sp>
          <p:nvSpPr>
            <p:cNvPr id="74" name="Rectangle 73">
              <a:extLst>
                <a:ext uri="{FF2B5EF4-FFF2-40B4-BE49-F238E27FC236}">
                  <a16:creationId xmlns:a16="http://schemas.microsoft.com/office/drawing/2014/main" id="{80F75512-EFAC-EBDC-4FC2-3124AC53A096}"/>
                </a:ext>
              </a:extLst>
            </p:cNvPr>
            <p:cNvSpPr>
              <a:spLocks/>
            </p:cNvSpPr>
            <p:nvPr/>
          </p:nvSpPr>
          <p:spPr>
            <a:xfrm>
              <a:off x="-583420" y="3360244"/>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algn="ctr">
                <a:lnSpc>
                  <a:spcPct val="85000"/>
                </a:lnSpc>
              </a:pPr>
              <a:r>
                <a:rPr lang="en-US" sz="1400" b="1">
                  <a:solidFill>
                    <a:schemeClr val="tx1">
                      <a:lumMod val="65000"/>
                      <a:lumOff val="35000"/>
                    </a:schemeClr>
                  </a:solidFill>
                  <a:latin typeface="Arial Narrow" panose="020B0604020202020204" pitchFamily="34" charset="0"/>
                  <a:cs typeface="Arial Narrow" panose="020B0604020202020204" pitchFamily="34" charset="0"/>
                </a:rPr>
                <a:t>Energy Related Products</a:t>
              </a:r>
            </a:p>
          </p:txBody>
        </p:sp>
        <p:pic>
          <p:nvPicPr>
            <p:cNvPr id="76" name="Graphic 75">
              <a:extLst>
                <a:ext uri="{FF2B5EF4-FFF2-40B4-BE49-F238E27FC236}">
                  <a16:creationId xmlns:a16="http://schemas.microsoft.com/office/drawing/2014/main" id="{5864E0C4-6EEA-C27B-2824-1A55989EB9C2}"/>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382616" y="3423957"/>
              <a:ext cx="606393" cy="606393"/>
            </a:xfrm>
            <a:prstGeom prst="rect">
              <a:avLst/>
            </a:prstGeom>
          </p:spPr>
        </p:pic>
      </p:grpSp>
      <p:cxnSp>
        <p:nvCxnSpPr>
          <p:cNvPr id="81" name="Elbow Connector 80">
            <a:extLst>
              <a:ext uri="{FF2B5EF4-FFF2-40B4-BE49-F238E27FC236}">
                <a16:creationId xmlns:a16="http://schemas.microsoft.com/office/drawing/2014/main" id="{C80FCC22-86B9-BD47-365A-F7BF4DBF13E2}"/>
              </a:ext>
            </a:extLst>
          </p:cNvPr>
          <p:cNvCxnSpPr>
            <a:cxnSpLocks/>
          </p:cNvCxnSpPr>
          <p:nvPr/>
        </p:nvCxnSpPr>
        <p:spPr>
          <a:xfrm rot="16200000" flipH="1">
            <a:off x="6589663" y="4054585"/>
            <a:ext cx="3069881" cy="1033434"/>
          </a:xfrm>
          <a:prstGeom prst="bentConnector3">
            <a:avLst>
              <a:gd name="adj1" fmla="val 51862"/>
            </a:avLst>
          </a:prstGeom>
          <a:ln w="158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nvGrpSpPr>
          <p:cNvPr id="70" name="Group 69">
            <a:extLst>
              <a:ext uri="{FF2B5EF4-FFF2-40B4-BE49-F238E27FC236}">
                <a16:creationId xmlns:a16="http://schemas.microsoft.com/office/drawing/2014/main" id="{C945A738-4EEF-E50E-9F4D-DB28F4A9EE82}"/>
              </a:ext>
            </a:extLst>
          </p:cNvPr>
          <p:cNvGrpSpPr/>
          <p:nvPr/>
        </p:nvGrpSpPr>
        <p:grpSpPr>
          <a:xfrm>
            <a:off x="3352000" y="3281517"/>
            <a:ext cx="1008000" cy="1296000"/>
            <a:chOff x="3939195" y="1116466"/>
            <a:chExt cx="1008000" cy="1296000"/>
          </a:xfrm>
        </p:grpSpPr>
        <p:sp>
          <p:nvSpPr>
            <p:cNvPr id="73" name="Rectangle 72">
              <a:extLst>
                <a:ext uri="{FF2B5EF4-FFF2-40B4-BE49-F238E27FC236}">
                  <a16:creationId xmlns:a16="http://schemas.microsoft.com/office/drawing/2014/main" id="{AC32A346-C4E7-B42A-8910-D04780B6E7AB}"/>
                </a:ext>
              </a:extLst>
            </p:cNvPr>
            <p:cNvSpPr>
              <a:spLocks/>
            </p:cNvSpPr>
            <p:nvPr/>
          </p:nvSpPr>
          <p:spPr>
            <a:xfrm>
              <a:off x="3939195" y="1116466"/>
              <a:ext cx="1008000" cy="129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Construction</a:t>
              </a:r>
            </a:p>
          </p:txBody>
        </p:sp>
        <p:pic>
          <p:nvPicPr>
            <p:cNvPr id="75" name="Graphic 74">
              <a:extLst>
                <a:ext uri="{FF2B5EF4-FFF2-40B4-BE49-F238E27FC236}">
                  <a16:creationId xmlns:a16="http://schemas.microsoft.com/office/drawing/2014/main" id="{7E4172C5-F789-8F3F-6671-F780A0D12520}"/>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4186775" y="1335534"/>
              <a:ext cx="512841" cy="512841"/>
            </a:xfrm>
            <a:prstGeom prst="rect">
              <a:avLst/>
            </a:prstGeom>
          </p:spPr>
        </p:pic>
      </p:grpSp>
    </p:spTree>
    <p:extLst>
      <p:ext uri="{BB962C8B-B14F-4D97-AF65-F5344CB8AC3E}">
        <p14:creationId xmlns:p14="http://schemas.microsoft.com/office/powerpoint/2010/main" val="36344711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E68B7-008D-A464-C59C-E432F87D4D7B}"/>
              </a:ext>
            </a:extLst>
          </p:cNvPr>
          <p:cNvSpPr>
            <a:spLocks noGrp="1"/>
          </p:cNvSpPr>
          <p:nvPr>
            <p:ph type="title"/>
          </p:nvPr>
        </p:nvSpPr>
        <p:spPr/>
        <p:txBody>
          <a:bodyPr/>
          <a:lstStyle/>
          <a:p>
            <a:r>
              <a:rPr lang="en-US"/>
              <a:t>Why is a Digital Product Passport (DPP) Required</a:t>
            </a:r>
          </a:p>
        </p:txBody>
      </p:sp>
      <p:sp>
        <p:nvSpPr>
          <p:cNvPr id="7" name="Text Placeholder 6">
            <a:extLst>
              <a:ext uri="{FF2B5EF4-FFF2-40B4-BE49-F238E27FC236}">
                <a16:creationId xmlns:a16="http://schemas.microsoft.com/office/drawing/2014/main" id="{6AFE52B2-5DFC-F431-A9CD-8E11C42AE181}"/>
              </a:ext>
            </a:extLst>
          </p:cNvPr>
          <p:cNvSpPr>
            <a:spLocks noGrp="1"/>
          </p:cNvSpPr>
          <p:nvPr>
            <p:ph type="body" idx="1"/>
          </p:nvPr>
        </p:nvSpPr>
        <p:spPr/>
        <p:txBody>
          <a:bodyPr/>
          <a:lstStyle/>
          <a:p>
            <a:r>
              <a:rPr lang="en-US">
                <a:solidFill>
                  <a:schemeClr val="tx1">
                    <a:lumMod val="65000"/>
                    <a:lumOff val="35000"/>
                  </a:schemeClr>
                </a:solidFill>
              </a:rPr>
              <a:t>The </a:t>
            </a:r>
            <a:r>
              <a:rPr lang="en-US" b="1">
                <a:solidFill>
                  <a:schemeClr val="tx1">
                    <a:lumMod val="65000"/>
                    <a:lumOff val="35000"/>
                  </a:schemeClr>
                </a:solidFill>
              </a:rPr>
              <a:t>Ecodesign for Sustainable Product Regulation (ESPR)</a:t>
            </a:r>
            <a:r>
              <a:rPr lang="en-US">
                <a:solidFill>
                  <a:schemeClr val="tx1">
                    <a:lumMod val="65000"/>
                    <a:lumOff val="35000"/>
                  </a:schemeClr>
                </a:solidFill>
              </a:rPr>
              <a:t>  requires the introduction of </a:t>
            </a:r>
            <a:r>
              <a:rPr lang="en-US" b="1">
                <a:solidFill>
                  <a:schemeClr val="tx1">
                    <a:lumMod val="65000"/>
                    <a:lumOff val="35000"/>
                  </a:schemeClr>
                </a:solidFill>
              </a:rPr>
              <a:t>digital product passports (DPPs)</a:t>
            </a:r>
            <a:r>
              <a:rPr lang="en-US">
                <a:solidFill>
                  <a:schemeClr val="tx1">
                    <a:lumMod val="65000"/>
                    <a:lumOff val="35000"/>
                  </a:schemeClr>
                </a:solidFill>
              </a:rPr>
              <a:t> </a:t>
            </a:r>
          </a:p>
          <a:p>
            <a:pPr lvl="1"/>
            <a:r>
              <a:rPr lang="en-US">
                <a:solidFill>
                  <a:schemeClr val="tx1">
                    <a:lumMod val="65000"/>
                    <a:lumOff val="35000"/>
                  </a:schemeClr>
                </a:solidFill>
              </a:rPr>
              <a:t>§1.1: “This Regulation also establishes a digital product passport, provides for the setting of mandatory </a:t>
            </a:r>
            <a:r>
              <a:rPr lang="en-US" b="1">
                <a:solidFill>
                  <a:schemeClr val="tx1">
                    <a:lumMod val="65000"/>
                    <a:lumOff val="35000"/>
                  </a:schemeClr>
                </a:solidFill>
              </a:rPr>
              <a:t>green public procurement requirements </a:t>
            </a:r>
            <a:r>
              <a:rPr lang="en-US">
                <a:solidFill>
                  <a:schemeClr val="tx1">
                    <a:lumMod val="65000"/>
                    <a:lumOff val="35000"/>
                  </a:schemeClr>
                </a:solidFill>
              </a:rPr>
              <a:t>and creates a framework to </a:t>
            </a:r>
            <a:r>
              <a:rPr lang="en-US" b="1">
                <a:solidFill>
                  <a:schemeClr val="tx1">
                    <a:lumMod val="65000"/>
                    <a:lumOff val="35000"/>
                  </a:schemeClr>
                </a:solidFill>
              </a:rPr>
              <a:t>prevent unsold consumer products from being destroyed</a:t>
            </a:r>
            <a:r>
              <a:rPr lang="en-US">
                <a:solidFill>
                  <a:schemeClr val="tx1">
                    <a:lumMod val="65000"/>
                    <a:lumOff val="35000"/>
                  </a:schemeClr>
                </a:solidFill>
              </a:rPr>
              <a:t>.” and </a:t>
            </a:r>
          </a:p>
          <a:p>
            <a:pPr lvl="1"/>
            <a:r>
              <a:rPr lang="en-US">
                <a:solidFill>
                  <a:schemeClr val="tx1">
                    <a:lumMod val="65000"/>
                    <a:lumOff val="35000"/>
                  </a:schemeClr>
                </a:solidFill>
              </a:rPr>
              <a:t>§1.2: “This Regulation applies to </a:t>
            </a:r>
            <a:r>
              <a:rPr lang="en-US" b="1">
                <a:solidFill>
                  <a:schemeClr val="tx1">
                    <a:lumMod val="65000"/>
                    <a:lumOff val="35000"/>
                  </a:schemeClr>
                </a:solidFill>
              </a:rPr>
              <a:t>any physical goods </a:t>
            </a:r>
            <a:r>
              <a:rPr lang="en-US">
                <a:solidFill>
                  <a:schemeClr val="tx1">
                    <a:lumMod val="65000"/>
                    <a:lumOff val="35000"/>
                  </a:schemeClr>
                </a:solidFill>
              </a:rPr>
              <a:t>that are </a:t>
            </a:r>
            <a:r>
              <a:rPr lang="en-US" b="1">
                <a:solidFill>
                  <a:schemeClr val="tx1">
                    <a:lumMod val="65000"/>
                    <a:lumOff val="35000"/>
                  </a:schemeClr>
                </a:solidFill>
              </a:rPr>
              <a:t>placed on the market or put into service</a:t>
            </a:r>
            <a:r>
              <a:rPr lang="en-US">
                <a:solidFill>
                  <a:schemeClr val="tx1">
                    <a:lumMod val="65000"/>
                    <a:lumOff val="35000"/>
                  </a:schemeClr>
                </a:solidFill>
              </a:rPr>
              <a:t>, including </a:t>
            </a:r>
            <a:r>
              <a:rPr lang="en-US" b="1">
                <a:solidFill>
                  <a:schemeClr val="tx1">
                    <a:lumMod val="65000"/>
                    <a:lumOff val="35000"/>
                  </a:schemeClr>
                </a:solidFill>
              </a:rPr>
              <a:t>components</a:t>
            </a:r>
            <a:r>
              <a:rPr lang="en-US">
                <a:solidFill>
                  <a:schemeClr val="tx1">
                    <a:lumMod val="65000"/>
                    <a:lumOff val="35000"/>
                  </a:schemeClr>
                </a:solidFill>
              </a:rPr>
              <a:t> and </a:t>
            </a:r>
            <a:r>
              <a:rPr lang="en-US" b="1">
                <a:solidFill>
                  <a:schemeClr val="tx1">
                    <a:lumMod val="65000"/>
                    <a:lumOff val="35000"/>
                  </a:schemeClr>
                </a:solidFill>
              </a:rPr>
              <a:t>intermediate</a:t>
            </a:r>
            <a:r>
              <a:rPr lang="en-US">
                <a:solidFill>
                  <a:schemeClr val="tx1">
                    <a:lumMod val="65000"/>
                    <a:lumOff val="35000"/>
                  </a:schemeClr>
                </a:solidFill>
              </a:rPr>
              <a:t> </a:t>
            </a:r>
            <a:r>
              <a:rPr lang="en-US" b="1">
                <a:solidFill>
                  <a:schemeClr val="tx1">
                    <a:lumMod val="65000"/>
                    <a:lumOff val="35000"/>
                  </a:schemeClr>
                </a:solidFill>
              </a:rPr>
              <a:t>products</a:t>
            </a:r>
            <a:r>
              <a:rPr lang="en-US">
                <a:solidFill>
                  <a:schemeClr val="tx1">
                    <a:lumMod val="65000"/>
                    <a:lumOff val="35000"/>
                  </a:schemeClr>
                </a:solidFill>
              </a:rPr>
              <a:t>.”</a:t>
            </a:r>
          </a:p>
          <a:p>
            <a:r>
              <a:rPr lang="en-US">
                <a:solidFill>
                  <a:schemeClr val="tx1">
                    <a:lumMod val="65000"/>
                    <a:lumOff val="35000"/>
                  </a:schemeClr>
                </a:solidFill>
              </a:rPr>
              <a:t>ESPR §4 empowers the commission to adopt </a:t>
            </a:r>
            <a:r>
              <a:rPr lang="en-US" b="1">
                <a:solidFill>
                  <a:schemeClr val="tx1">
                    <a:lumMod val="65000"/>
                    <a:lumOff val="35000"/>
                  </a:schemeClr>
                </a:solidFill>
              </a:rPr>
              <a:t>delegated acts </a:t>
            </a:r>
            <a:r>
              <a:rPr lang="en-US">
                <a:solidFill>
                  <a:schemeClr val="tx1">
                    <a:lumMod val="65000"/>
                    <a:lumOff val="35000"/>
                  </a:schemeClr>
                </a:solidFill>
              </a:rPr>
              <a:t>(… that) shall include at least the elements listed in §8.</a:t>
            </a:r>
          </a:p>
          <a:p>
            <a:r>
              <a:rPr lang="en-US">
                <a:solidFill>
                  <a:schemeClr val="tx1">
                    <a:lumMod val="65000"/>
                    <a:lumOff val="35000"/>
                  </a:schemeClr>
                </a:solidFill>
              </a:rPr>
              <a:t>ESPR §8 requires </a:t>
            </a:r>
            <a:r>
              <a:rPr lang="en-US" b="1">
                <a:solidFill>
                  <a:schemeClr val="tx1">
                    <a:lumMod val="65000"/>
                    <a:lumOff val="35000"/>
                  </a:schemeClr>
                </a:solidFill>
              </a:rPr>
              <a:t>that products may only be placed on the market or put into service if a digital product passport </a:t>
            </a:r>
            <a:r>
              <a:rPr lang="en-US">
                <a:solidFill>
                  <a:schemeClr val="tx1">
                    <a:lumMod val="65000"/>
                    <a:lumOff val="35000"/>
                  </a:schemeClr>
                </a:solidFill>
              </a:rPr>
              <a:t>(‘product passport’) is </a:t>
            </a:r>
            <a:r>
              <a:rPr lang="en-US" b="1">
                <a:solidFill>
                  <a:schemeClr val="tx1">
                    <a:lumMod val="65000"/>
                    <a:lumOff val="35000"/>
                  </a:schemeClr>
                </a:solidFill>
              </a:rPr>
              <a:t>available</a:t>
            </a:r>
            <a:r>
              <a:rPr lang="en-US">
                <a:solidFill>
                  <a:schemeClr val="tx1">
                    <a:lumMod val="65000"/>
                    <a:lumOff val="35000"/>
                  </a:schemeClr>
                </a:solidFill>
              </a:rPr>
              <a:t> in accordance with </a:t>
            </a:r>
            <a:r>
              <a:rPr lang="en-US" b="1">
                <a:solidFill>
                  <a:schemeClr val="tx1">
                    <a:lumMod val="65000"/>
                    <a:lumOff val="35000"/>
                  </a:schemeClr>
                </a:solidFill>
              </a:rPr>
              <a:t>delegated acts </a:t>
            </a:r>
            <a:r>
              <a:rPr lang="en-US">
                <a:solidFill>
                  <a:schemeClr val="tx1">
                    <a:lumMod val="65000"/>
                    <a:lumOff val="35000"/>
                  </a:schemeClr>
                </a:solidFill>
              </a:rPr>
              <a:t>to be adopted under the future Regulation. </a:t>
            </a:r>
          </a:p>
        </p:txBody>
      </p:sp>
      <p:sp>
        <p:nvSpPr>
          <p:cNvPr id="5" name="Date Placeholder 4">
            <a:extLst>
              <a:ext uri="{FF2B5EF4-FFF2-40B4-BE49-F238E27FC236}">
                <a16:creationId xmlns:a16="http://schemas.microsoft.com/office/drawing/2014/main" id="{4B28955D-7858-1FE2-61C7-EC76C6212F0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B60F8D1-6788-4364-B4B7-3C4167F5F146}"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6" name="Slide Number Placeholder 5">
            <a:extLst>
              <a:ext uri="{FF2B5EF4-FFF2-40B4-BE49-F238E27FC236}">
                <a16:creationId xmlns:a16="http://schemas.microsoft.com/office/drawing/2014/main" id="{5D23F115-9C81-6A2A-F8E0-F84061CA1B5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18</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
        <p:nvSpPr>
          <p:cNvPr id="4" name="Fußzeilenplatzhalter 3">
            <a:extLst>
              <a:ext uri="{FF2B5EF4-FFF2-40B4-BE49-F238E27FC236}">
                <a16:creationId xmlns:a16="http://schemas.microsoft.com/office/drawing/2014/main" id="{4CAE0D66-AB5C-4256-4190-61AF1C5B79BE}"/>
              </a:ext>
            </a:extLst>
          </p:cNvPr>
          <p:cNvSpPr txBox="1">
            <a:spLocks/>
          </p:cNvSpPr>
          <p:nvPr/>
        </p:nvSpPr>
        <p:spPr>
          <a:xfrm>
            <a:off x="1368178" y="6516000"/>
            <a:ext cx="5616000" cy="167933"/>
          </a:xfrm>
          <a:prstGeom prst="rect">
            <a:avLst/>
          </a:prstGeom>
        </p:spPr>
        <p:txBody>
          <a:bodyPr lIns="0" tIns="0" rIns="0" bIns="0"/>
          <a:ls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900">
                <a:latin typeface="Arial" panose="020B0604020202020204"/>
                <a:cs typeface="Arial"/>
              </a:rPr>
              <a:t>|  </a:t>
            </a:r>
            <a:r>
              <a:rPr lang="en-US" sz="900">
                <a:latin typeface="+mj-lt"/>
                <a:cs typeface="Calibri" panose="020F0502020204030204" pitchFamily="34" charset="0"/>
                <a:sym typeface="Calibri" panose="020F0502020204030204" pitchFamily="34" charset="0"/>
              </a:rPr>
              <a:t>Source: </a:t>
            </a:r>
            <a:r>
              <a:rPr lang="en-US" sz="900">
                <a:latin typeface="+mj-lt"/>
                <a:cs typeface="Calibri" panose="020F0502020204030204" pitchFamily="34" charset="0"/>
                <a:sym typeface="Calibri" panose="020F0502020204030204" pitchFamily="34" charset="0"/>
                <a:hlinkClick r:id="rId3">
                  <a:extLst>
                    <a:ext uri="{A12FA001-AC4F-418D-AE19-62706E023703}">
                      <ahyp:hlinkClr xmlns:ahyp="http://schemas.microsoft.com/office/drawing/2018/hyperlinkcolor" val="tx"/>
                    </a:ext>
                  </a:extLst>
                </a:hlinkClick>
              </a:rPr>
              <a:t>https://eur-lex.europa.eu/legal-content/EN/TXT/?uri=CELEX:52019DC0640</a:t>
            </a:r>
            <a:endParaRPr lang="en-US" sz="900">
              <a:latin typeface="+mj-lt"/>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884644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F1F0B-C876-CEB1-8D0F-E95A3823D148}"/>
              </a:ext>
            </a:extLst>
          </p:cNvPr>
          <p:cNvSpPr>
            <a:spLocks noGrp="1" noRot="1" noMove="1" noResize="1" noEditPoints="1" noAdjustHandles="1" noChangeArrowheads="1" noChangeShapeType="1"/>
          </p:cNvSpPr>
          <p:nvPr>
            <p:ph type="title"/>
          </p:nvPr>
        </p:nvSpPr>
        <p:spPr/>
        <p:txBody>
          <a:bodyPr/>
          <a:lstStyle/>
          <a:p>
            <a:r>
              <a:rPr lang="en-US"/>
              <a:t>What is the Digital Product Passport (DPP)? </a:t>
            </a:r>
            <a:r>
              <a:rPr kumimoji="0" lang="en-US" sz="2000" b="0" i="0" u="none" strike="noStrike" kern="1200" cap="none" spc="0" normalizeH="0" baseline="0" noProof="0">
                <a:ln>
                  <a:noFill/>
                </a:ln>
                <a:solidFill>
                  <a:srgbClr val="C50022"/>
                </a:solidFill>
                <a:effectLst/>
                <a:uLnTx/>
                <a:uFillTx/>
                <a:latin typeface="Arial" panose="020B0604020202020204" pitchFamily="34" charset="0"/>
                <a:cs typeface="Arial"/>
              </a:rPr>
              <a:t>(see ESPR §9 - §15)</a:t>
            </a:r>
            <a:r>
              <a:rPr lang="en-US"/>
              <a:t> </a:t>
            </a:r>
          </a:p>
        </p:txBody>
      </p:sp>
      <p:sp>
        <p:nvSpPr>
          <p:cNvPr id="4" name="Date Placeholder 3">
            <a:extLst>
              <a:ext uri="{FF2B5EF4-FFF2-40B4-BE49-F238E27FC236}">
                <a16:creationId xmlns:a16="http://schemas.microsoft.com/office/drawing/2014/main" id="{6E3787B9-9641-371D-0581-B034BE6381BD}"/>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368FC967-E25B-4DC7-87C0-1C454DF70C3D}" type="datetime1">
              <a:rPr kumimoji="0" lang="de-DE" sz="900" b="0" i="0" u="none" strike="noStrike" kern="1200" cap="none" spc="0" normalizeH="0" baseline="0" noProof="0" smtClean="0">
                <a:ln>
                  <a:noFill/>
                </a:ln>
                <a:effectLst/>
                <a:uLnTx/>
                <a:uFillTx/>
                <a:latin typeface="Arial" panose="020B0604020202020204"/>
                <a:cs typeface="Arial"/>
              </a:rPr>
              <a:t>16.02.25</a:t>
            </a:fld>
            <a:endParaRPr kumimoji="0" lang="de-DE" sz="900" b="0" i="0" u="none" strike="noStrike" kern="1200" cap="none" spc="0" normalizeH="0" baseline="0" noProof="0">
              <a:ln>
                <a:noFill/>
              </a:ln>
              <a:effectLst/>
              <a:uLnTx/>
              <a:uFillTx/>
              <a:latin typeface="Arial" panose="020B0604020202020204"/>
              <a:cs typeface="Arial"/>
            </a:endParaRPr>
          </a:p>
        </p:txBody>
      </p:sp>
      <p:sp>
        <p:nvSpPr>
          <p:cNvPr id="5" name="Slide Number Placeholder 4">
            <a:extLst>
              <a:ext uri="{FF2B5EF4-FFF2-40B4-BE49-F238E27FC236}">
                <a16:creationId xmlns:a16="http://schemas.microsoft.com/office/drawing/2014/main" id="{3DA20D04-4750-D4F7-71A6-A572C420D3E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19</a:t>
            </a:fld>
            <a:endParaRPr kumimoji="0" lang="de-DE" sz="900" b="1" i="0" u="none" strike="noStrike" kern="1200" cap="none" spc="0" normalizeH="0" baseline="0" noProof="0">
              <a:ln>
                <a:noFill/>
              </a:ln>
              <a:effectLst/>
              <a:uLnTx/>
              <a:uFillTx/>
              <a:latin typeface="Arial" panose="020B0604020202020204"/>
              <a:cs typeface="Arial"/>
            </a:endParaRPr>
          </a:p>
        </p:txBody>
      </p:sp>
      <p:sp>
        <p:nvSpPr>
          <p:cNvPr id="6" name="Fußzeilenplatzhalter 3">
            <a:extLst>
              <a:ext uri="{FF2B5EF4-FFF2-40B4-BE49-F238E27FC236}">
                <a16:creationId xmlns:a16="http://schemas.microsoft.com/office/drawing/2014/main" id="{5C8B5F5E-23EB-94AC-8F6D-8B943A055E82}"/>
              </a:ext>
            </a:extLst>
          </p:cNvPr>
          <p:cNvSpPr txBox="1">
            <a:spLocks/>
          </p:cNvSpPr>
          <p:nvPr/>
        </p:nvSpPr>
        <p:spPr>
          <a:xfrm>
            <a:off x="1368178" y="6516000"/>
            <a:ext cx="10188000" cy="167933"/>
          </a:xfrm>
          <a:prstGeom prst="rect">
            <a:avLst/>
          </a:prstGeom>
        </p:spPr>
        <p:txBody>
          <a:bodyPr lIns="0" tIns="0" rIns="0" bIns="0"/>
          <a:lstStyle>
            <a:defPPr lvl="0">
              <a:defRPr lang="de-DE"/>
            </a:defPPr>
            <a:lvl1pPr>
              <a:defRPr sz="900">
                <a:latin typeface="Arial" panose="020B0604020202020204"/>
                <a:cs typeface="Arial"/>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ym typeface="Calibri" panose="020F0502020204030204" pitchFamily="34" charset="0"/>
              </a:rPr>
              <a:t>Source: </a:t>
            </a:r>
          </a:p>
        </p:txBody>
      </p:sp>
      <p:grpSp>
        <p:nvGrpSpPr>
          <p:cNvPr id="111" name="Group 110">
            <a:extLst>
              <a:ext uri="{FF2B5EF4-FFF2-40B4-BE49-F238E27FC236}">
                <a16:creationId xmlns:a16="http://schemas.microsoft.com/office/drawing/2014/main" id="{805BEBAE-18D8-F254-CA46-87E6EFDF6A23}"/>
              </a:ext>
            </a:extLst>
          </p:cNvPr>
          <p:cNvGrpSpPr/>
          <p:nvPr/>
        </p:nvGrpSpPr>
        <p:grpSpPr>
          <a:xfrm>
            <a:off x="6784706" y="1720695"/>
            <a:ext cx="5345382" cy="3788087"/>
            <a:chOff x="6784706" y="2212594"/>
            <a:chExt cx="5345382" cy="3788087"/>
          </a:xfrm>
        </p:grpSpPr>
        <p:sp>
          <p:nvSpPr>
            <p:cNvPr id="90" name="Oval 89">
              <a:extLst>
                <a:ext uri="{FF2B5EF4-FFF2-40B4-BE49-F238E27FC236}">
                  <a16:creationId xmlns:a16="http://schemas.microsoft.com/office/drawing/2014/main" id="{4A0ADA90-8F50-D4F6-0FF3-FA82C9417616}"/>
                </a:ext>
              </a:extLst>
            </p:cNvPr>
            <p:cNvSpPr>
              <a:spLocks noChangeAspect="1"/>
            </p:cNvSpPr>
            <p:nvPr/>
          </p:nvSpPr>
          <p:spPr>
            <a:xfrm>
              <a:off x="7221554" y="2360049"/>
              <a:ext cx="216000" cy="216000"/>
            </a:xfrm>
            <a:prstGeom prst="ellipse">
              <a:avLst/>
            </a:prstGeom>
            <a:solidFill>
              <a:srgbClr val="F39500"/>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1200">
                  <a:latin typeface="+mj-lt"/>
                </a:rPr>
                <a:t>ID</a:t>
              </a:r>
            </a:p>
          </p:txBody>
        </p:sp>
        <p:pic>
          <p:nvPicPr>
            <p:cNvPr id="91" name="Graphic 90">
              <a:extLst>
                <a:ext uri="{FF2B5EF4-FFF2-40B4-BE49-F238E27FC236}">
                  <a16:creationId xmlns:a16="http://schemas.microsoft.com/office/drawing/2014/main" id="{C90678DF-A504-E78C-2658-C956DFEDDB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19617" y="2841219"/>
              <a:ext cx="419875" cy="419875"/>
            </a:xfrm>
            <a:prstGeom prst="rect">
              <a:avLst/>
            </a:prstGeom>
          </p:spPr>
        </p:pic>
        <p:pic>
          <p:nvPicPr>
            <p:cNvPr id="92" name="Graphic 91">
              <a:extLst>
                <a:ext uri="{FF2B5EF4-FFF2-40B4-BE49-F238E27FC236}">
                  <a16:creationId xmlns:a16="http://schemas.microsoft.com/office/drawing/2014/main" id="{7FE284C0-2AE4-059C-CAD0-343C6D044FE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88029" y="3526264"/>
              <a:ext cx="283050" cy="283050"/>
            </a:xfrm>
            <a:prstGeom prst="rect">
              <a:avLst/>
            </a:prstGeom>
          </p:spPr>
        </p:pic>
        <p:sp>
          <p:nvSpPr>
            <p:cNvPr id="93" name="TextBox 92">
              <a:extLst>
                <a:ext uri="{FF2B5EF4-FFF2-40B4-BE49-F238E27FC236}">
                  <a16:creationId xmlns:a16="http://schemas.microsoft.com/office/drawing/2014/main" id="{D90C9258-F276-DABF-AD8E-574C5DDE0719}"/>
                </a:ext>
              </a:extLst>
            </p:cNvPr>
            <p:cNvSpPr txBox="1"/>
            <p:nvPr/>
          </p:nvSpPr>
          <p:spPr>
            <a:xfrm>
              <a:off x="6913056" y="4350687"/>
              <a:ext cx="832996" cy="361693"/>
            </a:xfrm>
            <a:prstGeom prst="rect">
              <a:avLst/>
            </a:prstGeom>
            <a:solidFill>
              <a:srgbClr val="004A96"/>
            </a:solidFill>
          </p:spPr>
          <p:txBody>
            <a:bodyPr wrap="square" lIns="36000" tIns="36000" rIns="36000" bIns="36000" rtlCol="0">
              <a:spAutoFit/>
            </a:bodyPr>
            <a:lstStyle/>
            <a:p>
              <a:pPr marL="0" indent="0" algn="l">
                <a:lnSpc>
                  <a:spcPct val="85000"/>
                </a:lnSpc>
                <a:buClr>
                  <a:schemeClr val="bg2"/>
                </a:buClr>
                <a:buSzPct val="80000"/>
                <a:buFont typeface="Arial" panose="020B0604020202020204" pitchFamily="34" charset="0"/>
                <a:buNone/>
              </a:pPr>
              <a:r>
                <a:rPr lang="en-US" sz="1100" b="0" i="0" u="none" strike="noStrike" cap="none">
                  <a:solidFill>
                    <a:schemeClr val="bg1"/>
                  </a:solidFill>
                  <a:latin typeface="+mj-lt"/>
                  <a:cs typeface="Calibri" panose="020F0502020204030204" pitchFamily="34" charset="0"/>
                  <a:sym typeface="Calibri" panose="020F0502020204030204" pitchFamily="34" charset="0"/>
                </a:rPr>
                <a:t>Product </a:t>
              </a:r>
            </a:p>
            <a:p>
              <a:pPr marL="0" indent="0" algn="l">
                <a:lnSpc>
                  <a:spcPct val="85000"/>
                </a:lnSpc>
                <a:buClr>
                  <a:schemeClr val="bg2"/>
                </a:buClr>
                <a:buSzPct val="80000"/>
                <a:buFont typeface="Arial" panose="020B0604020202020204" pitchFamily="34" charset="0"/>
                <a:buNone/>
              </a:pPr>
              <a:r>
                <a:rPr lang="en-US" sz="1100" b="0" i="0" u="none" strike="noStrike" cap="none">
                  <a:solidFill>
                    <a:schemeClr val="bg1"/>
                  </a:solidFill>
                  <a:latin typeface="+mj-lt"/>
                  <a:cs typeface="Calibri" panose="020F0502020204030204" pitchFamily="34" charset="0"/>
                  <a:sym typeface="Calibri" panose="020F0502020204030204" pitchFamily="34" charset="0"/>
                </a:rPr>
                <a:t>Information</a:t>
              </a:r>
            </a:p>
          </p:txBody>
        </p:sp>
        <p:grpSp>
          <p:nvGrpSpPr>
            <p:cNvPr id="94" name="Group 93">
              <a:extLst>
                <a:ext uri="{FF2B5EF4-FFF2-40B4-BE49-F238E27FC236}">
                  <a16:creationId xmlns:a16="http://schemas.microsoft.com/office/drawing/2014/main" id="{35498DD5-8B1C-A04A-AE4F-387B561B03A9}"/>
                </a:ext>
              </a:extLst>
            </p:cNvPr>
            <p:cNvGrpSpPr/>
            <p:nvPr/>
          </p:nvGrpSpPr>
          <p:grpSpPr>
            <a:xfrm>
              <a:off x="6784706" y="4977550"/>
              <a:ext cx="1089697" cy="338657"/>
              <a:chOff x="7068883" y="2476754"/>
              <a:chExt cx="1089697" cy="338657"/>
            </a:xfrm>
          </p:grpSpPr>
          <p:sp>
            <p:nvSpPr>
              <p:cNvPr id="95" name="Rectangle 94">
                <a:extLst>
                  <a:ext uri="{FF2B5EF4-FFF2-40B4-BE49-F238E27FC236}">
                    <a16:creationId xmlns:a16="http://schemas.microsoft.com/office/drawing/2014/main" id="{328D49F4-8935-4A2B-ADF3-569D4C87E48E}"/>
                  </a:ext>
                </a:extLst>
              </p:cNvPr>
              <p:cNvSpPr/>
              <p:nvPr/>
            </p:nvSpPr>
            <p:spPr>
              <a:xfrm>
                <a:off x="7068883" y="2476754"/>
                <a:ext cx="1089697" cy="325258"/>
              </a:xfrm>
              <a:prstGeom prst="rect">
                <a:avLst/>
              </a:prstGeom>
              <a:solidFill>
                <a:srgbClr val="00793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a:latin typeface="+mj-lt"/>
                  </a:rPr>
                  <a:t>Validation </a:t>
                </a:r>
              </a:p>
            </p:txBody>
          </p:sp>
          <p:pic>
            <p:nvPicPr>
              <p:cNvPr id="96" name="Graphic 95">
                <a:extLst>
                  <a:ext uri="{FF2B5EF4-FFF2-40B4-BE49-F238E27FC236}">
                    <a16:creationId xmlns:a16="http://schemas.microsoft.com/office/drawing/2014/main" id="{24AAC5FC-02E9-9DA9-2BE6-E01058E5F7F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83830" y="2485574"/>
                <a:ext cx="329837" cy="329837"/>
              </a:xfrm>
              <a:prstGeom prst="rect">
                <a:avLst/>
              </a:prstGeom>
            </p:spPr>
          </p:pic>
        </p:grpSp>
        <p:sp>
          <p:nvSpPr>
            <p:cNvPr id="97" name="Rounded Rectangle 96">
              <a:extLst>
                <a:ext uri="{FF2B5EF4-FFF2-40B4-BE49-F238E27FC236}">
                  <a16:creationId xmlns:a16="http://schemas.microsoft.com/office/drawing/2014/main" id="{B787D8A9-C0FC-899B-C84E-6960EB139468}"/>
                </a:ext>
              </a:extLst>
            </p:cNvPr>
            <p:cNvSpPr/>
            <p:nvPr/>
          </p:nvSpPr>
          <p:spPr>
            <a:xfrm>
              <a:off x="6784706" y="5581378"/>
              <a:ext cx="1089697" cy="419303"/>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atin typeface="+mj-lt"/>
                </a:rPr>
                <a:t>Tier n</a:t>
              </a:r>
            </a:p>
          </p:txBody>
        </p:sp>
        <p:sp>
          <p:nvSpPr>
            <p:cNvPr id="98" name="TextBox 97">
              <a:extLst>
                <a:ext uri="{FF2B5EF4-FFF2-40B4-BE49-F238E27FC236}">
                  <a16:creationId xmlns:a16="http://schemas.microsoft.com/office/drawing/2014/main" id="{E0BB51EF-B26C-179D-E84B-D7836A4FD809}"/>
                </a:ext>
              </a:extLst>
            </p:cNvPr>
            <p:cNvSpPr txBox="1"/>
            <p:nvPr/>
          </p:nvSpPr>
          <p:spPr>
            <a:xfrm>
              <a:off x="7979570" y="2212594"/>
              <a:ext cx="4150518" cy="510909"/>
            </a:xfrm>
            <a:prstGeom prst="rect">
              <a:avLst/>
            </a:prstGeom>
            <a:noFill/>
          </p:spPr>
          <p:txBody>
            <a:bodyPr wrap="square" rtlCol="0">
              <a:spAutoFit/>
            </a:bodyPr>
            <a:lstStyle/>
            <a:p>
              <a:pPr marL="0" indent="0" algn="l">
                <a:lnSpc>
                  <a:spcPct val="85000"/>
                </a:lnSpc>
                <a:buClr>
                  <a:schemeClr val="bg2"/>
                </a:buClr>
                <a:buSzPct val="80000"/>
                <a:buFont typeface="Arial" panose="020B0604020202020204" pitchFamily="34" charset="0"/>
                <a:buNone/>
              </a:pPr>
              <a:r>
                <a:rPr lang="en-US" sz="1600">
                  <a:solidFill>
                    <a:schemeClr val="tx1">
                      <a:lumMod val="65000"/>
                      <a:lumOff val="35000"/>
                    </a:schemeClr>
                  </a:solidFill>
                  <a:latin typeface="+mj-lt"/>
                  <a:cs typeface="Calibri" panose="020F0502020204030204" pitchFamily="34" charset="0"/>
                  <a:sym typeface="Calibri" panose="020F0502020204030204" pitchFamily="34" charset="0"/>
                </a:rPr>
                <a:t>Unique Identifier for products, companies, etc. and their verification</a:t>
              </a:r>
              <a:endParaRPr lang="en-US" sz="1600" b="0" i="0" u="none" strike="noStrike" cap="none">
                <a:solidFill>
                  <a:schemeClr val="tx1">
                    <a:lumMod val="65000"/>
                    <a:lumOff val="35000"/>
                  </a:schemeClr>
                </a:solidFill>
                <a:latin typeface="+mj-lt"/>
                <a:cs typeface="Calibri" panose="020F0502020204030204" pitchFamily="34" charset="0"/>
                <a:sym typeface="Calibri" panose="020F0502020204030204" pitchFamily="34" charset="0"/>
              </a:endParaRPr>
            </a:p>
          </p:txBody>
        </p:sp>
        <p:sp>
          <p:nvSpPr>
            <p:cNvPr id="99" name="TextBox 98">
              <a:extLst>
                <a:ext uri="{FF2B5EF4-FFF2-40B4-BE49-F238E27FC236}">
                  <a16:creationId xmlns:a16="http://schemas.microsoft.com/office/drawing/2014/main" id="{59E35EA9-A2B5-A495-E63C-B9AD63CCEFAA}"/>
                </a:ext>
              </a:extLst>
            </p:cNvPr>
            <p:cNvSpPr txBox="1"/>
            <p:nvPr/>
          </p:nvSpPr>
          <p:spPr>
            <a:xfrm>
              <a:off x="7979570" y="2795701"/>
              <a:ext cx="4150518" cy="510909"/>
            </a:xfrm>
            <a:prstGeom prst="rect">
              <a:avLst/>
            </a:prstGeom>
            <a:noFill/>
          </p:spPr>
          <p:txBody>
            <a:bodyPr wrap="square" rtlCol="0">
              <a:spAutoFit/>
            </a:bodyPr>
            <a:lstStyle/>
            <a:p>
              <a:pPr marL="0" indent="0" algn="l">
                <a:lnSpc>
                  <a:spcPct val="85000"/>
                </a:lnSpc>
                <a:buClr>
                  <a:schemeClr val="bg2"/>
                </a:buClr>
                <a:buSzPct val="80000"/>
                <a:buFont typeface="Arial" panose="020B0604020202020204" pitchFamily="34" charset="0"/>
                <a:buNone/>
              </a:pPr>
              <a:r>
                <a:rPr lang="en-US" sz="1600">
                  <a:solidFill>
                    <a:schemeClr val="tx1">
                      <a:lumMod val="65000"/>
                      <a:lumOff val="35000"/>
                    </a:schemeClr>
                  </a:solidFill>
                  <a:latin typeface="+mj-lt"/>
                  <a:cs typeface="Calibri" panose="020F0502020204030204" pitchFamily="34" charset="0"/>
                  <a:sym typeface="Calibri" panose="020F0502020204030204" pitchFamily="34" charset="0"/>
                </a:rPr>
                <a:t>Access rights management and control mechanism</a:t>
              </a:r>
              <a:endParaRPr lang="en-US" sz="1600" b="0" i="0" u="none" strike="noStrike" cap="none">
                <a:solidFill>
                  <a:schemeClr val="tx1">
                    <a:lumMod val="65000"/>
                    <a:lumOff val="35000"/>
                  </a:schemeClr>
                </a:solidFill>
                <a:latin typeface="+mj-lt"/>
                <a:cs typeface="Calibri" panose="020F0502020204030204" pitchFamily="34" charset="0"/>
                <a:sym typeface="Calibri" panose="020F0502020204030204" pitchFamily="34" charset="0"/>
              </a:endParaRPr>
            </a:p>
          </p:txBody>
        </p:sp>
        <p:sp>
          <p:nvSpPr>
            <p:cNvPr id="100" name="TextBox 99">
              <a:extLst>
                <a:ext uri="{FF2B5EF4-FFF2-40B4-BE49-F238E27FC236}">
                  <a16:creationId xmlns:a16="http://schemas.microsoft.com/office/drawing/2014/main" id="{7234609D-E70B-54FE-DBD7-B5B73D29F60D}"/>
                </a:ext>
              </a:extLst>
            </p:cNvPr>
            <p:cNvSpPr txBox="1"/>
            <p:nvPr/>
          </p:nvSpPr>
          <p:spPr>
            <a:xfrm>
              <a:off x="7979570" y="3516847"/>
              <a:ext cx="4150518" cy="301621"/>
            </a:xfrm>
            <a:prstGeom prst="rect">
              <a:avLst/>
            </a:prstGeom>
            <a:noFill/>
          </p:spPr>
          <p:txBody>
            <a:bodyPr wrap="square" rtlCol="0">
              <a:spAutoFit/>
            </a:bodyPr>
            <a:lstStyle/>
            <a:p>
              <a:pPr marL="0" indent="0" algn="l">
                <a:lnSpc>
                  <a:spcPct val="85000"/>
                </a:lnSpc>
                <a:buClr>
                  <a:schemeClr val="bg2"/>
                </a:buClr>
                <a:buSzPct val="80000"/>
                <a:buFont typeface="Arial" panose="020B0604020202020204" pitchFamily="34" charset="0"/>
                <a:buNone/>
              </a:pPr>
              <a:r>
                <a:rPr lang="en-US" sz="1600">
                  <a:solidFill>
                    <a:schemeClr val="tx1">
                      <a:lumMod val="65000"/>
                      <a:lumOff val="35000"/>
                    </a:schemeClr>
                  </a:solidFill>
                  <a:latin typeface="+mj-lt"/>
                  <a:cs typeface="Calibri" panose="020F0502020204030204" pitchFamily="34" charset="0"/>
                  <a:sym typeface="Calibri" panose="020F0502020204030204" pitchFamily="34" charset="0"/>
                </a:rPr>
                <a:t>(Decentral) data storage, data persistence</a:t>
              </a:r>
              <a:endParaRPr lang="en-US" sz="1600" b="0" i="0" u="none" strike="noStrike" cap="none">
                <a:solidFill>
                  <a:schemeClr val="tx1">
                    <a:lumMod val="65000"/>
                    <a:lumOff val="35000"/>
                  </a:schemeClr>
                </a:solidFill>
                <a:latin typeface="+mj-lt"/>
                <a:cs typeface="Calibri" panose="020F0502020204030204" pitchFamily="34" charset="0"/>
                <a:sym typeface="Calibri" panose="020F0502020204030204" pitchFamily="34" charset="0"/>
              </a:endParaRPr>
            </a:p>
          </p:txBody>
        </p:sp>
        <p:sp>
          <p:nvSpPr>
            <p:cNvPr id="101" name="TextBox 100">
              <a:extLst>
                <a:ext uri="{FF2B5EF4-FFF2-40B4-BE49-F238E27FC236}">
                  <a16:creationId xmlns:a16="http://schemas.microsoft.com/office/drawing/2014/main" id="{E1B54FCB-0387-1250-DB51-2BFC684BC41C}"/>
                </a:ext>
              </a:extLst>
            </p:cNvPr>
            <p:cNvSpPr txBox="1"/>
            <p:nvPr/>
          </p:nvSpPr>
          <p:spPr>
            <a:xfrm>
              <a:off x="7979570" y="4292585"/>
              <a:ext cx="4150518" cy="510909"/>
            </a:xfrm>
            <a:prstGeom prst="rect">
              <a:avLst/>
            </a:prstGeom>
            <a:noFill/>
          </p:spPr>
          <p:txBody>
            <a:bodyPr wrap="square" rtlCol="0">
              <a:spAutoFit/>
            </a:bodyPr>
            <a:lstStyle/>
            <a:p>
              <a:pPr marL="0" indent="0" algn="l">
                <a:lnSpc>
                  <a:spcPct val="85000"/>
                </a:lnSpc>
                <a:buClr>
                  <a:schemeClr val="bg2"/>
                </a:buClr>
                <a:buSzPct val="80000"/>
                <a:buFont typeface="Arial" panose="020B0604020202020204" pitchFamily="34" charset="0"/>
                <a:buNone/>
              </a:pPr>
              <a:r>
                <a:rPr lang="en-US" sz="1600">
                  <a:solidFill>
                    <a:schemeClr val="tx1">
                      <a:lumMod val="65000"/>
                      <a:lumOff val="35000"/>
                    </a:schemeClr>
                  </a:solidFill>
                  <a:latin typeface="+mj-lt"/>
                  <a:cs typeface="Calibri" panose="020F0502020204030204" pitchFamily="34" charset="0"/>
                  <a:sym typeface="Calibri" panose="020F0502020204030204" pitchFamily="34" charset="0"/>
                </a:rPr>
                <a:t>Semantic standards for product information, syntactic standards for data formats</a:t>
              </a:r>
              <a:endParaRPr lang="en-US" sz="1600" b="0" i="0" u="none" strike="noStrike" cap="none">
                <a:solidFill>
                  <a:schemeClr val="tx1">
                    <a:lumMod val="65000"/>
                    <a:lumOff val="35000"/>
                  </a:schemeClr>
                </a:solidFill>
                <a:latin typeface="+mj-lt"/>
                <a:cs typeface="Calibri" panose="020F0502020204030204" pitchFamily="34" charset="0"/>
                <a:sym typeface="Calibri" panose="020F0502020204030204" pitchFamily="34" charset="0"/>
              </a:endParaRPr>
            </a:p>
          </p:txBody>
        </p:sp>
        <p:sp>
          <p:nvSpPr>
            <p:cNvPr id="102" name="TextBox 101">
              <a:extLst>
                <a:ext uri="{FF2B5EF4-FFF2-40B4-BE49-F238E27FC236}">
                  <a16:creationId xmlns:a16="http://schemas.microsoft.com/office/drawing/2014/main" id="{491CD272-1D19-468D-3CE5-970DE37B9C90}"/>
                </a:ext>
              </a:extLst>
            </p:cNvPr>
            <p:cNvSpPr txBox="1"/>
            <p:nvPr/>
          </p:nvSpPr>
          <p:spPr>
            <a:xfrm>
              <a:off x="7979570" y="4917899"/>
              <a:ext cx="4150518" cy="510909"/>
            </a:xfrm>
            <a:prstGeom prst="rect">
              <a:avLst/>
            </a:prstGeom>
            <a:noFill/>
          </p:spPr>
          <p:txBody>
            <a:bodyPr wrap="square" rtlCol="0">
              <a:spAutoFit/>
            </a:bodyPr>
            <a:lstStyle/>
            <a:p>
              <a:pPr marL="0" indent="0" algn="l">
                <a:lnSpc>
                  <a:spcPct val="85000"/>
                </a:lnSpc>
                <a:buClr>
                  <a:schemeClr val="bg2"/>
                </a:buClr>
                <a:buSzPct val="80000"/>
                <a:buFont typeface="Arial" panose="020B0604020202020204" pitchFamily="34" charset="0"/>
                <a:buNone/>
              </a:pPr>
              <a:r>
                <a:rPr lang="en-US" sz="1600">
                  <a:solidFill>
                    <a:schemeClr val="tx1">
                      <a:lumMod val="65000"/>
                      <a:lumOff val="35000"/>
                    </a:schemeClr>
                  </a:solidFill>
                  <a:latin typeface="+mj-lt"/>
                  <a:cs typeface="Calibri" panose="020F0502020204030204" pitchFamily="34" charset="0"/>
                  <a:sym typeface="Calibri" panose="020F0502020204030204" pitchFamily="34" charset="0"/>
                </a:rPr>
                <a:t>Data authentication, reliability, integrity, security, and privacy</a:t>
              </a:r>
              <a:endParaRPr lang="en-US" sz="1600" b="0" i="0" u="none" strike="noStrike" cap="none">
                <a:solidFill>
                  <a:schemeClr val="tx1">
                    <a:lumMod val="65000"/>
                    <a:lumOff val="35000"/>
                  </a:schemeClr>
                </a:solidFill>
                <a:latin typeface="+mj-lt"/>
                <a:cs typeface="Calibri" panose="020F0502020204030204" pitchFamily="34" charset="0"/>
                <a:sym typeface="Calibri" panose="020F0502020204030204" pitchFamily="34" charset="0"/>
              </a:endParaRPr>
            </a:p>
          </p:txBody>
        </p:sp>
        <p:sp>
          <p:nvSpPr>
            <p:cNvPr id="103" name="TextBox 102">
              <a:extLst>
                <a:ext uri="{FF2B5EF4-FFF2-40B4-BE49-F238E27FC236}">
                  <a16:creationId xmlns:a16="http://schemas.microsoft.com/office/drawing/2014/main" id="{ED4CDB91-2C0A-5021-E978-3CC386315311}"/>
                </a:ext>
              </a:extLst>
            </p:cNvPr>
            <p:cNvSpPr txBox="1"/>
            <p:nvPr/>
          </p:nvSpPr>
          <p:spPr>
            <a:xfrm>
              <a:off x="7979570" y="5640219"/>
              <a:ext cx="4150518" cy="301621"/>
            </a:xfrm>
            <a:prstGeom prst="rect">
              <a:avLst/>
            </a:prstGeom>
            <a:noFill/>
          </p:spPr>
          <p:txBody>
            <a:bodyPr wrap="square" rtlCol="0">
              <a:spAutoFit/>
            </a:bodyPr>
            <a:lstStyle/>
            <a:p>
              <a:pPr marL="0" indent="0" algn="l">
                <a:lnSpc>
                  <a:spcPct val="85000"/>
                </a:lnSpc>
                <a:buClr>
                  <a:schemeClr val="bg2"/>
                </a:buClr>
                <a:buSzPct val="80000"/>
                <a:buFont typeface="Arial" panose="020B0604020202020204" pitchFamily="34" charset="0"/>
                <a:buNone/>
              </a:pPr>
              <a:r>
                <a:rPr lang="en-US" sz="1600">
                  <a:solidFill>
                    <a:schemeClr val="tx1">
                      <a:lumMod val="65000"/>
                      <a:lumOff val="35000"/>
                    </a:schemeClr>
                  </a:solidFill>
                  <a:latin typeface="+mj-lt"/>
                  <a:cs typeface="Calibri" panose="020F0502020204030204" pitchFamily="34" charset="0"/>
                  <a:sym typeface="Calibri" panose="020F0502020204030204" pitchFamily="34" charset="0"/>
                </a:rPr>
                <a:t>Value chain actor </a:t>
              </a:r>
              <a:endParaRPr lang="en-US" sz="1600" b="0" i="0" u="none" strike="noStrike" cap="none">
                <a:solidFill>
                  <a:schemeClr val="tx1">
                    <a:lumMod val="65000"/>
                    <a:lumOff val="35000"/>
                  </a:schemeClr>
                </a:solidFill>
                <a:latin typeface="+mj-lt"/>
                <a:cs typeface="Calibri" panose="020F0502020204030204" pitchFamily="34" charset="0"/>
                <a:sym typeface="Calibri" panose="020F0502020204030204" pitchFamily="34" charset="0"/>
              </a:endParaRPr>
            </a:p>
          </p:txBody>
        </p:sp>
        <p:cxnSp>
          <p:nvCxnSpPr>
            <p:cNvPr id="105" name="Straight Arrow Connector 104">
              <a:extLst>
                <a:ext uri="{FF2B5EF4-FFF2-40B4-BE49-F238E27FC236}">
                  <a16:creationId xmlns:a16="http://schemas.microsoft.com/office/drawing/2014/main" id="{2BC0BEB2-AAA2-2BA2-C540-E28A81833888}"/>
                </a:ext>
              </a:extLst>
            </p:cNvPr>
            <p:cNvCxnSpPr>
              <a:cxnSpLocks/>
            </p:cNvCxnSpPr>
            <p:nvPr/>
          </p:nvCxnSpPr>
          <p:spPr>
            <a:xfrm flipH="1" flipV="1">
              <a:off x="7056593" y="4074484"/>
              <a:ext cx="545922" cy="11033"/>
            </a:xfrm>
            <a:prstGeom prst="straightConnector1">
              <a:avLst/>
            </a:prstGeom>
            <a:ln w="25400">
              <a:solidFill>
                <a:schemeClr val="tx1">
                  <a:lumMod val="65000"/>
                  <a:lumOff val="35000"/>
                </a:schemeClr>
              </a:solidFill>
              <a:headEnd type="triangle" w="med" len="lg"/>
              <a:tailEnd type="triangle" w="med" len="lg"/>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701C1446-B300-2C9B-AB4E-2E021869C3CB}"/>
                </a:ext>
              </a:extLst>
            </p:cNvPr>
            <p:cNvSpPr txBox="1"/>
            <p:nvPr/>
          </p:nvSpPr>
          <p:spPr>
            <a:xfrm>
              <a:off x="7979570" y="3934706"/>
              <a:ext cx="4150518" cy="301621"/>
            </a:xfrm>
            <a:prstGeom prst="rect">
              <a:avLst/>
            </a:prstGeom>
            <a:noFill/>
          </p:spPr>
          <p:txBody>
            <a:bodyPr wrap="square" rtlCol="0">
              <a:spAutoFit/>
            </a:bodyPr>
            <a:lstStyle/>
            <a:p>
              <a:pPr marL="0" indent="0" algn="l">
                <a:lnSpc>
                  <a:spcPct val="85000"/>
                </a:lnSpc>
                <a:buClr>
                  <a:schemeClr val="bg2"/>
                </a:buClr>
                <a:buSzPct val="80000"/>
                <a:buFont typeface="Arial" panose="020B0604020202020204" pitchFamily="34" charset="0"/>
                <a:buNone/>
              </a:pPr>
              <a:r>
                <a:rPr lang="en-US" sz="1600">
                  <a:solidFill>
                    <a:schemeClr val="tx1">
                      <a:lumMod val="65000"/>
                      <a:lumOff val="35000"/>
                    </a:schemeClr>
                  </a:solidFill>
                  <a:latin typeface="+mj-lt"/>
                  <a:cs typeface="Calibri" panose="020F0502020204030204" pitchFamily="34" charset="0"/>
                  <a:sym typeface="Calibri" panose="020F0502020204030204" pitchFamily="34" charset="0"/>
                </a:rPr>
                <a:t>Data processing, data exchange protocols</a:t>
              </a:r>
              <a:endParaRPr lang="en-US" sz="1600" b="0" i="0" u="none" strike="noStrike" cap="none">
                <a:solidFill>
                  <a:schemeClr val="tx1">
                    <a:lumMod val="65000"/>
                    <a:lumOff val="35000"/>
                  </a:schemeClr>
                </a:solidFill>
                <a:latin typeface="+mj-lt"/>
                <a:cs typeface="Calibri" panose="020F0502020204030204" pitchFamily="34" charset="0"/>
                <a:sym typeface="Calibri" panose="020F0502020204030204" pitchFamily="34" charset="0"/>
              </a:endParaRPr>
            </a:p>
          </p:txBody>
        </p:sp>
      </p:grpSp>
      <p:grpSp>
        <p:nvGrpSpPr>
          <p:cNvPr id="3" name="Group 2">
            <a:extLst>
              <a:ext uri="{FF2B5EF4-FFF2-40B4-BE49-F238E27FC236}">
                <a16:creationId xmlns:a16="http://schemas.microsoft.com/office/drawing/2014/main" id="{02327656-4C20-CD94-3FD8-415C39D805F8}"/>
              </a:ext>
            </a:extLst>
          </p:cNvPr>
          <p:cNvGrpSpPr/>
          <p:nvPr/>
        </p:nvGrpSpPr>
        <p:grpSpPr>
          <a:xfrm>
            <a:off x="120644" y="1421423"/>
            <a:ext cx="6206785" cy="4386631"/>
            <a:chOff x="120644" y="1421423"/>
            <a:chExt cx="6206785" cy="4386631"/>
          </a:xfrm>
        </p:grpSpPr>
        <p:sp>
          <p:nvSpPr>
            <p:cNvPr id="9" name="Rounded Rectangle 8">
              <a:extLst>
                <a:ext uri="{FF2B5EF4-FFF2-40B4-BE49-F238E27FC236}">
                  <a16:creationId xmlns:a16="http://schemas.microsoft.com/office/drawing/2014/main" id="{19FBDB02-2166-C3FB-467E-B2A939FA99B3}"/>
                </a:ext>
              </a:extLst>
            </p:cNvPr>
            <p:cNvSpPr/>
            <p:nvPr/>
          </p:nvSpPr>
          <p:spPr>
            <a:xfrm>
              <a:off x="839062" y="5255161"/>
              <a:ext cx="1435395" cy="552893"/>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latin typeface="+mj-lt"/>
                </a:rPr>
                <a:t>Economic Operator</a:t>
              </a:r>
            </a:p>
          </p:txBody>
        </p:sp>
        <p:sp>
          <p:nvSpPr>
            <p:cNvPr id="10" name="Rounded Rectangle 9">
              <a:extLst>
                <a:ext uri="{FF2B5EF4-FFF2-40B4-BE49-F238E27FC236}">
                  <a16:creationId xmlns:a16="http://schemas.microsoft.com/office/drawing/2014/main" id="{2671A308-53EA-F354-EB30-CA21984A8C05}"/>
                </a:ext>
              </a:extLst>
            </p:cNvPr>
            <p:cNvSpPr/>
            <p:nvPr/>
          </p:nvSpPr>
          <p:spPr>
            <a:xfrm>
              <a:off x="2865548" y="5255161"/>
              <a:ext cx="1435395" cy="552893"/>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atin typeface="+mj-lt"/>
                </a:rPr>
                <a:t>Tier 1</a:t>
              </a:r>
            </a:p>
          </p:txBody>
        </p:sp>
        <p:sp>
          <p:nvSpPr>
            <p:cNvPr id="11" name="Rounded Rectangle 10">
              <a:extLst>
                <a:ext uri="{FF2B5EF4-FFF2-40B4-BE49-F238E27FC236}">
                  <a16:creationId xmlns:a16="http://schemas.microsoft.com/office/drawing/2014/main" id="{3442DEF3-D47A-2A31-1349-520EF2C6127B}"/>
                </a:ext>
              </a:extLst>
            </p:cNvPr>
            <p:cNvSpPr/>
            <p:nvPr/>
          </p:nvSpPr>
          <p:spPr>
            <a:xfrm>
              <a:off x="4892034" y="5255161"/>
              <a:ext cx="1435395" cy="552893"/>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atin typeface="+mj-lt"/>
                </a:rPr>
                <a:t>Tier n</a:t>
              </a:r>
            </a:p>
          </p:txBody>
        </p:sp>
        <p:cxnSp>
          <p:nvCxnSpPr>
            <p:cNvPr id="12" name="Straight Arrow Connector 11">
              <a:extLst>
                <a:ext uri="{FF2B5EF4-FFF2-40B4-BE49-F238E27FC236}">
                  <a16:creationId xmlns:a16="http://schemas.microsoft.com/office/drawing/2014/main" id="{1FE56046-43A5-A721-625A-D2679B25BF5F}"/>
                </a:ext>
              </a:extLst>
            </p:cNvPr>
            <p:cNvCxnSpPr>
              <a:cxnSpLocks/>
            </p:cNvCxnSpPr>
            <p:nvPr/>
          </p:nvCxnSpPr>
          <p:spPr>
            <a:xfrm flipV="1">
              <a:off x="1547732" y="4526478"/>
              <a:ext cx="0" cy="612000"/>
            </a:xfrm>
            <a:prstGeom prst="straightConnector1">
              <a:avLst/>
            </a:prstGeom>
            <a:ln w="25400">
              <a:solidFill>
                <a:schemeClr val="tx1">
                  <a:lumMod val="65000"/>
                  <a:lumOff val="35000"/>
                </a:schemeClr>
              </a:solidFill>
              <a:tailEnd type="triangle" w="med" len="lg"/>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FE1C0A6B-870F-ECC1-CE0F-662D44911737}"/>
                </a:ext>
              </a:extLst>
            </p:cNvPr>
            <p:cNvSpPr txBox="1"/>
            <p:nvPr/>
          </p:nvSpPr>
          <p:spPr>
            <a:xfrm>
              <a:off x="876905" y="4703794"/>
              <a:ext cx="554494" cy="257369"/>
            </a:xfrm>
            <a:prstGeom prst="rect">
              <a:avLst/>
            </a:prstGeom>
            <a:noFill/>
          </p:spPr>
          <p:txBody>
            <a:bodyPr wrap="square" lIns="36000" tIns="36000" rIns="36000" bIns="36000" rtlCol="0">
              <a:spAutoFit/>
            </a:bodyPr>
            <a:lstStyle>
              <a:defPPr marR="0" lvl="0" algn="l" rtl="0">
                <a:lnSpc>
                  <a:spcPct val="100000"/>
                </a:lnSpc>
                <a:spcBef>
                  <a:spcPts val="0"/>
                </a:spcBef>
                <a:spcAft>
                  <a:spcPts val="0"/>
                </a:spcAft>
              </a:defPPr>
              <a:lvl1pPr marL="0" indent="0">
                <a:buClr>
                  <a:schemeClr val="bg2"/>
                </a:buClr>
                <a:buSzPct val="80000"/>
                <a:buFont typeface="Arial" panose="020B0604020202020204" pitchFamily="34" charset="0"/>
                <a:buNone/>
                <a:defRPr>
                  <a:solidFill>
                    <a:schemeClr val="dk1"/>
                  </a:solidFill>
                  <a:latin typeface="Calibri" panose="020F0502020204030204" pitchFamily="34" charset="0"/>
                  <a:cs typeface="Calibri" panose="020F0502020204030204" pitchFamily="34" charset="0"/>
                </a:defRPr>
              </a:lvl1pPr>
            </a:lstStyle>
            <a:p>
              <a:pPr algn="r"/>
              <a:r>
                <a:rPr lang="en-US" sz="1200">
                  <a:solidFill>
                    <a:schemeClr val="tx1">
                      <a:lumMod val="65000"/>
                      <a:lumOff val="35000"/>
                    </a:schemeClr>
                  </a:solidFill>
                  <a:latin typeface="+mj-lt"/>
                  <a:sym typeface="Calibri" panose="020F0502020204030204" pitchFamily="34" charset="0"/>
                </a:rPr>
                <a:t>Issues</a:t>
              </a:r>
            </a:p>
          </p:txBody>
        </p:sp>
        <p:grpSp>
          <p:nvGrpSpPr>
            <p:cNvPr id="109" name="Group 108">
              <a:extLst>
                <a:ext uri="{FF2B5EF4-FFF2-40B4-BE49-F238E27FC236}">
                  <a16:creationId xmlns:a16="http://schemas.microsoft.com/office/drawing/2014/main" id="{2C5B2468-0994-52C0-BE1A-199F848A962D}"/>
                </a:ext>
              </a:extLst>
            </p:cNvPr>
            <p:cNvGrpSpPr/>
            <p:nvPr/>
          </p:nvGrpSpPr>
          <p:grpSpPr>
            <a:xfrm>
              <a:off x="1367250" y="2302281"/>
              <a:ext cx="379019" cy="379019"/>
              <a:chOff x="1367250" y="1754577"/>
              <a:chExt cx="379019" cy="379019"/>
            </a:xfrm>
          </p:grpSpPr>
          <p:sp>
            <p:nvSpPr>
              <p:cNvPr id="15" name="Freeform 14">
                <a:extLst>
                  <a:ext uri="{FF2B5EF4-FFF2-40B4-BE49-F238E27FC236}">
                    <a16:creationId xmlns:a16="http://schemas.microsoft.com/office/drawing/2014/main" id="{9F0976AD-CD72-3BC3-A609-A6363BBAE0B8}"/>
                  </a:ext>
                </a:extLst>
              </p:cNvPr>
              <p:cNvSpPr/>
              <p:nvPr/>
            </p:nvSpPr>
            <p:spPr>
              <a:xfrm>
                <a:off x="1511639" y="1754577"/>
                <a:ext cx="90240" cy="90245"/>
              </a:xfrm>
              <a:custGeom>
                <a:avLst/>
                <a:gdLst>
                  <a:gd name="connsiteX0" fmla="*/ 617014 w 1028294"/>
                  <a:gd name="connsiteY0" fmla="*/ 0 h 1028345"/>
                  <a:gd name="connsiteX1" fmla="*/ 1028294 w 1028294"/>
                  <a:gd name="connsiteY1" fmla="*/ 0 h 1028345"/>
                  <a:gd name="connsiteX2" fmla="*/ 1028294 w 1028294"/>
                  <a:gd name="connsiteY2" fmla="*/ 205649 h 1028345"/>
                  <a:gd name="connsiteX3" fmla="*/ 822668 w 1028294"/>
                  <a:gd name="connsiteY3" fmla="*/ 205649 h 1028345"/>
                  <a:gd name="connsiteX4" fmla="*/ 822668 w 1028294"/>
                  <a:gd name="connsiteY4" fmla="*/ 411297 h 1028345"/>
                  <a:gd name="connsiteX5" fmla="*/ 411303 w 1028294"/>
                  <a:gd name="connsiteY5" fmla="*/ 411297 h 1028345"/>
                  <a:gd name="connsiteX6" fmla="*/ 411303 w 1028294"/>
                  <a:gd name="connsiteY6" fmla="*/ 1028346 h 1028345"/>
                  <a:gd name="connsiteX7" fmla="*/ 0 w 1028294"/>
                  <a:gd name="connsiteY7" fmla="*/ 1028346 h 1028345"/>
                  <a:gd name="connsiteX8" fmla="*/ 0 w 1028294"/>
                  <a:gd name="connsiteY8" fmla="*/ 822629 h 1028345"/>
                  <a:gd name="connsiteX9" fmla="*/ 205649 w 1028294"/>
                  <a:gd name="connsiteY9" fmla="*/ 822629 h 1028345"/>
                  <a:gd name="connsiteX10" fmla="*/ 205649 w 1028294"/>
                  <a:gd name="connsiteY10" fmla="*/ 205637 h 1028345"/>
                  <a:gd name="connsiteX11" fmla="*/ 617014 w 1028294"/>
                  <a:gd name="connsiteY11" fmla="*/ 205637 h 1028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8294" h="1028345">
                    <a:moveTo>
                      <a:pt x="617014" y="0"/>
                    </a:moveTo>
                    <a:lnTo>
                      <a:pt x="1028294" y="0"/>
                    </a:lnTo>
                    <a:lnTo>
                      <a:pt x="1028294" y="205649"/>
                    </a:lnTo>
                    <a:lnTo>
                      <a:pt x="822668" y="205649"/>
                    </a:lnTo>
                    <a:lnTo>
                      <a:pt x="822668" y="411297"/>
                    </a:lnTo>
                    <a:lnTo>
                      <a:pt x="411303" y="411297"/>
                    </a:lnTo>
                    <a:lnTo>
                      <a:pt x="411303" y="1028346"/>
                    </a:lnTo>
                    <a:lnTo>
                      <a:pt x="0" y="1028346"/>
                    </a:lnTo>
                    <a:lnTo>
                      <a:pt x="0" y="822629"/>
                    </a:lnTo>
                    <a:lnTo>
                      <a:pt x="205649" y="822629"/>
                    </a:lnTo>
                    <a:lnTo>
                      <a:pt x="205649" y="205637"/>
                    </a:lnTo>
                    <a:lnTo>
                      <a:pt x="617014" y="205637"/>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16" name="Freeform 15">
                <a:extLst>
                  <a:ext uri="{FF2B5EF4-FFF2-40B4-BE49-F238E27FC236}">
                    <a16:creationId xmlns:a16="http://schemas.microsoft.com/office/drawing/2014/main" id="{141E6B55-5888-9CE4-EEC8-11A6500D22F8}"/>
                  </a:ext>
                </a:extLst>
              </p:cNvPr>
              <p:cNvSpPr/>
              <p:nvPr/>
            </p:nvSpPr>
            <p:spPr>
              <a:xfrm>
                <a:off x="1367250" y="1754577"/>
                <a:ext cx="126341" cy="126341"/>
              </a:xfrm>
              <a:custGeom>
                <a:avLst/>
                <a:gdLst>
                  <a:gd name="connsiteX0" fmla="*/ 0 w 1439665"/>
                  <a:gd name="connsiteY0" fmla="*/ 0 h 1439665"/>
                  <a:gd name="connsiteX1" fmla="*/ 0 w 1439665"/>
                  <a:gd name="connsiteY1" fmla="*/ 1439666 h 1439665"/>
                  <a:gd name="connsiteX2" fmla="*/ 1439666 w 1439665"/>
                  <a:gd name="connsiteY2" fmla="*/ 1439666 h 1439665"/>
                  <a:gd name="connsiteX3" fmla="*/ 1439666 w 1439665"/>
                  <a:gd name="connsiteY3" fmla="*/ 0 h 1439665"/>
                  <a:gd name="connsiteX4" fmla="*/ 1233926 w 1439665"/>
                  <a:gd name="connsiteY4" fmla="*/ 1233926 h 1439665"/>
                  <a:gd name="connsiteX5" fmla="*/ 205626 w 1439665"/>
                  <a:gd name="connsiteY5" fmla="*/ 1233926 h 1439665"/>
                  <a:gd name="connsiteX6" fmla="*/ 205626 w 1439665"/>
                  <a:gd name="connsiteY6" fmla="*/ 205626 h 1439665"/>
                  <a:gd name="connsiteX7" fmla="*/ 1233926 w 1439665"/>
                  <a:gd name="connsiteY7" fmla="*/ 205626 h 1439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9665" h="1439665">
                    <a:moveTo>
                      <a:pt x="0" y="0"/>
                    </a:moveTo>
                    <a:lnTo>
                      <a:pt x="0" y="1439666"/>
                    </a:lnTo>
                    <a:lnTo>
                      <a:pt x="1439666" y="1439666"/>
                    </a:lnTo>
                    <a:lnTo>
                      <a:pt x="1439666" y="0"/>
                    </a:lnTo>
                    <a:close/>
                    <a:moveTo>
                      <a:pt x="1233926" y="1233926"/>
                    </a:moveTo>
                    <a:lnTo>
                      <a:pt x="205626" y="1233926"/>
                    </a:lnTo>
                    <a:lnTo>
                      <a:pt x="205626" y="205626"/>
                    </a:lnTo>
                    <a:lnTo>
                      <a:pt x="1233926" y="205626"/>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17" name="Freeform 16">
                <a:extLst>
                  <a:ext uri="{FF2B5EF4-FFF2-40B4-BE49-F238E27FC236}">
                    <a16:creationId xmlns:a16="http://schemas.microsoft.com/office/drawing/2014/main" id="{50298A2C-4F8A-7FC6-AE8E-9C979A883A0C}"/>
                  </a:ext>
                </a:extLst>
              </p:cNvPr>
              <p:cNvSpPr/>
              <p:nvPr/>
            </p:nvSpPr>
            <p:spPr>
              <a:xfrm>
                <a:off x="1619933" y="1754577"/>
                <a:ext cx="126336" cy="126341"/>
              </a:xfrm>
              <a:custGeom>
                <a:avLst/>
                <a:gdLst>
                  <a:gd name="connsiteX0" fmla="*/ 0 w 1439608"/>
                  <a:gd name="connsiteY0" fmla="*/ 0 h 1439665"/>
                  <a:gd name="connsiteX1" fmla="*/ 0 w 1439608"/>
                  <a:gd name="connsiteY1" fmla="*/ 1439666 h 1439665"/>
                  <a:gd name="connsiteX2" fmla="*/ 1439608 w 1439608"/>
                  <a:gd name="connsiteY2" fmla="*/ 1439666 h 1439665"/>
                  <a:gd name="connsiteX3" fmla="*/ 1439608 w 1439608"/>
                  <a:gd name="connsiteY3" fmla="*/ 0 h 1439665"/>
                  <a:gd name="connsiteX4" fmla="*/ 1233868 w 1439608"/>
                  <a:gd name="connsiteY4" fmla="*/ 1233926 h 1439665"/>
                  <a:gd name="connsiteX5" fmla="*/ 205626 w 1439608"/>
                  <a:gd name="connsiteY5" fmla="*/ 1233926 h 1439665"/>
                  <a:gd name="connsiteX6" fmla="*/ 205626 w 1439608"/>
                  <a:gd name="connsiteY6" fmla="*/ 205626 h 1439665"/>
                  <a:gd name="connsiteX7" fmla="*/ 1233926 w 1439608"/>
                  <a:gd name="connsiteY7" fmla="*/ 205626 h 1439665"/>
                  <a:gd name="connsiteX8" fmla="*/ 1233926 w 1439608"/>
                  <a:gd name="connsiteY8" fmla="*/ 1233926 h 1439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9608" h="1439665">
                    <a:moveTo>
                      <a:pt x="0" y="0"/>
                    </a:moveTo>
                    <a:lnTo>
                      <a:pt x="0" y="1439666"/>
                    </a:lnTo>
                    <a:lnTo>
                      <a:pt x="1439608" y="1439666"/>
                    </a:lnTo>
                    <a:lnTo>
                      <a:pt x="1439608" y="0"/>
                    </a:lnTo>
                    <a:close/>
                    <a:moveTo>
                      <a:pt x="1233868" y="1233926"/>
                    </a:moveTo>
                    <a:lnTo>
                      <a:pt x="205626" y="1233926"/>
                    </a:lnTo>
                    <a:lnTo>
                      <a:pt x="205626" y="205626"/>
                    </a:lnTo>
                    <a:lnTo>
                      <a:pt x="1233926" y="205626"/>
                    </a:lnTo>
                    <a:lnTo>
                      <a:pt x="1233926" y="1233926"/>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18" name="Freeform 17">
                <a:extLst>
                  <a:ext uri="{FF2B5EF4-FFF2-40B4-BE49-F238E27FC236}">
                    <a16:creationId xmlns:a16="http://schemas.microsoft.com/office/drawing/2014/main" id="{B7837F1D-5488-D3AB-7909-48CECA81D13D}"/>
                  </a:ext>
                </a:extLst>
              </p:cNvPr>
              <p:cNvSpPr/>
              <p:nvPr/>
            </p:nvSpPr>
            <p:spPr>
              <a:xfrm>
                <a:off x="1403345" y="1790672"/>
                <a:ext cx="54146" cy="54146"/>
              </a:xfrm>
              <a:custGeom>
                <a:avLst/>
                <a:gdLst>
                  <a:gd name="connsiteX0" fmla="*/ 0 w 616991"/>
                  <a:gd name="connsiteY0" fmla="*/ 0 h 616991"/>
                  <a:gd name="connsiteX1" fmla="*/ 616992 w 616991"/>
                  <a:gd name="connsiteY1" fmla="*/ 0 h 616991"/>
                  <a:gd name="connsiteX2" fmla="*/ 616992 w 616991"/>
                  <a:gd name="connsiteY2" fmla="*/ 616992 h 616991"/>
                  <a:gd name="connsiteX3" fmla="*/ 0 w 616991"/>
                  <a:gd name="connsiteY3" fmla="*/ 616992 h 616991"/>
                </a:gdLst>
                <a:ahLst/>
                <a:cxnLst>
                  <a:cxn ang="0">
                    <a:pos x="connsiteX0" y="connsiteY0"/>
                  </a:cxn>
                  <a:cxn ang="0">
                    <a:pos x="connsiteX1" y="connsiteY1"/>
                  </a:cxn>
                  <a:cxn ang="0">
                    <a:pos x="connsiteX2" y="connsiteY2"/>
                  </a:cxn>
                  <a:cxn ang="0">
                    <a:pos x="connsiteX3" y="connsiteY3"/>
                  </a:cxn>
                </a:cxnLst>
                <a:rect l="l" t="t" r="r" b="b"/>
                <a:pathLst>
                  <a:path w="616991" h="616991">
                    <a:moveTo>
                      <a:pt x="0" y="0"/>
                    </a:moveTo>
                    <a:lnTo>
                      <a:pt x="616992" y="0"/>
                    </a:lnTo>
                    <a:lnTo>
                      <a:pt x="616992" y="616992"/>
                    </a:lnTo>
                    <a:lnTo>
                      <a:pt x="0" y="616992"/>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19" name="Freeform 18">
                <a:extLst>
                  <a:ext uri="{FF2B5EF4-FFF2-40B4-BE49-F238E27FC236}">
                    <a16:creationId xmlns:a16="http://schemas.microsoft.com/office/drawing/2014/main" id="{4DAAEDEE-1F60-7897-8211-66E7CD35C5F2}"/>
                  </a:ext>
                </a:extLst>
              </p:cNvPr>
              <p:cNvSpPr/>
              <p:nvPr/>
            </p:nvSpPr>
            <p:spPr>
              <a:xfrm>
                <a:off x="1656023" y="1790672"/>
                <a:ext cx="54146" cy="54146"/>
              </a:xfrm>
              <a:custGeom>
                <a:avLst/>
                <a:gdLst>
                  <a:gd name="connsiteX0" fmla="*/ 0 w 616991"/>
                  <a:gd name="connsiteY0" fmla="*/ 0 h 616991"/>
                  <a:gd name="connsiteX1" fmla="*/ 616992 w 616991"/>
                  <a:gd name="connsiteY1" fmla="*/ 0 h 616991"/>
                  <a:gd name="connsiteX2" fmla="*/ 616992 w 616991"/>
                  <a:gd name="connsiteY2" fmla="*/ 616992 h 616991"/>
                  <a:gd name="connsiteX3" fmla="*/ 0 w 616991"/>
                  <a:gd name="connsiteY3" fmla="*/ 616992 h 616991"/>
                </a:gdLst>
                <a:ahLst/>
                <a:cxnLst>
                  <a:cxn ang="0">
                    <a:pos x="connsiteX0" y="connsiteY0"/>
                  </a:cxn>
                  <a:cxn ang="0">
                    <a:pos x="connsiteX1" y="connsiteY1"/>
                  </a:cxn>
                  <a:cxn ang="0">
                    <a:pos x="connsiteX2" y="connsiteY2"/>
                  </a:cxn>
                  <a:cxn ang="0">
                    <a:pos x="connsiteX3" y="connsiteY3"/>
                  </a:cxn>
                </a:cxnLst>
                <a:rect l="l" t="t" r="r" b="b"/>
                <a:pathLst>
                  <a:path w="616991" h="616991">
                    <a:moveTo>
                      <a:pt x="0" y="0"/>
                    </a:moveTo>
                    <a:lnTo>
                      <a:pt x="616992" y="0"/>
                    </a:lnTo>
                    <a:lnTo>
                      <a:pt x="616992" y="616992"/>
                    </a:lnTo>
                    <a:lnTo>
                      <a:pt x="0" y="616992"/>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20" name="Freeform 19">
                <a:extLst>
                  <a:ext uri="{FF2B5EF4-FFF2-40B4-BE49-F238E27FC236}">
                    <a16:creationId xmlns:a16="http://schemas.microsoft.com/office/drawing/2014/main" id="{33CA5800-A912-2832-71DA-CFB5B816AC24}"/>
                  </a:ext>
                </a:extLst>
              </p:cNvPr>
              <p:cNvSpPr/>
              <p:nvPr/>
            </p:nvSpPr>
            <p:spPr>
              <a:xfrm>
                <a:off x="1565787" y="1808728"/>
                <a:ext cx="18047" cy="18047"/>
              </a:xfrm>
              <a:custGeom>
                <a:avLst/>
                <a:gdLst>
                  <a:gd name="connsiteX0" fmla="*/ 0 w 205648"/>
                  <a:gd name="connsiteY0" fmla="*/ 0 h 205648"/>
                  <a:gd name="connsiteX1" fmla="*/ 205649 w 205648"/>
                  <a:gd name="connsiteY1" fmla="*/ 0 h 205648"/>
                  <a:gd name="connsiteX2" fmla="*/ 205649 w 205648"/>
                  <a:gd name="connsiteY2" fmla="*/ 205649 h 205648"/>
                  <a:gd name="connsiteX3" fmla="*/ 0 w 205648"/>
                  <a:gd name="connsiteY3" fmla="*/ 205649 h 205648"/>
                </a:gdLst>
                <a:ahLst/>
                <a:cxnLst>
                  <a:cxn ang="0">
                    <a:pos x="connsiteX0" y="connsiteY0"/>
                  </a:cxn>
                  <a:cxn ang="0">
                    <a:pos x="connsiteX1" y="connsiteY1"/>
                  </a:cxn>
                  <a:cxn ang="0">
                    <a:pos x="connsiteX2" y="connsiteY2"/>
                  </a:cxn>
                  <a:cxn ang="0">
                    <a:pos x="connsiteX3" y="connsiteY3"/>
                  </a:cxn>
                </a:cxnLst>
                <a:rect l="l" t="t" r="r" b="b"/>
                <a:pathLst>
                  <a:path w="205648" h="205648">
                    <a:moveTo>
                      <a:pt x="0" y="0"/>
                    </a:moveTo>
                    <a:lnTo>
                      <a:pt x="205649" y="0"/>
                    </a:lnTo>
                    <a:lnTo>
                      <a:pt x="205649" y="205649"/>
                    </a:lnTo>
                    <a:lnTo>
                      <a:pt x="0" y="205649"/>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21" name="Freeform 20">
                <a:extLst>
                  <a:ext uri="{FF2B5EF4-FFF2-40B4-BE49-F238E27FC236}">
                    <a16:creationId xmlns:a16="http://schemas.microsoft.com/office/drawing/2014/main" id="{89722ABE-C2EF-0828-D613-D25D7DB88C65}"/>
                  </a:ext>
                </a:extLst>
              </p:cNvPr>
              <p:cNvSpPr/>
              <p:nvPr/>
            </p:nvSpPr>
            <p:spPr>
              <a:xfrm>
                <a:off x="1547732" y="1826773"/>
                <a:ext cx="54146" cy="72196"/>
              </a:xfrm>
              <a:custGeom>
                <a:avLst/>
                <a:gdLst>
                  <a:gd name="connsiteX0" fmla="*/ 411366 w 616991"/>
                  <a:gd name="connsiteY0" fmla="*/ 0 h 822674"/>
                  <a:gd name="connsiteX1" fmla="*/ 616992 w 616991"/>
                  <a:gd name="connsiteY1" fmla="*/ 0 h 822674"/>
                  <a:gd name="connsiteX2" fmla="*/ 616992 w 616991"/>
                  <a:gd name="connsiteY2" fmla="*/ 822674 h 822674"/>
                  <a:gd name="connsiteX3" fmla="*/ 411366 w 616991"/>
                  <a:gd name="connsiteY3" fmla="*/ 822674 h 822674"/>
                  <a:gd name="connsiteX4" fmla="*/ 411366 w 616991"/>
                  <a:gd name="connsiteY4" fmla="*/ 411326 h 822674"/>
                  <a:gd name="connsiteX5" fmla="*/ 205717 w 616991"/>
                  <a:gd name="connsiteY5" fmla="*/ 411326 h 822674"/>
                  <a:gd name="connsiteX6" fmla="*/ 205717 w 616991"/>
                  <a:gd name="connsiteY6" fmla="*/ 617043 h 822674"/>
                  <a:gd name="connsiteX7" fmla="*/ 0 w 616991"/>
                  <a:gd name="connsiteY7" fmla="*/ 617043 h 822674"/>
                  <a:gd name="connsiteX8" fmla="*/ 0 w 616991"/>
                  <a:gd name="connsiteY8" fmla="*/ 205740 h 822674"/>
                  <a:gd name="connsiteX9" fmla="*/ 411366 w 616991"/>
                  <a:gd name="connsiteY9" fmla="*/ 205740 h 822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991" h="822674">
                    <a:moveTo>
                      <a:pt x="411366" y="0"/>
                    </a:moveTo>
                    <a:lnTo>
                      <a:pt x="616992" y="0"/>
                    </a:lnTo>
                    <a:lnTo>
                      <a:pt x="616992" y="822674"/>
                    </a:lnTo>
                    <a:lnTo>
                      <a:pt x="411366" y="822674"/>
                    </a:lnTo>
                    <a:lnTo>
                      <a:pt x="411366" y="411326"/>
                    </a:lnTo>
                    <a:lnTo>
                      <a:pt x="205717" y="411326"/>
                    </a:lnTo>
                    <a:lnTo>
                      <a:pt x="205717" y="617043"/>
                    </a:lnTo>
                    <a:lnTo>
                      <a:pt x="0" y="617043"/>
                    </a:lnTo>
                    <a:lnTo>
                      <a:pt x="0" y="205740"/>
                    </a:lnTo>
                    <a:lnTo>
                      <a:pt x="411366" y="205740"/>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22" name="Freeform 21">
                <a:extLst>
                  <a:ext uri="{FF2B5EF4-FFF2-40B4-BE49-F238E27FC236}">
                    <a16:creationId xmlns:a16="http://schemas.microsoft.com/office/drawing/2014/main" id="{28DFDC61-DB24-631B-9F0C-D6D60E2C3649}"/>
                  </a:ext>
                </a:extLst>
              </p:cNvPr>
              <p:cNvSpPr/>
              <p:nvPr/>
            </p:nvSpPr>
            <p:spPr>
              <a:xfrm>
                <a:off x="1475543" y="1862868"/>
                <a:ext cx="108294" cy="108292"/>
              </a:xfrm>
              <a:custGeom>
                <a:avLst/>
                <a:gdLst>
                  <a:gd name="connsiteX0" fmla="*/ 411349 w 1234011"/>
                  <a:gd name="connsiteY0" fmla="*/ 0 h 1233988"/>
                  <a:gd name="connsiteX1" fmla="*/ 616997 w 1234011"/>
                  <a:gd name="connsiteY1" fmla="*/ 0 h 1233988"/>
                  <a:gd name="connsiteX2" fmla="*/ 616997 w 1234011"/>
                  <a:gd name="connsiteY2" fmla="*/ 205717 h 1233988"/>
                  <a:gd name="connsiteX3" fmla="*/ 822646 w 1234011"/>
                  <a:gd name="connsiteY3" fmla="*/ 205717 h 1233988"/>
                  <a:gd name="connsiteX4" fmla="*/ 822646 w 1234011"/>
                  <a:gd name="connsiteY4" fmla="*/ 411343 h 1233988"/>
                  <a:gd name="connsiteX5" fmla="*/ 616997 w 1234011"/>
                  <a:gd name="connsiteY5" fmla="*/ 411343 h 1233988"/>
                  <a:gd name="connsiteX6" fmla="*/ 616997 w 1234011"/>
                  <a:gd name="connsiteY6" fmla="*/ 822646 h 1233988"/>
                  <a:gd name="connsiteX7" fmla="*/ 822646 w 1234011"/>
                  <a:gd name="connsiteY7" fmla="*/ 822646 h 1233988"/>
                  <a:gd name="connsiteX8" fmla="*/ 822646 w 1234011"/>
                  <a:gd name="connsiteY8" fmla="*/ 616997 h 1233988"/>
                  <a:gd name="connsiteX9" fmla="*/ 1028363 w 1234011"/>
                  <a:gd name="connsiteY9" fmla="*/ 616997 h 1233988"/>
                  <a:gd name="connsiteX10" fmla="*/ 1028363 w 1234011"/>
                  <a:gd name="connsiteY10" fmla="*/ 411349 h 1233988"/>
                  <a:gd name="connsiteX11" fmla="*/ 1234011 w 1234011"/>
                  <a:gd name="connsiteY11" fmla="*/ 411349 h 1233988"/>
                  <a:gd name="connsiteX12" fmla="*/ 1234011 w 1234011"/>
                  <a:gd name="connsiteY12" fmla="*/ 1028340 h 1233988"/>
                  <a:gd name="connsiteX13" fmla="*/ 822646 w 1234011"/>
                  <a:gd name="connsiteY13" fmla="*/ 1028340 h 1233988"/>
                  <a:gd name="connsiteX14" fmla="*/ 822646 w 1234011"/>
                  <a:gd name="connsiteY14" fmla="*/ 1233989 h 1233988"/>
                  <a:gd name="connsiteX15" fmla="*/ 616997 w 1234011"/>
                  <a:gd name="connsiteY15" fmla="*/ 1233989 h 1233988"/>
                  <a:gd name="connsiteX16" fmla="*/ 616997 w 1234011"/>
                  <a:gd name="connsiteY16" fmla="*/ 1028340 h 1233988"/>
                  <a:gd name="connsiteX17" fmla="*/ 411349 w 1234011"/>
                  <a:gd name="connsiteY17" fmla="*/ 1028340 h 1233988"/>
                  <a:gd name="connsiteX18" fmla="*/ 411349 w 1234011"/>
                  <a:gd name="connsiteY18" fmla="*/ 616974 h 1233988"/>
                  <a:gd name="connsiteX19" fmla="*/ 0 w 1234011"/>
                  <a:gd name="connsiteY19" fmla="*/ 616974 h 1233988"/>
                  <a:gd name="connsiteX20" fmla="*/ 0 w 1234011"/>
                  <a:gd name="connsiteY20" fmla="*/ 411326 h 1233988"/>
                  <a:gd name="connsiteX21" fmla="*/ 411349 w 1234011"/>
                  <a:gd name="connsiteY21" fmla="*/ 411326 h 123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34011" h="1233988">
                    <a:moveTo>
                      <a:pt x="411349" y="0"/>
                    </a:moveTo>
                    <a:lnTo>
                      <a:pt x="616997" y="0"/>
                    </a:lnTo>
                    <a:lnTo>
                      <a:pt x="616997" y="205717"/>
                    </a:lnTo>
                    <a:lnTo>
                      <a:pt x="822646" y="205717"/>
                    </a:lnTo>
                    <a:lnTo>
                      <a:pt x="822646" y="411343"/>
                    </a:lnTo>
                    <a:lnTo>
                      <a:pt x="616997" y="411343"/>
                    </a:lnTo>
                    <a:lnTo>
                      <a:pt x="616997" y="822646"/>
                    </a:lnTo>
                    <a:lnTo>
                      <a:pt x="822646" y="822646"/>
                    </a:lnTo>
                    <a:lnTo>
                      <a:pt x="822646" y="616997"/>
                    </a:lnTo>
                    <a:lnTo>
                      <a:pt x="1028363" y="616997"/>
                    </a:lnTo>
                    <a:lnTo>
                      <a:pt x="1028363" y="411349"/>
                    </a:lnTo>
                    <a:lnTo>
                      <a:pt x="1234011" y="411349"/>
                    </a:lnTo>
                    <a:lnTo>
                      <a:pt x="1234011" y="1028340"/>
                    </a:lnTo>
                    <a:lnTo>
                      <a:pt x="822646" y="1028340"/>
                    </a:lnTo>
                    <a:lnTo>
                      <a:pt x="822646" y="1233989"/>
                    </a:lnTo>
                    <a:lnTo>
                      <a:pt x="616997" y="1233989"/>
                    </a:lnTo>
                    <a:lnTo>
                      <a:pt x="616997" y="1028340"/>
                    </a:lnTo>
                    <a:lnTo>
                      <a:pt x="411349" y="1028340"/>
                    </a:lnTo>
                    <a:lnTo>
                      <a:pt x="411349" y="616974"/>
                    </a:lnTo>
                    <a:lnTo>
                      <a:pt x="0" y="616974"/>
                    </a:lnTo>
                    <a:lnTo>
                      <a:pt x="0" y="411326"/>
                    </a:lnTo>
                    <a:lnTo>
                      <a:pt x="411349" y="411326"/>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23" name="Freeform 22">
                <a:extLst>
                  <a:ext uri="{FF2B5EF4-FFF2-40B4-BE49-F238E27FC236}">
                    <a16:creationId xmlns:a16="http://schemas.microsoft.com/office/drawing/2014/main" id="{6472F401-17A7-FBC0-D6C6-B92001C54D97}"/>
                  </a:ext>
                </a:extLst>
              </p:cNvPr>
              <p:cNvSpPr/>
              <p:nvPr/>
            </p:nvSpPr>
            <p:spPr>
              <a:xfrm>
                <a:off x="1403345" y="1898969"/>
                <a:ext cx="36095" cy="18053"/>
              </a:xfrm>
              <a:custGeom>
                <a:avLst/>
                <a:gdLst>
                  <a:gd name="connsiteX0" fmla="*/ 0 w 411302"/>
                  <a:gd name="connsiteY0" fmla="*/ 0 h 205717"/>
                  <a:gd name="connsiteX1" fmla="*/ 411303 w 411302"/>
                  <a:gd name="connsiteY1" fmla="*/ 0 h 205717"/>
                  <a:gd name="connsiteX2" fmla="*/ 411303 w 411302"/>
                  <a:gd name="connsiteY2" fmla="*/ 205717 h 205717"/>
                  <a:gd name="connsiteX3" fmla="*/ 0 w 411302"/>
                  <a:gd name="connsiteY3" fmla="*/ 205717 h 205717"/>
                </a:gdLst>
                <a:ahLst/>
                <a:cxnLst>
                  <a:cxn ang="0">
                    <a:pos x="connsiteX0" y="connsiteY0"/>
                  </a:cxn>
                  <a:cxn ang="0">
                    <a:pos x="connsiteX1" y="connsiteY1"/>
                  </a:cxn>
                  <a:cxn ang="0">
                    <a:pos x="connsiteX2" y="connsiteY2"/>
                  </a:cxn>
                  <a:cxn ang="0">
                    <a:pos x="connsiteX3" y="connsiteY3"/>
                  </a:cxn>
                </a:cxnLst>
                <a:rect l="l" t="t" r="r" b="b"/>
                <a:pathLst>
                  <a:path w="411302" h="205717">
                    <a:moveTo>
                      <a:pt x="0" y="0"/>
                    </a:moveTo>
                    <a:lnTo>
                      <a:pt x="411303" y="0"/>
                    </a:lnTo>
                    <a:lnTo>
                      <a:pt x="411303" y="205717"/>
                    </a:lnTo>
                    <a:lnTo>
                      <a:pt x="0" y="205717"/>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24" name="Freeform 23">
                <a:extLst>
                  <a:ext uri="{FF2B5EF4-FFF2-40B4-BE49-F238E27FC236}">
                    <a16:creationId xmlns:a16="http://schemas.microsoft.com/office/drawing/2014/main" id="{832534EC-5491-3DC8-33DD-97E4085AFFE1}"/>
                  </a:ext>
                </a:extLst>
              </p:cNvPr>
              <p:cNvSpPr/>
              <p:nvPr/>
            </p:nvSpPr>
            <p:spPr>
              <a:xfrm>
                <a:off x="1601877" y="1898969"/>
                <a:ext cx="36100" cy="36094"/>
              </a:xfrm>
              <a:custGeom>
                <a:avLst/>
                <a:gdLst>
                  <a:gd name="connsiteX0" fmla="*/ 0 w 411365"/>
                  <a:gd name="connsiteY0" fmla="*/ 0 h 411297"/>
                  <a:gd name="connsiteX1" fmla="*/ 411366 w 411365"/>
                  <a:gd name="connsiteY1" fmla="*/ 0 h 411297"/>
                  <a:gd name="connsiteX2" fmla="*/ 411366 w 411365"/>
                  <a:gd name="connsiteY2" fmla="*/ 205648 h 411297"/>
                  <a:gd name="connsiteX3" fmla="*/ 205717 w 411365"/>
                  <a:gd name="connsiteY3" fmla="*/ 205648 h 411297"/>
                  <a:gd name="connsiteX4" fmla="*/ 205717 w 411365"/>
                  <a:gd name="connsiteY4" fmla="*/ 411297 h 411297"/>
                  <a:gd name="connsiteX5" fmla="*/ 0 w 411365"/>
                  <a:gd name="connsiteY5" fmla="*/ 411297 h 411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1365" h="411297">
                    <a:moveTo>
                      <a:pt x="0" y="0"/>
                    </a:moveTo>
                    <a:lnTo>
                      <a:pt x="411366" y="0"/>
                    </a:lnTo>
                    <a:lnTo>
                      <a:pt x="411366" y="205648"/>
                    </a:lnTo>
                    <a:lnTo>
                      <a:pt x="205717" y="205648"/>
                    </a:lnTo>
                    <a:lnTo>
                      <a:pt x="205717" y="411297"/>
                    </a:lnTo>
                    <a:lnTo>
                      <a:pt x="0" y="411297"/>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25" name="Freeform 24">
                <a:extLst>
                  <a:ext uri="{FF2B5EF4-FFF2-40B4-BE49-F238E27FC236}">
                    <a16:creationId xmlns:a16="http://schemas.microsoft.com/office/drawing/2014/main" id="{86677C19-FDE3-674F-9BCE-014C4B553B8B}"/>
                  </a:ext>
                </a:extLst>
              </p:cNvPr>
              <p:cNvSpPr/>
              <p:nvPr/>
            </p:nvSpPr>
            <p:spPr>
              <a:xfrm>
                <a:off x="1656023" y="1898969"/>
                <a:ext cx="18053" cy="18053"/>
              </a:xfrm>
              <a:custGeom>
                <a:avLst/>
                <a:gdLst>
                  <a:gd name="connsiteX0" fmla="*/ 0 w 205717"/>
                  <a:gd name="connsiteY0" fmla="*/ 0 h 205717"/>
                  <a:gd name="connsiteX1" fmla="*/ 205717 w 205717"/>
                  <a:gd name="connsiteY1" fmla="*/ 0 h 205717"/>
                  <a:gd name="connsiteX2" fmla="*/ 205717 w 205717"/>
                  <a:gd name="connsiteY2" fmla="*/ 205717 h 205717"/>
                  <a:gd name="connsiteX3" fmla="*/ 0 w 205717"/>
                  <a:gd name="connsiteY3" fmla="*/ 205717 h 205717"/>
                </a:gdLst>
                <a:ahLst/>
                <a:cxnLst>
                  <a:cxn ang="0">
                    <a:pos x="connsiteX0" y="connsiteY0"/>
                  </a:cxn>
                  <a:cxn ang="0">
                    <a:pos x="connsiteX1" y="connsiteY1"/>
                  </a:cxn>
                  <a:cxn ang="0">
                    <a:pos x="connsiteX2" y="connsiteY2"/>
                  </a:cxn>
                  <a:cxn ang="0">
                    <a:pos x="connsiteX3" y="connsiteY3"/>
                  </a:cxn>
                </a:cxnLst>
                <a:rect l="l" t="t" r="r" b="b"/>
                <a:pathLst>
                  <a:path w="205717" h="205717">
                    <a:moveTo>
                      <a:pt x="0" y="0"/>
                    </a:moveTo>
                    <a:lnTo>
                      <a:pt x="205717" y="0"/>
                    </a:lnTo>
                    <a:lnTo>
                      <a:pt x="205717" y="205717"/>
                    </a:lnTo>
                    <a:lnTo>
                      <a:pt x="0" y="205717"/>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26" name="Freeform 25">
                <a:extLst>
                  <a:ext uri="{FF2B5EF4-FFF2-40B4-BE49-F238E27FC236}">
                    <a16:creationId xmlns:a16="http://schemas.microsoft.com/office/drawing/2014/main" id="{B06A369F-4DB3-7550-C721-A802ABEF3D33}"/>
                  </a:ext>
                </a:extLst>
              </p:cNvPr>
              <p:cNvSpPr/>
              <p:nvPr/>
            </p:nvSpPr>
            <p:spPr>
              <a:xfrm>
                <a:off x="1367250" y="1917014"/>
                <a:ext cx="54146" cy="54148"/>
              </a:xfrm>
              <a:custGeom>
                <a:avLst/>
                <a:gdLst>
                  <a:gd name="connsiteX0" fmla="*/ 0 w 616997"/>
                  <a:gd name="connsiteY0" fmla="*/ 0 h 617014"/>
                  <a:gd name="connsiteX1" fmla="*/ 411303 w 616997"/>
                  <a:gd name="connsiteY1" fmla="*/ 0 h 617014"/>
                  <a:gd name="connsiteX2" fmla="*/ 411303 w 616997"/>
                  <a:gd name="connsiteY2" fmla="*/ 205649 h 617014"/>
                  <a:gd name="connsiteX3" fmla="*/ 616997 w 616997"/>
                  <a:gd name="connsiteY3" fmla="*/ 205649 h 617014"/>
                  <a:gd name="connsiteX4" fmla="*/ 616997 w 616997"/>
                  <a:gd name="connsiteY4" fmla="*/ 411366 h 617014"/>
                  <a:gd name="connsiteX5" fmla="*/ 411303 w 616997"/>
                  <a:gd name="connsiteY5" fmla="*/ 411366 h 617014"/>
                  <a:gd name="connsiteX6" fmla="*/ 411303 w 616997"/>
                  <a:gd name="connsiteY6" fmla="*/ 617014 h 617014"/>
                  <a:gd name="connsiteX7" fmla="*/ 205654 w 616997"/>
                  <a:gd name="connsiteY7" fmla="*/ 617014 h 617014"/>
                  <a:gd name="connsiteX8" fmla="*/ 205654 w 616997"/>
                  <a:gd name="connsiteY8" fmla="*/ 205649 h 617014"/>
                  <a:gd name="connsiteX9" fmla="*/ 6 w 616997"/>
                  <a:gd name="connsiteY9" fmla="*/ 205649 h 61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997" h="617014">
                    <a:moveTo>
                      <a:pt x="0" y="0"/>
                    </a:moveTo>
                    <a:lnTo>
                      <a:pt x="411303" y="0"/>
                    </a:lnTo>
                    <a:lnTo>
                      <a:pt x="411303" y="205649"/>
                    </a:lnTo>
                    <a:lnTo>
                      <a:pt x="616997" y="205649"/>
                    </a:lnTo>
                    <a:lnTo>
                      <a:pt x="616997" y="411366"/>
                    </a:lnTo>
                    <a:lnTo>
                      <a:pt x="411303" y="411366"/>
                    </a:lnTo>
                    <a:lnTo>
                      <a:pt x="411303" y="617014"/>
                    </a:lnTo>
                    <a:lnTo>
                      <a:pt x="205654" y="617014"/>
                    </a:lnTo>
                    <a:lnTo>
                      <a:pt x="205654" y="205649"/>
                    </a:lnTo>
                    <a:lnTo>
                      <a:pt x="6" y="205649"/>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27" name="Freeform 26">
                <a:extLst>
                  <a:ext uri="{FF2B5EF4-FFF2-40B4-BE49-F238E27FC236}">
                    <a16:creationId xmlns:a16="http://schemas.microsoft.com/office/drawing/2014/main" id="{2C40063E-0747-57C0-967C-2F803516826F}"/>
                  </a:ext>
                </a:extLst>
              </p:cNvPr>
              <p:cNvSpPr/>
              <p:nvPr/>
            </p:nvSpPr>
            <p:spPr>
              <a:xfrm>
                <a:off x="1439446" y="1917014"/>
                <a:ext cx="36095" cy="54148"/>
              </a:xfrm>
              <a:custGeom>
                <a:avLst/>
                <a:gdLst>
                  <a:gd name="connsiteX0" fmla="*/ 0 w 411302"/>
                  <a:gd name="connsiteY0" fmla="*/ 0 h 617014"/>
                  <a:gd name="connsiteX1" fmla="*/ 411303 w 411302"/>
                  <a:gd name="connsiteY1" fmla="*/ 0 h 617014"/>
                  <a:gd name="connsiteX2" fmla="*/ 411303 w 411302"/>
                  <a:gd name="connsiteY2" fmla="*/ 205649 h 617014"/>
                  <a:gd name="connsiteX3" fmla="*/ 205654 w 411302"/>
                  <a:gd name="connsiteY3" fmla="*/ 205649 h 617014"/>
                  <a:gd name="connsiteX4" fmla="*/ 205654 w 411302"/>
                  <a:gd name="connsiteY4" fmla="*/ 411366 h 617014"/>
                  <a:gd name="connsiteX5" fmla="*/ 411303 w 411302"/>
                  <a:gd name="connsiteY5" fmla="*/ 411366 h 617014"/>
                  <a:gd name="connsiteX6" fmla="*/ 411303 w 411302"/>
                  <a:gd name="connsiteY6" fmla="*/ 617014 h 617014"/>
                  <a:gd name="connsiteX7" fmla="*/ 0 w 411302"/>
                  <a:gd name="connsiteY7" fmla="*/ 617014 h 61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302" h="617014">
                    <a:moveTo>
                      <a:pt x="0" y="0"/>
                    </a:moveTo>
                    <a:lnTo>
                      <a:pt x="411303" y="0"/>
                    </a:lnTo>
                    <a:lnTo>
                      <a:pt x="411303" y="205649"/>
                    </a:lnTo>
                    <a:lnTo>
                      <a:pt x="205654" y="205649"/>
                    </a:lnTo>
                    <a:lnTo>
                      <a:pt x="205654" y="411366"/>
                    </a:lnTo>
                    <a:lnTo>
                      <a:pt x="411303" y="411366"/>
                    </a:lnTo>
                    <a:lnTo>
                      <a:pt x="411303" y="617014"/>
                    </a:lnTo>
                    <a:lnTo>
                      <a:pt x="0" y="617014"/>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28" name="Freeform 27">
                <a:extLst>
                  <a:ext uri="{FF2B5EF4-FFF2-40B4-BE49-F238E27FC236}">
                    <a16:creationId xmlns:a16="http://schemas.microsoft.com/office/drawing/2014/main" id="{927F4D67-E61A-7B18-8DCB-CD3F6BD63CC7}"/>
                  </a:ext>
                </a:extLst>
              </p:cNvPr>
              <p:cNvSpPr/>
              <p:nvPr/>
            </p:nvSpPr>
            <p:spPr>
              <a:xfrm>
                <a:off x="1637978" y="1917014"/>
                <a:ext cx="72193" cy="72193"/>
              </a:xfrm>
              <a:custGeom>
                <a:avLst/>
                <a:gdLst>
                  <a:gd name="connsiteX0" fmla="*/ 411303 w 822645"/>
                  <a:gd name="connsiteY0" fmla="*/ 0 h 822639"/>
                  <a:gd name="connsiteX1" fmla="*/ 616997 w 822645"/>
                  <a:gd name="connsiteY1" fmla="*/ 0 h 822639"/>
                  <a:gd name="connsiteX2" fmla="*/ 616997 w 822645"/>
                  <a:gd name="connsiteY2" fmla="*/ 205649 h 822639"/>
                  <a:gd name="connsiteX3" fmla="*/ 822646 w 822645"/>
                  <a:gd name="connsiteY3" fmla="*/ 205649 h 822639"/>
                  <a:gd name="connsiteX4" fmla="*/ 822646 w 822645"/>
                  <a:gd name="connsiteY4" fmla="*/ 822640 h 822639"/>
                  <a:gd name="connsiteX5" fmla="*/ 616997 w 822645"/>
                  <a:gd name="connsiteY5" fmla="*/ 822640 h 822639"/>
                  <a:gd name="connsiteX6" fmla="*/ 616997 w 822645"/>
                  <a:gd name="connsiteY6" fmla="*/ 617014 h 822639"/>
                  <a:gd name="connsiteX7" fmla="*/ 205586 w 822645"/>
                  <a:gd name="connsiteY7" fmla="*/ 617014 h 822639"/>
                  <a:gd name="connsiteX8" fmla="*/ 205586 w 822645"/>
                  <a:gd name="connsiteY8" fmla="*/ 822640 h 822639"/>
                  <a:gd name="connsiteX9" fmla="*/ 0 w 822645"/>
                  <a:gd name="connsiteY9" fmla="*/ 822640 h 822639"/>
                  <a:gd name="connsiteX10" fmla="*/ 0 w 822645"/>
                  <a:gd name="connsiteY10" fmla="*/ 411360 h 822639"/>
                  <a:gd name="connsiteX11" fmla="*/ 411303 w 822645"/>
                  <a:gd name="connsiteY11" fmla="*/ 411360 h 822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2645" h="822639">
                    <a:moveTo>
                      <a:pt x="411303" y="0"/>
                    </a:moveTo>
                    <a:lnTo>
                      <a:pt x="616997" y="0"/>
                    </a:lnTo>
                    <a:lnTo>
                      <a:pt x="616997" y="205649"/>
                    </a:lnTo>
                    <a:lnTo>
                      <a:pt x="822646" y="205649"/>
                    </a:lnTo>
                    <a:lnTo>
                      <a:pt x="822646" y="822640"/>
                    </a:lnTo>
                    <a:lnTo>
                      <a:pt x="616997" y="822640"/>
                    </a:lnTo>
                    <a:lnTo>
                      <a:pt x="616997" y="617014"/>
                    </a:lnTo>
                    <a:lnTo>
                      <a:pt x="205586" y="617014"/>
                    </a:lnTo>
                    <a:lnTo>
                      <a:pt x="205586" y="822640"/>
                    </a:lnTo>
                    <a:lnTo>
                      <a:pt x="0" y="822640"/>
                    </a:lnTo>
                    <a:lnTo>
                      <a:pt x="0" y="411360"/>
                    </a:lnTo>
                    <a:lnTo>
                      <a:pt x="411303" y="411360"/>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29" name="Freeform 28">
                <a:extLst>
                  <a:ext uri="{FF2B5EF4-FFF2-40B4-BE49-F238E27FC236}">
                    <a16:creationId xmlns:a16="http://schemas.microsoft.com/office/drawing/2014/main" id="{A446E6C4-EC36-F936-490E-EBD8C6A06EDC}"/>
                  </a:ext>
                </a:extLst>
              </p:cNvPr>
              <p:cNvSpPr/>
              <p:nvPr/>
            </p:nvSpPr>
            <p:spPr>
              <a:xfrm>
                <a:off x="1475541" y="1935059"/>
                <a:ext cx="18047" cy="18053"/>
              </a:xfrm>
              <a:custGeom>
                <a:avLst/>
                <a:gdLst>
                  <a:gd name="connsiteX0" fmla="*/ 0 w 205648"/>
                  <a:gd name="connsiteY0" fmla="*/ 0 h 205716"/>
                  <a:gd name="connsiteX1" fmla="*/ 205649 w 205648"/>
                  <a:gd name="connsiteY1" fmla="*/ 0 h 205716"/>
                  <a:gd name="connsiteX2" fmla="*/ 205649 w 205648"/>
                  <a:gd name="connsiteY2" fmla="*/ 205717 h 205716"/>
                  <a:gd name="connsiteX3" fmla="*/ 0 w 205648"/>
                  <a:gd name="connsiteY3" fmla="*/ 205717 h 205716"/>
                </a:gdLst>
                <a:ahLst/>
                <a:cxnLst>
                  <a:cxn ang="0">
                    <a:pos x="connsiteX0" y="connsiteY0"/>
                  </a:cxn>
                  <a:cxn ang="0">
                    <a:pos x="connsiteX1" y="connsiteY1"/>
                  </a:cxn>
                  <a:cxn ang="0">
                    <a:pos x="connsiteX2" y="connsiteY2"/>
                  </a:cxn>
                  <a:cxn ang="0">
                    <a:pos x="connsiteX3" y="connsiteY3"/>
                  </a:cxn>
                </a:cxnLst>
                <a:rect l="l" t="t" r="r" b="b"/>
                <a:pathLst>
                  <a:path w="205648" h="205716">
                    <a:moveTo>
                      <a:pt x="0" y="0"/>
                    </a:moveTo>
                    <a:lnTo>
                      <a:pt x="205649" y="0"/>
                    </a:lnTo>
                    <a:lnTo>
                      <a:pt x="205649" y="205717"/>
                    </a:lnTo>
                    <a:lnTo>
                      <a:pt x="0" y="205717"/>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30" name="Freeform 29">
                <a:extLst>
                  <a:ext uri="{FF2B5EF4-FFF2-40B4-BE49-F238E27FC236}">
                    <a16:creationId xmlns:a16="http://schemas.microsoft.com/office/drawing/2014/main" id="{B306A624-345D-1B2C-08AF-2CDF3A9DDE90}"/>
                  </a:ext>
                </a:extLst>
              </p:cNvPr>
              <p:cNvSpPr/>
              <p:nvPr/>
            </p:nvSpPr>
            <p:spPr>
              <a:xfrm>
                <a:off x="1728214" y="1935059"/>
                <a:ext cx="18053" cy="18053"/>
              </a:xfrm>
              <a:custGeom>
                <a:avLst/>
                <a:gdLst>
                  <a:gd name="connsiteX0" fmla="*/ 0 w 205717"/>
                  <a:gd name="connsiteY0" fmla="*/ 0 h 205716"/>
                  <a:gd name="connsiteX1" fmla="*/ 205717 w 205717"/>
                  <a:gd name="connsiteY1" fmla="*/ 0 h 205716"/>
                  <a:gd name="connsiteX2" fmla="*/ 205717 w 205717"/>
                  <a:gd name="connsiteY2" fmla="*/ 205717 h 205716"/>
                  <a:gd name="connsiteX3" fmla="*/ 0 w 205717"/>
                  <a:gd name="connsiteY3" fmla="*/ 205717 h 205716"/>
                </a:gdLst>
                <a:ahLst/>
                <a:cxnLst>
                  <a:cxn ang="0">
                    <a:pos x="connsiteX0" y="connsiteY0"/>
                  </a:cxn>
                  <a:cxn ang="0">
                    <a:pos x="connsiteX1" y="connsiteY1"/>
                  </a:cxn>
                  <a:cxn ang="0">
                    <a:pos x="connsiteX2" y="connsiteY2"/>
                  </a:cxn>
                  <a:cxn ang="0">
                    <a:pos x="connsiteX3" y="connsiteY3"/>
                  </a:cxn>
                </a:cxnLst>
                <a:rect l="l" t="t" r="r" b="b"/>
                <a:pathLst>
                  <a:path w="205717" h="205716">
                    <a:moveTo>
                      <a:pt x="0" y="0"/>
                    </a:moveTo>
                    <a:lnTo>
                      <a:pt x="205717" y="0"/>
                    </a:lnTo>
                    <a:lnTo>
                      <a:pt x="205717" y="205717"/>
                    </a:lnTo>
                    <a:lnTo>
                      <a:pt x="0" y="205717"/>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31" name="Freeform 30">
                <a:extLst>
                  <a:ext uri="{FF2B5EF4-FFF2-40B4-BE49-F238E27FC236}">
                    <a16:creationId xmlns:a16="http://schemas.microsoft.com/office/drawing/2014/main" id="{9EAAD6A8-40FD-CE16-F461-77DBEFC4CE93}"/>
                  </a:ext>
                </a:extLst>
              </p:cNvPr>
              <p:cNvSpPr/>
              <p:nvPr/>
            </p:nvSpPr>
            <p:spPr>
              <a:xfrm>
                <a:off x="1475538" y="1953114"/>
                <a:ext cx="36099" cy="36093"/>
              </a:xfrm>
              <a:custGeom>
                <a:avLst/>
                <a:gdLst>
                  <a:gd name="connsiteX0" fmla="*/ 205723 w 411348"/>
                  <a:gd name="connsiteY0" fmla="*/ 0 h 411280"/>
                  <a:gd name="connsiteX1" fmla="*/ 411349 w 411348"/>
                  <a:gd name="connsiteY1" fmla="*/ 0 h 411280"/>
                  <a:gd name="connsiteX2" fmla="*/ 411349 w 411348"/>
                  <a:gd name="connsiteY2" fmla="*/ 411280 h 411280"/>
                  <a:gd name="connsiteX3" fmla="*/ 0 w 411348"/>
                  <a:gd name="connsiteY3" fmla="*/ 411280 h 411280"/>
                  <a:gd name="connsiteX4" fmla="*/ 0 w 411348"/>
                  <a:gd name="connsiteY4" fmla="*/ 205654 h 411280"/>
                  <a:gd name="connsiteX5" fmla="*/ 205717 w 411348"/>
                  <a:gd name="connsiteY5" fmla="*/ 205654 h 41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1348" h="411280">
                    <a:moveTo>
                      <a:pt x="205723" y="0"/>
                    </a:moveTo>
                    <a:lnTo>
                      <a:pt x="411349" y="0"/>
                    </a:lnTo>
                    <a:lnTo>
                      <a:pt x="411349" y="411280"/>
                    </a:lnTo>
                    <a:lnTo>
                      <a:pt x="0" y="411280"/>
                    </a:lnTo>
                    <a:lnTo>
                      <a:pt x="0" y="205654"/>
                    </a:lnTo>
                    <a:lnTo>
                      <a:pt x="205717" y="205654"/>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32" name="Freeform 31">
                <a:extLst>
                  <a:ext uri="{FF2B5EF4-FFF2-40B4-BE49-F238E27FC236}">
                    <a16:creationId xmlns:a16="http://schemas.microsoft.com/office/drawing/2014/main" id="{06022939-855A-C8AA-C000-CC903A8CFBB4}"/>
                  </a:ext>
                </a:extLst>
              </p:cNvPr>
              <p:cNvSpPr/>
              <p:nvPr/>
            </p:nvSpPr>
            <p:spPr>
              <a:xfrm>
                <a:off x="1583832" y="1953114"/>
                <a:ext cx="18053" cy="18047"/>
              </a:xfrm>
              <a:custGeom>
                <a:avLst/>
                <a:gdLst>
                  <a:gd name="connsiteX0" fmla="*/ 0 w 205717"/>
                  <a:gd name="connsiteY0" fmla="*/ 0 h 205648"/>
                  <a:gd name="connsiteX1" fmla="*/ 205717 w 205717"/>
                  <a:gd name="connsiteY1" fmla="*/ 0 h 205648"/>
                  <a:gd name="connsiteX2" fmla="*/ 205717 w 205717"/>
                  <a:gd name="connsiteY2" fmla="*/ 205649 h 205648"/>
                  <a:gd name="connsiteX3" fmla="*/ 0 w 205717"/>
                  <a:gd name="connsiteY3" fmla="*/ 205649 h 205648"/>
                </a:gdLst>
                <a:ahLst/>
                <a:cxnLst>
                  <a:cxn ang="0">
                    <a:pos x="connsiteX0" y="connsiteY0"/>
                  </a:cxn>
                  <a:cxn ang="0">
                    <a:pos x="connsiteX1" y="connsiteY1"/>
                  </a:cxn>
                  <a:cxn ang="0">
                    <a:pos x="connsiteX2" y="connsiteY2"/>
                  </a:cxn>
                  <a:cxn ang="0">
                    <a:pos x="connsiteX3" y="connsiteY3"/>
                  </a:cxn>
                </a:cxnLst>
                <a:rect l="l" t="t" r="r" b="b"/>
                <a:pathLst>
                  <a:path w="205717" h="205648">
                    <a:moveTo>
                      <a:pt x="0" y="0"/>
                    </a:moveTo>
                    <a:lnTo>
                      <a:pt x="205717" y="0"/>
                    </a:lnTo>
                    <a:lnTo>
                      <a:pt x="205717" y="205649"/>
                    </a:lnTo>
                    <a:lnTo>
                      <a:pt x="0" y="205649"/>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33" name="Freeform 32">
                <a:extLst>
                  <a:ext uri="{FF2B5EF4-FFF2-40B4-BE49-F238E27FC236}">
                    <a16:creationId xmlns:a16="http://schemas.microsoft.com/office/drawing/2014/main" id="{A4627AB7-1CEF-5A0A-D213-45DA3B668096}"/>
                  </a:ext>
                </a:extLst>
              </p:cNvPr>
              <p:cNvSpPr/>
              <p:nvPr/>
            </p:nvSpPr>
            <p:spPr>
              <a:xfrm>
                <a:off x="1367250" y="1971159"/>
                <a:ext cx="18047" cy="18053"/>
              </a:xfrm>
              <a:custGeom>
                <a:avLst/>
                <a:gdLst>
                  <a:gd name="connsiteX0" fmla="*/ 0 w 205648"/>
                  <a:gd name="connsiteY0" fmla="*/ 0 h 205717"/>
                  <a:gd name="connsiteX1" fmla="*/ 205649 w 205648"/>
                  <a:gd name="connsiteY1" fmla="*/ 0 h 205717"/>
                  <a:gd name="connsiteX2" fmla="*/ 205649 w 205648"/>
                  <a:gd name="connsiteY2" fmla="*/ 205717 h 205717"/>
                  <a:gd name="connsiteX3" fmla="*/ 0 w 205648"/>
                  <a:gd name="connsiteY3" fmla="*/ 205717 h 205717"/>
                </a:gdLst>
                <a:ahLst/>
                <a:cxnLst>
                  <a:cxn ang="0">
                    <a:pos x="connsiteX0" y="connsiteY0"/>
                  </a:cxn>
                  <a:cxn ang="0">
                    <a:pos x="connsiteX1" y="connsiteY1"/>
                  </a:cxn>
                  <a:cxn ang="0">
                    <a:pos x="connsiteX2" y="connsiteY2"/>
                  </a:cxn>
                  <a:cxn ang="0">
                    <a:pos x="connsiteX3" y="connsiteY3"/>
                  </a:cxn>
                </a:cxnLst>
                <a:rect l="l" t="t" r="r" b="b"/>
                <a:pathLst>
                  <a:path w="205648" h="205717">
                    <a:moveTo>
                      <a:pt x="0" y="0"/>
                    </a:moveTo>
                    <a:lnTo>
                      <a:pt x="205649" y="0"/>
                    </a:lnTo>
                    <a:lnTo>
                      <a:pt x="205649" y="205717"/>
                    </a:lnTo>
                    <a:lnTo>
                      <a:pt x="0" y="205717"/>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34" name="Freeform 33">
                <a:extLst>
                  <a:ext uri="{FF2B5EF4-FFF2-40B4-BE49-F238E27FC236}">
                    <a16:creationId xmlns:a16="http://schemas.microsoft.com/office/drawing/2014/main" id="{FFBF5782-6E20-F392-C847-D5AC6B95B283}"/>
                  </a:ext>
                </a:extLst>
              </p:cNvPr>
              <p:cNvSpPr/>
              <p:nvPr/>
            </p:nvSpPr>
            <p:spPr>
              <a:xfrm>
                <a:off x="1403345" y="1971159"/>
                <a:ext cx="18047" cy="18053"/>
              </a:xfrm>
              <a:custGeom>
                <a:avLst/>
                <a:gdLst>
                  <a:gd name="connsiteX0" fmla="*/ 0 w 205648"/>
                  <a:gd name="connsiteY0" fmla="*/ 0 h 205717"/>
                  <a:gd name="connsiteX1" fmla="*/ 205649 w 205648"/>
                  <a:gd name="connsiteY1" fmla="*/ 0 h 205717"/>
                  <a:gd name="connsiteX2" fmla="*/ 205649 w 205648"/>
                  <a:gd name="connsiteY2" fmla="*/ 205717 h 205717"/>
                  <a:gd name="connsiteX3" fmla="*/ 0 w 205648"/>
                  <a:gd name="connsiteY3" fmla="*/ 205717 h 205717"/>
                </a:gdLst>
                <a:ahLst/>
                <a:cxnLst>
                  <a:cxn ang="0">
                    <a:pos x="connsiteX0" y="connsiteY0"/>
                  </a:cxn>
                  <a:cxn ang="0">
                    <a:pos x="connsiteX1" y="connsiteY1"/>
                  </a:cxn>
                  <a:cxn ang="0">
                    <a:pos x="connsiteX2" y="connsiteY2"/>
                  </a:cxn>
                  <a:cxn ang="0">
                    <a:pos x="connsiteX3" y="connsiteY3"/>
                  </a:cxn>
                </a:cxnLst>
                <a:rect l="l" t="t" r="r" b="b"/>
                <a:pathLst>
                  <a:path w="205648" h="205717">
                    <a:moveTo>
                      <a:pt x="0" y="0"/>
                    </a:moveTo>
                    <a:lnTo>
                      <a:pt x="205649" y="0"/>
                    </a:lnTo>
                    <a:lnTo>
                      <a:pt x="205649" y="205717"/>
                    </a:lnTo>
                    <a:lnTo>
                      <a:pt x="0" y="205717"/>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35" name="Freeform 34">
                <a:extLst>
                  <a:ext uri="{FF2B5EF4-FFF2-40B4-BE49-F238E27FC236}">
                    <a16:creationId xmlns:a16="http://schemas.microsoft.com/office/drawing/2014/main" id="{041F2235-79DE-F1AB-0492-FBE8A9D9A5F6}"/>
                  </a:ext>
                </a:extLst>
              </p:cNvPr>
              <p:cNvSpPr/>
              <p:nvPr/>
            </p:nvSpPr>
            <p:spPr>
              <a:xfrm>
                <a:off x="1511637" y="1971159"/>
                <a:ext cx="72195" cy="90240"/>
              </a:xfrm>
              <a:custGeom>
                <a:avLst/>
                <a:gdLst>
                  <a:gd name="connsiteX0" fmla="*/ 411297 w 822662"/>
                  <a:gd name="connsiteY0" fmla="*/ 0 h 1028294"/>
                  <a:gd name="connsiteX1" fmla="*/ 822663 w 822662"/>
                  <a:gd name="connsiteY1" fmla="*/ 0 h 1028294"/>
                  <a:gd name="connsiteX2" fmla="*/ 822663 w 822662"/>
                  <a:gd name="connsiteY2" fmla="*/ 205626 h 1028294"/>
                  <a:gd name="connsiteX3" fmla="*/ 617014 w 822662"/>
                  <a:gd name="connsiteY3" fmla="*/ 205626 h 1028294"/>
                  <a:gd name="connsiteX4" fmla="*/ 617014 w 822662"/>
                  <a:gd name="connsiteY4" fmla="*/ 616992 h 1028294"/>
                  <a:gd name="connsiteX5" fmla="*/ 411297 w 822662"/>
                  <a:gd name="connsiteY5" fmla="*/ 616992 h 1028294"/>
                  <a:gd name="connsiteX6" fmla="*/ 411297 w 822662"/>
                  <a:gd name="connsiteY6" fmla="*/ 1028294 h 1028294"/>
                  <a:gd name="connsiteX7" fmla="*/ 205648 w 822662"/>
                  <a:gd name="connsiteY7" fmla="*/ 1028294 h 1028294"/>
                  <a:gd name="connsiteX8" fmla="*/ 205648 w 822662"/>
                  <a:gd name="connsiteY8" fmla="*/ 616992 h 1028294"/>
                  <a:gd name="connsiteX9" fmla="*/ 0 w 822662"/>
                  <a:gd name="connsiteY9" fmla="*/ 616992 h 1028294"/>
                  <a:gd name="connsiteX10" fmla="*/ 0 w 822662"/>
                  <a:gd name="connsiteY10" fmla="*/ 205626 h 1028294"/>
                  <a:gd name="connsiteX11" fmla="*/ 205648 w 822662"/>
                  <a:gd name="connsiteY11" fmla="*/ 205626 h 1028294"/>
                  <a:gd name="connsiteX12" fmla="*/ 205648 w 822662"/>
                  <a:gd name="connsiteY12" fmla="*/ 411274 h 1028294"/>
                  <a:gd name="connsiteX13" fmla="*/ 411297 w 822662"/>
                  <a:gd name="connsiteY13" fmla="*/ 411274 h 1028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22662" h="1028294">
                    <a:moveTo>
                      <a:pt x="411297" y="0"/>
                    </a:moveTo>
                    <a:lnTo>
                      <a:pt x="822663" y="0"/>
                    </a:lnTo>
                    <a:lnTo>
                      <a:pt x="822663" y="205626"/>
                    </a:lnTo>
                    <a:lnTo>
                      <a:pt x="617014" y="205626"/>
                    </a:lnTo>
                    <a:lnTo>
                      <a:pt x="617014" y="616992"/>
                    </a:lnTo>
                    <a:lnTo>
                      <a:pt x="411297" y="616992"/>
                    </a:lnTo>
                    <a:lnTo>
                      <a:pt x="411297" y="1028294"/>
                    </a:lnTo>
                    <a:lnTo>
                      <a:pt x="205648" y="1028294"/>
                    </a:lnTo>
                    <a:lnTo>
                      <a:pt x="205648" y="616992"/>
                    </a:lnTo>
                    <a:lnTo>
                      <a:pt x="0" y="616992"/>
                    </a:lnTo>
                    <a:lnTo>
                      <a:pt x="0" y="205626"/>
                    </a:lnTo>
                    <a:lnTo>
                      <a:pt x="205648" y="205626"/>
                    </a:lnTo>
                    <a:lnTo>
                      <a:pt x="205648" y="411274"/>
                    </a:lnTo>
                    <a:lnTo>
                      <a:pt x="411297" y="411274"/>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36" name="Freeform 35">
                <a:extLst>
                  <a:ext uri="{FF2B5EF4-FFF2-40B4-BE49-F238E27FC236}">
                    <a16:creationId xmlns:a16="http://schemas.microsoft.com/office/drawing/2014/main" id="{3FB3CEEF-56C4-ED52-2B08-C4B546A0B62E}"/>
                  </a:ext>
                </a:extLst>
              </p:cNvPr>
              <p:cNvSpPr/>
              <p:nvPr/>
            </p:nvSpPr>
            <p:spPr>
              <a:xfrm>
                <a:off x="1601877" y="1971159"/>
                <a:ext cx="18053" cy="18053"/>
              </a:xfrm>
              <a:custGeom>
                <a:avLst/>
                <a:gdLst>
                  <a:gd name="connsiteX0" fmla="*/ 0 w 205716"/>
                  <a:gd name="connsiteY0" fmla="*/ 0 h 205717"/>
                  <a:gd name="connsiteX1" fmla="*/ 205717 w 205716"/>
                  <a:gd name="connsiteY1" fmla="*/ 0 h 205717"/>
                  <a:gd name="connsiteX2" fmla="*/ 205717 w 205716"/>
                  <a:gd name="connsiteY2" fmla="*/ 205717 h 205717"/>
                  <a:gd name="connsiteX3" fmla="*/ 0 w 205716"/>
                  <a:gd name="connsiteY3" fmla="*/ 205717 h 205717"/>
                </a:gdLst>
                <a:ahLst/>
                <a:cxnLst>
                  <a:cxn ang="0">
                    <a:pos x="connsiteX0" y="connsiteY0"/>
                  </a:cxn>
                  <a:cxn ang="0">
                    <a:pos x="connsiteX1" y="connsiteY1"/>
                  </a:cxn>
                  <a:cxn ang="0">
                    <a:pos x="connsiteX2" y="connsiteY2"/>
                  </a:cxn>
                  <a:cxn ang="0">
                    <a:pos x="connsiteX3" y="connsiteY3"/>
                  </a:cxn>
                </a:cxnLst>
                <a:rect l="l" t="t" r="r" b="b"/>
                <a:pathLst>
                  <a:path w="205716" h="205717">
                    <a:moveTo>
                      <a:pt x="0" y="0"/>
                    </a:moveTo>
                    <a:lnTo>
                      <a:pt x="205717" y="0"/>
                    </a:lnTo>
                    <a:lnTo>
                      <a:pt x="205717" y="205717"/>
                    </a:lnTo>
                    <a:lnTo>
                      <a:pt x="0" y="205717"/>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37" name="Freeform 36">
                <a:extLst>
                  <a:ext uri="{FF2B5EF4-FFF2-40B4-BE49-F238E27FC236}">
                    <a16:creationId xmlns:a16="http://schemas.microsoft.com/office/drawing/2014/main" id="{361802C6-4552-7F5A-0910-1CCF19AEE92F}"/>
                  </a:ext>
                </a:extLst>
              </p:cNvPr>
              <p:cNvSpPr/>
              <p:nvPr/>
            </p:nvSpPr>
            <p:spPr>
              <a:xfrm>
                <a:off x="1728214" y="1971159"/>
                <a:ext cx="18053" cy="18053"/>
              </a:xfrm>
              <a:custGeom>
                <a:avLst/>
                <a:gdLst>
                  <a:gd name="connsiteX0" fmla="*/ 0 w 205717"/>
                  <a:gd name="connsiteY0" fmla="*/ 0 h 205717"/>
                  <a:gd name="connsiteX1" fmla="*/ 205717 w 205717"/>
                  <a:gd name="connsiteY1" fmla="*/ 0 h 205717"/>
                  <a:gd name="connsiteX2" fmla="*/ 205717 w 205717"/>
                  <a:gd name="connsiteY2" fmla="*/ 205717 h 205717"/>
                  <a:gd name="connsiteX3" fmla="*/ 0 w 205717"/>
                  <a:gd name="connsiteY3" fmla="*/ 205717 h 205717"/>
                </a:gdLst>
                <a:ahLst/>
                <a:cxnLst>
                  <a:cxn ang="0">
                    <a:pos x="connsiteX0" y="connsiteY0"/>
                  </a:cxn>
                  <a:cxn ang="0">
                    <a:pos x="connsiteX1" y="connsiteY1"/>
                  </a:cxn>
                  <a:cxn ang="0">
                    <a:pos x="connsiteX2" y="connsiteY2"/>
                  </a:cxn>
                  <a:cxn ang="0">
                    <a:pos x="connsiteX3" y="connsiteY3"/>
                  </a:cxn>
                </a:cxnLst>
                <a:rect l="l" t="t" r="r" b="b"/>
                <a:pathLst>
                  <a:path w="205717" h="205717">
                    <a:moveTo>
                      <a:pt x="0" y="0"/>
                    </a:moveTo>
                    <a:lnTo>
                      <a:pt x="205717" y="0"/>
                    </a:lnTo>
                    <a:lnTo>
                      <a:pt x="205717" y="205717"/>
                    </a:lnTo>
                    <a:lnTo>
                      <a:pt x="0" y="205717"/>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38" name="Freeform 37">
                <a:extLst>
                  <a:ext uri="{FF2B5EF4-FFF2-40B4-BE49-F238E27FC236}">
                    <a16:creationId xmlns:a16="http://schemas.microsoft.com/office/drawing/2014/main" id="{8418A5BD-1D59-409B-508B-8CEE11B39F2A}"/>
                  </a:ext>
                </a:extLst>
              </p:cNvPr>
              <p:cNvSpPr/>
              <p:nvPr/>
            </p:nvSpPr>
            <p:spPr>
              <a:xfrm>
                <a:off x="1583832" y="1989204"/>
                <a:ext cx="18053" cy="36095"/>
              </a:xfrm>
              <a:custGeom>
                <a:avLst/>
                <a:gdLst>
                  <a:gd name="connsiteX0" fmla="*/ 0 w 205717"/>
                  <a:gd name="connsiteY0" fmla="*/ 0 h 411302"/>
                  <a:gd name="connsiteX1" fmla="*/ 205717 w 205717"/>
                  <a:gd name="connsiteY1" fmla="*/ 0 h 411302"/>
                  <a:gd name="connsiteX2" fmla="*/ 205717 w 205717"/>
                  <a:gd name="connsiteY2" fmla="*/ 411303 h 411302"/>
                  <a:gd name="connsiteX3" fmla="*/ 0 w 205717"/>
                  <a:gd name="connsiteY3" fmla="*/ 411303 h 411302"/>
                </a:gdLst>
                <a:ahLst/>
                <a:cxnLst>
                  <a:cxn ang="0">
                    <a:pos x="connsiteX0" y="connsiteY0"/>
                  </a:cxn>
                  <a:cxn ang="0">
                    <a:pos x="connsiteX1" y="connsiteY1"/>
                  </a:cxn>
                  <a:cxn ang="0">
                    <a:pos x="connsiteX2" y="connsiteY2"/>
                  </a:cxn>
                  <a:cxn ang="0">
                    <a:pos x="connsiteX3" y="connsiteY3"/>
                  </a:cxn>
                </a:cxnLst>
                <a:rect l="l" t="t" r="r" b="b"/>
                <a:pathLst>
                  <a:path w="205717" h="411302">
                    <a:moveTo>
                      <a:pt x="0" y="0"/>
                    </a:moveTo>
                    <a:lnTo>
                      <a:pt x="205717" y="0"/>
                    </a:lnTo>
                    <a:lnTo>
                      <a:pt x="205717" y="411303"/>
                    </a:lnTo>
                    <a:lnTo>
                      <a:pt x="0" y="411303"/>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39" name="Freeform 38">
                <a:extLst>
                  <a:ext uri="{FF2B5EF4-FFF2-40B4-BE49-F238E27FC236}">
                    <a16:creationId xmlns:a16="http://schemas.microsoft.com/office/drawing/2014/main" id="{B3E574D7-448C-9147-189B-D8C19BD1AFF3}"/>
                  </a:ext>
                </a:extLst>
              </p:cNvPr>
              <p:cNvSpPr/>
              <p:nvPr/>
            </p:nvSpPr>
            <p:spPr>
              <a:xfrm>
                <a:off x="1674073" y="1989204"/>
                <a:ext cx="18053" cy="36095"/>
              </a:xfrm>
              <a:custGeom>
                <a:avLst/>
                <a:gdLst>
                  <a:gd name="connsiteX0" fmla="*/ 0 w 205717"/>
                  <a:gd name="connsiteY0" fmla="*/ 0 h 411302"/>
                  <a:gd name="connsiteX1" fmla="*/ 205717 w 205717"/>
                  <a:gd name="connsiteY1" fmla="*/ 0 h 411302"/>
                  <a:gd name="connsiteX2" fmla="*/ 205717 w 205717"/>
                  <a:gd name="connsiteY2" fmla="*/ 411303 h 411302"/>
                  <a:gd name="connsiteX3" fmla="*/ 0 w 205717"/>
                  <a:gd name="connsiteY3" fmla="*/ 411303 h 411302"/>
                </a:gdLst>
                <a:ahLst/>
                <a:cxnLst>
                  <a:cxn ang="0">
                    <a:pos x="connsiteX0" y="connsiteY0"/>
                  </a:cxn>
                  <a:cxn ang="0">
                    <a:pos x="connsiteX1" y="connsiteY1"/>
                  </a:cxn>
                  <a:cxn ang="0">
                    <a:pos x="connsiteX2" y="connsiteY2"/>
                  </a:cxn>
                  <a:cxn ang="0">
                    <a:pos x="connsiteX3" y="connsiteY3"/>
                  </a:cxn>
                </a:cxnLst>
                <a:rect l="l" t="t" r="r" b="b"/>
                <a:pathLst>
                  <a:path w="205717" h="411302">
                    <a:moveTo>
                      <a:pt x="0" y="0"/>
                    </a:moveTo>
                    <a:lnTo>
                      <a:pt x="205717" y="0"/>
                    </a:lnTo>
                    <a:lnTo>
                      <a:pt x="205717" y="411303"/>
                    </a:lnTo>
                    <a:lnTo>
                      <a:pt x="0" y="411303"/>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40" name="Freeform 39">
                <a:extLst>
                  <a:ext uri="{FF2B5EF4-FFF2-40B4-BE49-F238E27FC236}">
                    <a16:creationId xmlns:a16="http://schemas.microsoft.com/office/drawing/2014/main" id="{A2DB5B9D-57AC-09EA-4A7D-ACE1507A3997}"/>
                  </a:ext>
                </a:extLst>
              </p:cNvPr>
              <p:cNvSpPr/>
              <p:nvPr/>
            </p:nvSpPr>
            <p:spPr>
              <a:xfrm>
                <a:off x="1710174" y="1989204"/>
                <a:ext cx="18047" cy="18047"/>
              </a:xfrm>
              <a:custGeom>
                <a:avLst/>
                <a:gdLst>
                  <a:gd name="connsiteX0" fmla="*/ 0 w 205648"/>
                  <a:gd name="connsiteY0" fmla="*/ 0 h 205648"/>
                  <a:gd name="connsiteX1" fmla="*/ 205649 w 205648"/>
                  <a:gd name="connsiteY1" fmla="*/ 0 h 205648"/>
                  <a:gd name="connsiteX2" fmla="*/ 205649 w 205648"/>
                  <a:gd name="connsiteY2" fmla="*/ 205648 h 205648"/>
                  <a:gd name="connsiteX3" fmla="*/ 0 w 205648"/>
                  <a:gd name="connsiteY3" fmla="*/ 205648 h 205648"/>
                </a:gdLst>
                <a:ahLst/>
                <a:cxnLst>
                  <a:cxn ang="0">
                    <a:pos x="connsiteX0" y="connsiteY0"/>
                  </a:cxn>
                  <a:cxn ang="0">
                    <a:pos x="connsiteX1" y="connsiteY1"/>
                  </a:cxn>
                  <a:cxn ang="0">
                    <a:pos x="connsiteX2" y="connsiteY2"/>
                  </a:cxn>
                  <a:cxn ang="0">
                    <a:pos x="connsiteX3" y="connsiteY3"/>
                  </a:cxn>
                </a:cxnLst>
                <a:rect l="l" t="t" r="r" b="b"/>
                <a:pathLst>
                  <a:path w="205648" h="205648">
                    <a:moveTo>
                      <a:pt x="0" y="0"/>
                    </a:moveTo>
                    <a:lnTo>
                      <a:pt x="205649" y="0"/>
                    </a:lnTo>
                    <a:lnTo>
                      <a:pt x="205649" y="205648"/>
                    </a:lnTo>
                    <a:lnTo>
                      <a:pt x="0" y="205648"/>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41" name="Freeform 40">
                <a:extLst>
                  <a:ext uri="{FF2B5EF4-FFF2-40B4-BE49-F238E27FC236}">
                    <a16:creationId xmlns:a16="http://schemas.microsoft.com/office/drawing/2014/main" id="{79CC6874-5E30-94B1-3D77-33AD6C53C802}"/>
                  </a:ext>
                </a:extLst>
              </p:cNvPr>
              <p:cNvSpPr/>
              <p:nvPr/>
            </p:nvSpPr>
            <p:spPr>
              <a:xfrm>
                <a:off x="1529688" y="2007255"/>
                <a:ext cx="198531" cy="126341"/>
              </a:xfrm>
              <a:custGeom>
                <a:avLst/>
                <a:gdLst>
                  <a:gd name="connsiteX0" fmla="*/ 1234029 w 2262265"/>
                  <a:gd name="connsiteY0" fmla="*/ 0 h 1439665"/>
                  <a:gd name="connsiteX1" fmla="*/ 1439614 w 2262265"/>
                  <a:gd name="connsiteY1" fmla="*/ 0 h 1439665"/>
                  <a:gd name="connsiteX2" fmla="*/ 1439614 w 2262265"/>
                  <a:gd name="connsiteY2" fmla="*/ 205717 h 1439665"/>
                  <a:gd name="connsiteX3" fmla="*/ 1645332 w 2262265"/>
                  <a:gd name="connsiteY3" fmla="*/ 205717 h 1439665"/>
                  <a:gd name="connsiteX4" fmla="*/ 1645332 w 2262265"/>
                  <a:gd name="connsiteY4" fmla="*/ 617020 h 1439665"/>
                  <a:gd name="connsiteX5" fmla="*/ 2262266 w 2262265"/>
                  <a:gd name="connsiteY5" fmla="*/ 617020 h 1439665"/>
                  <a:gd name="connsiteX6" fmla="*/ 2262266 w 2262265"/>
                  <a:gd name="connsiteY6" fmla="*/ 822646 h 1439665"/>
                  <a:gd name="connsiteX7" fmla="*/ 1439592 w 2262265"/>
                  <a:gd name="connsiteY7" fmla="*/ 822646 h 1439665"/>
                  <a:gd name="connsiteX8" fmla="*/ 1439592 w 2262265"/>
                  <a:gd name="connsiteY8" fmla="*/ 1233949 h 1439665"/>
                  <a:gd name="connsiteX9" fmla="*/ 1234006 w 2262265"/>
                  <a:gd name="connsiteY9" fmla="*/ 1233949 h 1439665"/>
                  <a:gd name="connsiteX10" fmla="*/ 1234006 w 2262265"/>
                  <a:gd name="connsiteY10" fmla="*/ 822646 h 1439665"/>
                  <a:gd name="connsiteX11" fmla="*/ 1028357 w 2262265"/>
                  <a:gd name="connsiteY11" fmla="*/ 822646 h 1439665"/>
                  <a:gd name="connsiteX12" fmla="*/ 1028357 w 2262265"/>
                  <a:gd name="connsiteY12" fmla="*/ 1028363 h 1439665"/>
                  <a:gd name="connsiteX13" fmla="*/ 822640 w 2262265"/>
                  <a:gd name="connsiteY13" fmla="*/ 1028363 h 1439665"/>
                  <a:gd name="connsiteX14" fmla="*/ 822640 w 2262265"/>
                  <a:gd name="connsiteY14" fmla="*/ 1233949 h 1439665"/>
                  <a:gd name="connsiteX15" fmla="*/ 1028357 w 2262265"/>
                  <a:gd name="connsiteY15" fmla="*/ 1233949 h 1439665"/>
                  <a:gd name="connsiteX16" fmla="*/ 1028357 w 2262265"/>
                  <a:gd name="connsiteY16" fmla="*/ 1439666 h 1439665"/>
                  <a:gd name="connsiteX17" fmla="*/ 0 w 2262265"/>
                  <a:gd name="connsiteY17" fmla="*/ 1439666 h 1439665"/>
                  <a:gd name="connsiteX18" fmla="*/ 0 w 2262265"/>
                  <a:gd name="connsiteY18" fmla="*/ 1233949 h 1439665"/>
                  <a:gd name="connsiteX19" fmla="*/ 616992 w 2262265"/>
                  <a:gd name="connsiteY19" fmla="*/ 1233949 h 1439665"/>
                  <a:gd name="connsiteX20" fmla="*/ 616992 w 2262265"/>
                  <a:gd name="connsiteY20" fmla="*/ 822646 h 1439665"/>
                  <a:gd name="connsiteX21" fmla="*/ 822617 w 2262265"/>
                  <a:gd name="connsiteY21" fmla="*/ 822646 h 1439665"/>
                  <a:gd name="connsiteX22" fmla="*/ 822617 w 2262265"/>
                  <a:gd name="connsiteY22" fmla="*/ 205711 h 1439665"/>
                  <a:gd name="connsiteX23" fmla="*/ 1233983 w 2262265"/>
                  <a:gd name="connsiteY23" fmla="*/ 205711 h 1439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262265" h="1439665">
                    <a:moveTo>
                      <a:pt x="1234029" y="0"/>
                    </a:moveTo>
                    <a:lnTo>
                      <a:pt x="1439614" y="0"/>
                    </a:lnTo>
                    <a:lnTo>
                      <a:pt x="1439614" y="205717"/>
                    </a:lnTo>
                    <a:lnTo>
                      <a:pt x="1645332" y="205717"/>
                    </a:lnTo>
                    <a:lnTo>
                      <a:pt x="1645332" y="617020"/>
                    </a:lnTo>
                    <a:lnTo>
                      <a:pt x="2262266" y="617020"/>
                    </a:lnTo>
                    <a:lnTo>
                      <a:pt x="2262266" y="822646"/>
                    </a:lnTo>
                    <a:lnTo>
                      <a:pt x="1439592" y="822646"/>
                    </a:lnTo>
                    <a:lnTo>
                      <a:pt x="1439592" y="1233949"/>
                    </a:lnTo>
                    <a:lnTo>
                      <a:pt x="1234006" y="1233949"/>
                    </a:lnTo>
                    <a:lnTo>
                      <a:pt x="1234006" y="822646"/>
                    </a:lnTo>
                    <a:lnTo>
                      <a:pt x="1028357" y="822646"/>
                    </a:lnTo>
                    <a:lnTo>
                      <a:pt x="1028357" y="1028363"/>
                    </a:lnTo>
                    <a:lnTo>
                      <a:pt x="822640" y="1028363"/>
                    </a:lnTo>
                    <a:lnTo>
                      <a:pt x="822640" y="1233949"/>
                    </a:lnTo>
                    <a:lnTo>
                      <a:pt x="1028357" y="1233949"/>
                    </a:lnTo>
                    <a:lnTo>
                      <a:pt x="1028357" y="1439666"/>
                    </a:lnTo>
                    <a:lnTo>
                      <a:pt x="0" y="1439666"/>
                    </a:lnTo>
                    <a:lnTo>
                      <a:pt x="0" y="1233949"/>
                    </a:lnTo>
                    <a:lnTo>
                      <a:pt x="616992" y="1233949"/>
                    </a:lnTo>
                    <a:lnTo>
                      <a:pt x="616992" y="822646"/>
                    </a:lnTo>
                    <a:lnTo>
                      <a:pt x="822617" y="822646"/>
                    </a:lnTo>
                    <a:lnTo>
                      <a:pt x="822617" y="205711"/>
                    </a:lnTo>
                    <a:lnTo>
                      <a:pt x="1233983" y="205711"/>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42" name="Freeform 41">
                <a:extLst>
                  <a:ext uri="{FF2B5EF4-FFF2-40B4-BE49-F238E27FC236}">
                    <a16:creationId xmlns:a16="http://schemas.microsoft.com/office/drawing/2014/main" id="{7E71C9AC-7B8C-3209-F570-832754FF3D9C}"/>
                  </a:ext>
                </a:extLst>
              </p:cNvPr>
              <p:cNvSpPr/>
              <p:nvPr/>
            </p:nvSpPr>
            <p:spPr>
              <a:xfrm>
                <a:off x="1367250" y="2007255"/>
                <a:ext cx="126341" cy="126341"/>
              </a:xfrm>
              <a:custGeom>
                <a:avLst/>
                <a:gdLst>
                  <a:gd name="connsiteX0" fmla="*/ 0 w 1439665"/>
                  <a:gd name="connsiteY0" fmla="*/ 0 h 1439665"/>
                  <a:gd name="connsiteX1" fmla="*/ 0 w 1439665"/>
                  <a:gd name="connsiteY1" fmla="*/ 1439666 h 1439665"/>
                  <a:gd name="connsiteX2" fmla="*/ 1439666 w 1439665"/>
                  <a:gd name="connsiteY2" fmla="*/ 1439666 h 1439665"/>
                  <a:gd name="connsiteX3" fmla="*/ 1439666 w 1439665"/>
                  <a:gd name="connsiteY3" fmla="*/ 0 h 1439665"/>
                  <a:gd name="connsiteX4" fmla="*/ 1233926 w 1439665"/>
                  <a:gd name="connsiteY4" fmla="*/ 1233926 h 1439665"/>
                  <a:gd name="connsiteX5" fmla="*/ 205626 w 1439665"/>
                  <a:gd name="connsiteY5" fmla="*/ 1233926 h 1439665"/>
                  <a:gd name="connsiteX6" fmla="*/ 205626 w 1439665"/>
                  <a:gd name="connsiteY6" fmla="*/ 205683 h 1439665"/>
                  <a:gd name="connsiteX7" fmla="*/ 1233926 w 1439665"/>
                  <a:gd name="connsiteY7" fmla="*/ 205683 h 1439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9665" h="1439665">
                    <a:moveTo>
                      <a:pt x="0" y="0"/>
                    </a:moveTo>
                    <a:lnTo>
                      <a:pt x="0" y="1439666"/>
                    </a:lnTo>
                    <a:lnTo>
                      <a:pt x="1439666" y="1439666"/>
                    </a:lnTo>
                    <a:lnTo>
                      <a:pt x="1439666" y="0"/>
                    </a:lnTo>
                    <a:close/>
                    <a:moveTo>
                      <a:pt x="1233926" y="1233926"/>
                    </a:moveTo>
                    <a:lnTo>
                      <a:pt x="205626" y="1233926"/>
                    </a:lnTo>
                    <a:lnTo>
                      <a:pt x="205626" y="205683"/>
                    </a:lnTo>
                    <a:lnTo>
                      <a:pt x="1233926" y="205683"/>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43" name="Freeform 42">
                <a:extLst>
                  <a:ext uri="{FF2B5EF4-FFF2-40B4-BE49-F238E27FC236}">
                    <a16:creationId xmlns:a16="http://schemas.microsoft.com/office/drawing/2014/main" id="{265CB5C6-DE9F-92AD-9C34-43E32567126A}"/>
                  </a:ext>
                </a:extLst>
              </p:cNvPr>
              <p:cNvSpPr/>
              <p:nvPr/>
            </p:nvSpPr>
            <p:spPr>
              <a:xfrm>
                <a:off x="1565787" y="2025310"/>
                <a:ext cx="18047" cy="18047"/>
              </a:xfrm>
              <a:custGeom>
                <a:avLst/>
                <a:gdLst>
                  <a:gd name="connsiteX0" fmla="*/ 0 w 205648"/>
                  <a:gd name="connsiteY0" fmla="*/ 0 h 205648"/>
                  <a:gd name="connsiteX1" fmla="*/ 205649 w 205648"/>
                  <a:gd name="connsiteY1" fmla="*/ 0 h 205648"/>
                  <a:gd name="connsiteX2" fmla="*/ 205649 w 205648"/>
                  <a:gd name="connsiteY2" fmla="*/ 205649 h 205648"/>
                  <a:gd name="connsiteX3" fmla="*/ 0 w 205648"/>
                  <a:gd name="connsiteY3" fmla="*/ 205649 h 205648"/>
                </a:gdLst>
                <a:ahLst/>
                <a:cxnLst>
                  <a:cxn ang="0">
                    <a:pos x="connsiteX0" y="connsiteY0"/>
                  </a:cxn>
                  <a:cxn ang="0">
                    <a:pos x="connsiteX1" y="connsiteY1"/>
                  </a:cxn>
                  <a:cxn ang="0">
                    <a:pos x="connsiteX2" y="connsiteY2"/>
                  </a:cxn>
                  <a:cxn ang="0">
                    <a:pos x="connsiteX3" y="connsiteY3"/>
                  </a:cxn>
                </a:cxnLst>
                <a:rect l="l" t="t" r="r" b="b"/>
                <a:pathLst>
                  <a:path w="205648" h="205648">
                    <a:moveTo>
                      <a:pt x="0" y="0"/>
                    </a:moveTo>
                    <a:lnTo>
                      <a:pt x="205649" y="0"/>
                    </a:lnTo>
                    <a:lnTo>
                      <a:pt x="205649" y="205649"/>
                    </a:lnTo>
                    <a:lnTo>
                      <a:pt x="0" y="205649"/>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44" name="Freeform 43">
                <a:extLst>
                  <a:ext uri="{FF2B5EF4-FFF2-40B4-BE49-F238E27FC236}">
                    <a16:creationId xmlns:a16="http://schemas.microsoft.com/office/drawing/2014/main" id="{4C7683FA-F511-63B2-D7DD-D0294449D4B6}"/>
                  </a:ext>
                </a:extLst>
              </p:cNvPr>
              <p:cNvSpPr/>
              <p:nvPr/>
            </p:nvSpPr>
            <p:spPr>
              <a:xfrm>
                <a:off x="1692128" y="2025310"/>
                <a:ext cx="36089" cy="18047"/>
              </a:xfrm>
              <a:custGeom>
                <a:avLst/>
                <a:gdLst>
                  <a:gd name="connsiteX0" fmla="*/ 0 w 411234"/>
                  <a:gd name="connsiteY0" fmla="*/ 0 h 205648"/>
                  <a:gd name="connsiteX1" fmla="*/ 411234 w 411234"/>
                  <a:gd name="connsiteY1" fmla="*/ 0 h 205648"/>
                  <a:gd name="connsiteX2" fmla="*/ 411234 w 411234"/>
                  <a:gd name="connsiteY2" fmla="*/ 205649 h 205648"/>
                  <a:gd name="connsiteX3" fmla="*/ 0 w 411234"/>
                  <a:gd name="connsiteY3" fmla="*/ 205649 h 205648"/>
                </a:gdLst>
                <a:ahLst/>
                <a:cxnLst>
                  <a:cxn ang="0">
                    <a:pos x="connsiteX0" y="connsiteY0"/>
                  </a:cxn>
                  <a:cxn ang="0">
                    <a:pos x="connsiteX1" y="connsiteY1"/>
                  </a:cxn>
                  <a:cxn ang="0">
                    <a:pos x="connsiteX2" y="connsiteY2"/>
                  </a:cxn>
                  <a:cxn ang="0">
                    <a:pos x="connsiteX3" y="connsiteY3"/>
                  </a:cxn>
                </a:cxnLst>
                <a:rect l="l" t="t" r="r" b="b"/>
                <a:pathLst>
                  <a:path w="411234" h="205648">
                    <a:moveTo>
                      <a:pt x="0" y="0"/>
                    </a:moveTo>
                    <a:lnTo>
                      <a:pt x="411234" y="0"/>
                    </a:lnTo>
                    <a:lnTo>
                      <a:pt x="411234" y="205649"/>
                    </a:lnTo>
                    <a:lnTo>
                      <a:pt x="0" y="205649"/>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45" name="Freeform 44">
                <a:extLst>
                  <a:ext uri="{FF2B5EF4-FFF2-40B4-BE49-F238E27FC236}">
                    <a16:creationId xmlns:a16="http://schemas.microsoft.com/office/drawing/2014/main" id="{1F00959B-B5C1-3079-15E1-0593C843E5D9}"/>
                  </a:ext>
                </a:extLst>
              </p:cNvPr>
              <p:cNvSpPr/>
              <p:nvPr/>
            </p:nvSpPr>
            <p:spPr>
              <a:xfrm>
                <a:off x="1403345" y="2043350"/>
                <a:ext cx="54146" cy="54146"/>
              </a:xfrm>
              <a:custGeom>
                <a:avLst/>
                <a:gdLst>
                  <a:gd name="connsiteX0" fmla="*/ 0 w 616991"/>
                  <a:gd name="connsiteY0" fmla="*/ 0 h 616991"/>
                  <a:gd name="connsiteX1" fmla="*/ 616992 w 616991"/>
                  <a:gd name="connsiteY1" fmla="*/ 0 h 616991"/>
                  <a:gd name="connsiteX2" fmla="*/ 616992 w 616991"/>
                  <a:gd name="connsiteY2" fmla="*/ 616992 h 616991"/>
                  <a:gd name="connsiteX3" fmla="*/ 0 w 616991"/>
                  <a:gd name="connsiteY3" fmla="*/ 616992 h 616991"/>
                </a:gdLst>
                <a:ahLst/>
                <a:cxnLst>
                  <a:cxn ang="0">
                    <a:pos x="connsiteX0" y="connsiteY0"/>
                  </a:cxn>
                  <a:cxn ang="0">
                    <a:pos x="connsiteX1" y="connsiteY1"/>
                  </a:cxn>
                  <a:cxn ang="0">
                    <a:pos x="connsiteX2" y="connsiteY2"/>
                  </a:cxn>
                  <a:cxn ang="0">
                    <a:pos x="connsiteX3" y="connsiteY3"/>
                  </a:cxn>
                </a:cxnLst>
                <a:rect l="l" t="t" r="r" b="b"/>
                <a:pathLst>
                  <a:path w="616991" h="616991">
                    <a:moveTo>
                      <a:pt x="0" y="0"/>
                    </a:moveTo>
                    <a:lnTo>
                      <a:pt x="616992" y="0"/>
                    </a:lnTo>
                    <a:lnTo>
                      <a:pt x="616992" y="616992"/>
                    </a:lnTo>
                    <a:lnTo>
                      <a:pt x="0" y="616992"/>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46" name="Freeform 45">
                <a:extLst>
                  <a:ext uri="{FF2B5EF4-FFF2-40B4-BE49-F238E27FC236}">
                    <a16:creationId xmlns:a16="http://schemas.microsoft.com/office/drawing/2014/main" id="{5528572A-C77B-3E09-CF06-1B4B70AA3AB1}"/>
                  </a:ext>
                </a:extLst>
              </p:cNvPr>
              <p:cNvSpPr/>
              <p:nvPr/>
            </p:nvSpPr>
            <p:spPr>
              <a:xfrm>
                <a:off x="1728214" y="2043350"/>
                <a:ext cx="18053" cy="18053"/>
              </a:xfrm>
              <a:custGeom>
                <a:avLst/>
                <a:gdLst>
                  <a:gd name="connsiteX0" fmla="*/ 0 w 205717"/>
                  <a:gd name="connsiteY0" fmla="*/ 0 h 205717"/>
                  <a:gd name="connsiteX1" fmla="*/ 205717 w 205717"/>
                  <a:gd name="connsiteY1" fmla="*/ 0 h 205717"/>
                  <a:gd name="connsiteX2" fmla="*/ 205717 w 205717"/>
                  <a:gd name="connsiteY2" fmla="*/ 205717 h 205717"/>
                  <a:gd name="connsiteX3" fmla="*/ 0 w 205717"/>
                  <a:gd name="connsiteY3" fmla="*/ 205717 h 205717"/>
                </a:gdLst>
                <a:ahLst/>
                <a:cxnLst>
                  <a:cxn ang="0">
                    <a:pos x="connsiteX0" y="connsiteY0"/>
                  </a:cxn>
                  <a:cxn ang="0">
                    <a:pos x="connsiteX1" y="connsiteY1"/>
                  </a:cxn>
                  <a:cxn ang="0">
                    <a:pos x="connsiteX2" y="connsiteY2"/>
                  </a:cxn>
                  <a:cxn ang="0">
                    <a:pos x="connsiteX3" y="connsiteY3"/>
                  </a:cxn>
                </a:cxnLst>
                <a:rect l="l" t="t" r="r" b="b"/>
                <a:pathLst>
                  <a:path w="205717" h="205717">
                    <a:moveTo>
                      <a:pt x="0" y="0"/>
                    </a:moveTo>
                    <a:lnTo>
                      <a:pt x="205717" y="0"/>
                    </a:lnTo>
                    <a:lnTo>
                      <a:pt x="205717" y="205717"/>
                    </a:lnTo>
                    <a:lnTo>
                      <a:pt x="0" y="205717"/>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47" name="Freeform 46">
                <a:extLst>
                  <a:ext uri="{FF2B5EF4-FFF2-40B4-BE49-F238E27FC236}">
                    <a16:creationId xmlns:a16="http://schemas.microsoft.com/office/drawing/2014/main" id="{E61204F2-D1A6-E23C-5337-7C6F7A9B84A5}"/>
                  </a:ext>
                </a:extLst>
              </p:cNvPr>
              <p:cNvSpPr/>
              <p:nvPr/>
            </p:nvSpPr>
            <p:spPr>
              <a:xfrm>
                <a:off x="1511641" y="2061400"/>
                <a:ext cx="36095" cy="36098"/>
              </a:xfrm>
              <a:custGeom>
                <a:avLst/>
                <a:gdLst>
                  <a:gd name="connsiteX0" fmla="*/ 6 w 411302"/>
                  <a:gd name="connsiteY0" fmla="*/ 0 h 411342"/>
                  <a:gd name="connsiteX1" fmla="*/ 205654 w 411302"/>
                  <a:gd name="connsiteY1" fmla="*/ 0 h 411342"/>
                  <a:gd name="connsiteX2" fmla="*/ 205654 w 411302"/>
                  <a:gd name="connsiteY2" fmla="*/ 205626 h 411342"/>
                  <a:gd name="connsiteX3" fmla="*/ 411303 w 411302"/>
                  <a:gd name="connsiteY3" fmla="*/ 205626 h 411342"/>
                  <a:gd name="connsiteX4" fmla="*/ 411303 w 411302"/>
                  <a:gd name="connsiteY4" fmla="*/ 411343 h 411342"/>
                  <a:gd name="connsiteX5" fmla="*/ 0 w 411302"/>
                  <a:gd name="connsiteY5" fmla="*/ 411343 h 411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1302" h="411342">
                    <a:moveTo>
                      <a:pt x="6" y="0"/>
                    </a:moveTo>
                    <a:lnTo>
                      <a:pt x="205654" y="0"/>
                    </a:lnTo>
                    <a:lnTo>
                      <a:pt x="205654" y="205626"/>
                    </a:lnTo>
                    <a:lnTo>
                      <a:pt x="411303" y="205626"/>
                    </a:lnTo>
                    <a:lnTo>
                      <a:pt x="411303" y="411343"/>
                    </a:lnTo>
                    <a:lnTo>
                      <a:pt x="0" y="411343"/>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48" name="Freeform 47">
                <a:extLst>
                  <a:ext uri="{FF2B5EF4-FFF2-40B4-BE49-F238E27FC236}">
                    <a16:creationId xmlns:a16="http://schemas.microsoft.com/office/drawing/2014/main" id="{7CD99F3A-0707-2097-9333-A53B499B6A9A}"/>
                  </a:ext>
                </a:extLst>
              </p:cNvPr>
              <p:cNvSpPr/>
              <p:nvPr/>
            </p:nvSpPr>
            <p:spPr>
              <a:xfrm>
                <a:off x="1547732" y="2061400"/>
                <a:ext cx="36095" cy="18047"/>
              </a:xfrm>
              <a:custGeom>
                <a:avLst/>
                <a:gdLst>
                  <a:gd name="connsiteX0" fmla="*/ 0 w 411302"/>
                  <a:gd name="connsiteY0" fmla="*/ 0 h 205648"/>
                  <a:gd name="connsiteX1" fmla="*/ 411303 w 411302"/>
                  <a:gd name="connsiteY1" fmla="*/ 0 h 205648"/>
                  <a:gd name="connsiteX2" fmla="*/ 411303 w 411302"/>
                  <a:gd name="connsiteY2" fmla="*/ 205649 h 205648"/>
                  <a:gd name="connsiteX3" fmla="*/ 0 w 411302"/>
                  <a:gd name="connsiteY3" fmla="*/ 205649 h 205648"/>
                </a:gdLst>
                <a:ahLst/>
                <a:cxnLst>
                  <a:cxn ang="0">
                    <a:pos x="connsiteX0" y="connsiteY0"/>
                  </a:cxn>
                  <a:cxn ang="0">
                    <a:pos x="connsiteX1" y="connsiteY1"/>
                  </a:cxn>
                  <a:cxn ang="0">
                    <a:pos x="connsiteX2" y="connsiteY2"/>
                  </a:cxn>
                  <a:cxn ang="0">
                    <a:pos x="connsiteX3" y="connsiteY3"/>
                  </a:cxn>
                </a:cxnLst>
                <a:rect l="l" t="t" r="r" b="b"/>
                <a:pathLst>
                  <a:path w="411302" h="205648">
                    <a:moveTo>
                      <a:pt x="0" y="0"/>
                    </a:moveTo>
                    <a:lnTo>
                      <a:pt x="411303" y="0"/>
                    </a:lnTo>
                    <a:lnTo>
                      <a:pt x="411303" y="205649"/>
                    </a:lnTo>
                    <a:lnTo>
                      <a:pt x="0" y="205649"/>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49" name="Freeform 48">
                <a:extLst>
                  <a:ext uri="{FF2B5EF4-FFF2-40B4-BE49-F238E27FC236}">
                    <a16:creationId xmlns:a16="http://schemas.microsoft.com/office/drawing/2014/main" id="{3B9D15C6-765A-F88E-C905-F263B22D1AA0}"/>
                  </a:ext>
                </a:extLst>
              </p:cNvPr>
              <p:cNvSpPr/>
              <p:nvPr/>
            </p:nvSpPr>
            <p:spPr>
              <a:xfrm>
                <a:off x="1692128" y="2097501"/>
                <a:ext cx="18047" cy="18047"/>
              </a:xfrm>
              <a:custGeom>
                <a:avLst/>
                <a:gdLst>
                  <a:gd name="connsiteX0" fmla="*/ 0 w 205648"/>
                  <a:gd name="connsiteY0" fmla="*/ 0 h 205648"/>
                  <a:gd name="connsiteX1" fmla="*/ 205649 w 205648"/>
                  <a:gd name="connsiteY1" fmla="*/ 0 h 205648"/>
                  <a:gd name="connsiteX2" fmla="*/ 205649 w 205648"/>
                  <a:gd name="connsiteY2" fmla="*/ 205649 h 205648"/>
                  <a:gd name="connsiteX3" fmla="*/ 0 w 205648"/>
                  <a:gd name="connsiteY3" fmla="*/ 205649 h 205648"/>
                </a:gdLst>
                <a:ahLst/>
                <a:cxnLst>
                  <a:cxn ang="0">
                    <a:pos x="connsiteX0" y="connsiteY0"/>
                  </a:cxn>
                  <a:cxn ang="0">
                    <a:pos x="connsiteX1" y="connsiteY1"/>
                  </a:cxn>
                  <a:cxn ang="0">
                    <a:pos x="connsiteX2" y="connsiteY2"/>
                  </a:cxn>
                  <a:cxn ang="0">
                    <a:pos x="connsiteX3" y="connsiteY3"/>
                  </a:cxn>
                </a:cxnLst>
                <a:rect l="l" t="t" r="r" b="b"/>
                <a:pathLst>
                  <a:path w="205648" h="205648">
                    <a:moveTo>
                      <a:pt x="0" y="0"/>
                    </a:moveTo>
                    <a:lnTo>
                      <a:pt x="205649" y="0"/>
                    </a:lnTo>
                    <a:lnTo>
                      <a:pt x="205649" y="205649"/>
                    </a:lnTo>
                    <a:lnTo>
                      <a:pt x="0" y="205649"/>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50" name="Freeform 49">
                <a:extLst>
                  <a:ext uri="{FF2B5EF4-FFF2-40B4-BE49-F238E27FC236}">
                    <a16:creationId xmlns:a16="http://schemas.microsoft.com/office/drawing/2014/main" id="{1B33090D-128E-97B6-AD49-E4C1519FBF0F}"/>
                  </a:ext>
                </a:extLst>
              </p:cNvPr>
              <p:cNvSpPr/>
              <p:nvPr/>
            </p:nvSpPr>
            <p:spPr>
              <a:xfrm>
                <a:off x="1728214" y="2097501"/>
                <a:ext cx="18053" cy="18047"/>
              </a:xfrm>
              <a:custGeom>
                <a:avLst/>
                <a:gdLst>
                  <a:gd name="connsiteX0" fmla="*/ 0 w 205717"/>
                  <a:gd name="connsiteY0" fmla="*/ 0 h 205648"/>
                  <a:gd name="connsiteX1" fmla="*/ 205717 w 205717"/>
                  <a:gd name="connsiteY1" fmla="*/ 0 h 205648"/>
                  <a:gd name="connsiteX2" fmla="*/ 205717 w 205717"/>
                  <a:gd name="connsiteY2" fmla="*/ 205649 h 205648"/>
                  <a:gd name="connsiteX3" fmla="*/ 0 w 205717"/>
                  <a:gd name="connsiteY3" fmla="*/ 205649 h 205648"/>
                </a:gdLst>
                <a:ahLst/>
                <a:cxnLst>
                  <a:cxn ang="0">
                    <a:pos x="connsiteX0" y="connsiteY0"/>
                  </a:cxn>
                  <a:cxn ang="0">
                    <a:pos x="connsiteX1" y="connsiteY1"/>
                  </a:cxn>
                  <a:cxn ang="0">
                    <a:pos x="connsiteX2" y="connsiteY2"/>
                  </a:cxn>
                  <a:cxn ang="0">
                    <a:pos x="connsiteX3" y="connsiteY3"/>
                  </a:cxn>
                </a:cxnLst>
                <a:rect l="l" t="t" r="r" b="b"/>
                <a:pathLst>
                  <a:path w="205717" h="205648">
                    <a:moveTo>
                      <a:pt x="0" y="0"/>
                    </a:moveTo>
                    <a:lnTo>
                      <a:pt x="205717" y="0"/>
                    </a:lnTo>
                    <a:lnTo>
                      <a:pt x="205717" y="205649"/>
                    </a:lnTo>
                    <a:lnTo>
                      <a:pt x="0" y="205649"/>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51" name="Freeform 50">
                <a:extLst>
                  <a:ext uri="{FF2B5EF4-FFF2-40B4-BE49-F238E27FC236}">
                    <a16:creationId xmlns:a16="http://schemas.microsoft.com/office/drawing/2014/main" id="{30792D2E-B72B-1094-B037-C2F825954B81}"/>
                  </a:ext>
                </a:extLst>
              </p:cNvPr>
              <p:cNvSpPr/>
              <p:nvPr/>
            </p:nvSpPr>
            <p:spPr>
              <a:xfrm>
                <a:off x="1656023" y="2115541"/>
                <a:ext cx="18053" cy="18053"/>
              </a:xfrm>
              <a:custGeom>
                <a:avLst/>
                <a:gdLst>
                  <a:gd name="connsiteX0" fmla="*/ 0 w 205717"/>
                  <a:gd name="connsiteY0" fmla="*/ 0 h 205717"/>
                  <a:gd name="connsiteX1" fmla="*/ 205717 w 205717"/>
                  <a:gd name="connsiteY1" fmla="*/ 0 h 205717"/>
                  <a:gd name="connsiteX2" fmla="*/ 205717 w 205717"/>
                  <a:gd name="connsiteY2" fmla="*/ 205717 h 205717"/>
                  <a:gd name="connsiteX3" fmla="*/ 0 w 205717"/>
                  <a:gd name="connsiteY3" fmla="*/ 205717 h 205717"/>
                </a:gdLst>
                <a:ahLst/>
                <a:cxnLst>
                  <a:cxn ang="0">
                    <a:pos x="connsiteX0" y="connsiteY0"/>
                  </a:cxn>
                  <a:cxn ang="0">
                    <a:pos x="connsiteX1" y="connsiteY1"/>
                  </a:cxn>
                  <a:cxn ang="0">
                    <a:pos x="connsiteX2" y="connsiteY2"/>
                  </a:cxn>
                  <a:cxn ang="0">
                    <a:pos x="connsiteX3" y="connsiteY3"/>
                  </a:cxn>
                </a:cxnLst>
                <a:rect l="l" t="t" r="r" b="b"/>
                <a:pathLst>
                  <a:path w="205717" h="205717">
                    <a:moveTo>
                      <a:pt x="0" y="0"/>
                    </a:moveTo>
                    <a:lnTo>
                      <a:pt x="205717" y="0"/>
                    </a:lnTo>
                    <a:lnTo>
                      <a:pt x="205717" y="205717"/>
                    </a:lnTo>
                    <a:lnTo>
                      <a:pt x="0" y="205717"/>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grpSp>
        <p:sp>
          <p:nvSpPr>
            <p:cNvPr id="52" name="Rounded Rectangle 51">
              <a:extLst>
                <a:ext uri="{FF2B5EF4-FFF2-40B4-BE49-F238E27FC236}">
                  <a16:creationId xmlns:a16="http://schemas.microsoft.com/office/drawing/2014/main" id="{5B575088-3EAA-EC5F-17A9-CDEB040C51AC}"/>
                </a:ext>
              </a:extLst>
            </p:cNvPr>
            <p:cNvSpPr/>
            <p:nvPr/>
          </p:nvSpPr>
          <p:spPr>
            <a:xfrm>
              <a:off x="2865549" y="2760299"/>
              <a:ext cx="1432338" cy="2242873"/>
            </a:xfrm>
            <a:prstGeom prst="roundRect">
              <a:avLst/>
            </a:prstGeom>
            <a:solidFill>
              <a:schemeClr val="accent6">
                <a:lumMod val="60000"/>
                <a:lumOff val="40000"/>
              </a:schemeClr>
            </a:solidFill>
            <a:ln w="349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3" name="Oval 52">
              <a:extLst>
                <a:ext uri="{FF2B5EF4-FFF2-40B4-BE49-F238E27FC236}">
                  <a16:creationId xmlns:a16="http://schemas.microsoft.com/office/drawing/2014/main" id="{F85BFF86-D1B1-1993-1111-909CCD33161A}"/>
                </a:ext>
              </a:extLst>
            </p:cNvPr>
            <p:cNvSpPr>
              <a:spLocks noChangeAspect="1"/>
            </p:cNvSpPr>
            <p:nvPr/>
          </p:nvSpPr>
          <p:spPr>
            <a:xfrm>
              <a:off x="2776154" y="5047075"/>
              <a:ext cx="216000" cy="216000"/>
            </a:xfrm>
            <a:prstGeom prst="ellipse">
              <a:avLst/>
            </a:prstGeom>
            <a:solidFill>
              <a:srgbClr val="F39500"/>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1200">
                  <a:latin typeface="+mj-lt"/>
                </a:rPr>
                <a:t>ID</a:t>
              </a:r>
            </a:p>
          </p:txBody>
        </p:sp>
        <p:cxnSp>
          <p:nvCxnSpPr>
            <p:cNvPr id="54" name="Straight Arrow Connector 53">
              <a:extLst>
                <a:ext uri="{FF2B5EF4-FFF2-40B4-BE49-F238E27FC236}">
                  <a16:creationId xmlns:a16="http://schemas.microsoft.com/office/drawing/2014/main" id="{B0837717-A96C-DDD6-1793-9831CE7209D3}"/>
                </a:ext>
              </a:extLst>
            </p:cNvPr>
            <p:cNvCxnSpPr>
              <a:cxnSpLocks/>
            </p:cNvCxnSpPr>
            <p:nvPr/>
          </p:nvCxnSpPr>
          <p:spPr>
            <a:xfrm>
              <a:off x="1556759" y="2784828"/>
              <a:ext cx="0" cy="612000"/>
            </a:xfrm>
            <a:prstGeom prst="straightConnector1">
              <a:avLst/>
            </a:prstGeom>
            <a:ln w="25400">
              <a:solidFill>
                <a:schemeClr val="tx1">
                  <a:lumMod val="65000"/>
                  <a:lumOff val="35000"/>
                </a:schemeClr>
              </a:solidFill>
              <a:headEnd w="med" len="lg"/>
              <a:tailEnd type="triangle" w="med" len="lg"/>
            </a:ln>
          </p:spPr>
          <p:style>
            <a:lnRef idx="1">
              <a:schemeClr val="accent1"/>
            </a:lnRef>
            <a:fillRef idx="0">
              <a:schemeClr val="accent1"/>
            </a:fillRef>
            <a:effectRef idx="0">
              <a:schemeClr val="accent1"/>
            </a:effectRef>
            <a:fontRef idx="minor">
              <a:schemeClr val="tx1"/>
            </a:fontRef>
          </p:style>
        </p:cxnSp>
        <p:grpSp>
          <p:nvGrpSpPr>
            <p:cNvPr id="55" name="Group 54">
              <a:extLst>
                <a:ext uri="{FF2B5EF4-FFF2-40B4-BE49-F238E27FC236}">
                  <a16:creationId xmlns:a16="http://schemas.microsoft.com/office/drawing/2014/main" id="{C87AF859-873E-F095-6128-BB9FC2A2DE24}"/>
                </a:ext>
              </a:extLst>
            </p:cNvPr>
            <p:cNvGrpSpPr/>
            <p:nvPr/>
          </p:nvGrpSpPr>
          <p:grpSpPr>
            <a:xfrm>
              <a:off x="3036869" y="4540847"/>
              <a:ext cx="1089697" cy="338657"/>
              <a:chOff x="7068883" y="2476754"/>
              <a:chExt cx="1089697" cy="338657"/>
            </a:xfrm>
          </p:grpSpPr>
          <p:sp>
            <p:nvSpPr>
              <p:cNvPr id="56" name="Rectangle 55">
                <a:extLst>
                  <a:ext uri="{FF2B5EF4-FFF2-40B4-BE49-F238E27FC236}">
                    <a16:creationId xmlns:a16="http://schemas.microsoft.com/office/drawing/2014/main" id="{1C43CA8D-5B6E-460B-B161-F406B6D35FFF}"/>
                  </a:ext>
                </a:extLst>
              </p:cNvPr>
              <p:cNvSpPr/>
              <p:nvPr/>
            </p:nvSpPr>
            <p:spPr>
              <a:xfrm>
                <a:off x="7068883" y="2476754"/>
                <a:ext cx="1089697" cy="325258"/>
              </a:xfrm>
              <a:prstGeom prst="rect">
                <a:avLst/>
              </a:prstGeom>
              <a:solidFill>
                <a:srgbClr val="00793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a:latin typeface="+mj-lt"/>
                  </a:rPr>
                  <a:t>Validation </a:t>
                </a:r>
              </a:p>
            </p:txBody>
          </p:sp>
          <p:pic>
            <p:nvPicPr>
              <p:cNvPr id="57" name="Graphic 56">
                <a:extLst>
                  <a:ext uri="{FF2B5EF4-FFF2-40B4-BE49-F238E27FC236}">
                    <a16:creationId xmlns:a16="http://schemas.microsoft.com/office/drawing/2014/main" id="{976BB66C-9AB1-1243-B725-D34388D37B9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83830" y="2485574"/>
                <a:ext cx="329837" cy="329837"/>
              </a:xfrm>
              <a:prstGeom prst="rect">
                <a:avLst/>
              </a:prstGeom>
            </p:spPr>
          </p:pic>
        </p:grpSp>
        <p:pic>
          <p:nvPicPr>
            <p:cNvPr id="58" name="Graphic 57">
              <a:extLst>
                <a:ext uri="{FF2B5EF4-FFF2-40B4-BE49-F238E27FC236}">
                  <a16:creationId xmlns:a16="http://schemas.microsoft.com/office/drawing/2014/main" id="{B4B23C58-D993-3E2F-FC00-665AAA2CCCE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77775" y="3100540"/>
              <a:ext cx="419875" cy="419875"/>
            </a:xfrm>
            <a:prstGeom prst="rect">
              <a:avLst/>
            </a:prstGeom>
          </p:spPr>
        </p:pic>
        <p:sp>
          <p:nvSpPr>
            <p:cNvPr id="59" name="Rounded Rectangle 58">
              <a:extLst>
                <a:ext uri="{FF2B5EF4-FFF2-40B4-BE49-F238E27FC236}">
                  <a16:creationId xmlns:a16="http://schemas.microsoft.com/office/drawing/2014/main" id="{EBAB423C-0069-6F0C-0B97-8CCA009B7DB5}"/>
                </a:ext>
              </a:extLst>
            </p:cNvPr>
            <p:cNvSpPr/>
            <p:nvPr/>
          </p:nvSpPr>
          <p:spPr>
            <a:xfrm>
              <a:off x="2898931" y="2853470"/>
              <a:ext cx="1359516" cy="1572530"/>
            </a:xfrm>
            <a:prstGeom prst="roundRect">
              <a:avLst/>
            </a:prstGeom>
            <a:solidFill>
              <a:schemeClr val="bg1"/>
            </a:solidFill>
            <a:ln w="349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pic>
          <p:nvPicPr>
            <p:cNvPr id="60" name="Graphic 59">
              <a:extLst>
                <a:ext uri="{FF2B5EF4-FFF2-40B4-BE49-F238E27FC236}">
                  <a16:creationId xmlns:a16="http://schemas.microsoft.com/office/drawing/2014/main" id="{FDDE0900-A49F-CF71-085A-8FBE826CC61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930440" y="3890146"/>
              <a:ext cx="283050" cy="283050"/>
            </a:xfrm>
            <a:prstGeom prst="rect">
              <a:avLst/>
            </a:prstGeom>
          </p:spPr>
        </p:pic>
        <p:sp>
          <p:nvSpPr>
            <p:cNvPr id="61" name="TextBox 60">
              <a:extLst>
                <a:ext uri="{FF2B5EF4-FFF2-40B4-BE49-F238E27FC236}">
                  <a16:creationId xmlns:a16="http://schemas.microsoft.com/office/drawing/2014/main" id="{B4000FF3-6DBD-3B5B-9D91-F097C3985DF1}"/>
                </a:ext>
              </a:extLst>
            </p:cNvPr>
            <p:cNvSpPr txBox="1"/>
            <p:nvPr/>
          </p:nvSpPr>
          <p:spPr>
            <a:xfrm>
              <a:off x="3041102" y="3970889"/>
              <a:ext cx="832996" cy="361693"/>
            </a:xfrm>
            <a:prstGeom prst="rect">
              <a:avLst/>
            </a:prstGeom>
            <a:solidFill>
              <a:srgbClr val="004A96"/>
            </a:solidFill>
          </p:spPr>
          <p:txBody>
            <a:bodyPr wrap="square" lIns="36000" tIns="36000" rIns="36000" bIns="36000" rtlCol="0">
              <a:spAutoFit/>
            </a:bodyPr>
            <a:lstStyle/>
            <a:p>
              <a:pPr marL="0" indent="0" algn="l">
                <a:lnSpc>
                  <a:spcPct val="85000"/>
                </a:lnSpc>
                <a:buClr>
                  <a:schemeClr val="bg2"/>
                </a:buClr>
                <a:buSzPct val="80000"/>
                <a:buFont typeface="Arial" panose="020B0604020202020204" pitchFamily="34" charset="0"/>
                <a:buNone/>
              </a:pPr>
              <a:r>
                <a:rPr lang="en-US" sz="1100" b="0" i="0" u="none" strike="noStrike" cap="none">
                  <a:solidFill>
                    <a:schemeClr val="bg1"/>
                  </a:solidFill>
                  <a:latin typeface="+mj-lt"/>
                  <a:cs typeface="Calibri" panose="020F0502020204030204" pitchFamily="34" charset="0"/>
                  <a:sym typeface="Calibri" panose="020F0502020204030204" pitchFamily="34" charset="0"/>
                </a:rPr>
                <a:t>Product </a:t>
              </a:r>
            </a:p>
            <a:p>
              <a:pPr marL="0" indent="0" algn="l">
                <a:lnSpc>
                  <a:spcPct val="85000"/>
                </a:lnSpc>
                <a:buClr>
                  <a:schemeClr val="bg2"/>
                </a:buClr>
                <a:buSzPct val="80000"/>
                <a:buFont typeface="Arial" panose="020B0604020202020204" pitchFamily="34" charset="0"/>
                <a:buNone/>
              </a:pPr>
              <a:r>
                <a:rPr lang="en-US" sz="1100" b="0" i="0" u="none" strike="noStrike" cap="none">
                  <a:solidFill>
                    <a:schemeClr val="bg1"/>
                  </a:solidFill>
                  <a:latin typeface="+mj-lt"/>
                  <a:cs typeface="Calibri" panose="020F0502020204030204" pitchFamily="34" charset="0"/>
                  <a:sym typeface="Calibri" panose="020F0502020204030204" pitchFamily="34" charset="0"/>
                </a:rPr>
                <a:t>Information</a:t>
              </a:r>
            </a:p>
          </p:txBody>
        </p:sp>
        <p:sp>
          <p:nvSpPr>
            <p:cNvPr id="62" name="TextBox 61">
              <a:extLst>
                <a:ext uri="{FF2B5EF4-FFF2-40B4-BE49-F238E27FC236}">
                  <a16:creationId xmlns:a16="http://schemas.microsoft.com/office/drawing/2014/main" id="{2111FAD4-8850-584B-FB7F-2BE649AB16FC}"/>
                </a:ext>
              </a:extLst>
            </p:cNvPr>
            <p:cNvSpPr txBox="1"/>
            <p:nvPr/>
          </p:nvSpPr>
          <p:spPr>
            <a:xfrm>
              <a:off x="3238970" y="2919694"/>
              <a:ext cx="832996" cy="361693"/>
            </a:xfrm>
            <a:prstGeom prst="rect">
              <a:avLst/>
            </a:prstGeom>
            <a:solidFill>
              <a:srgbClr val="004A96"/>
            </a:solidFill>
          </p:spPr>
          <p:txBody>
            <a:bodyPr wrap="square" lIns="36000" tIns="36000" rIns="36000" bIns="36000" rtlCol="0">
              <a:spAutoFit/>
            </a:bodyPr>
            <a:lstStyle/>
            <a:p>
              <a:pPr marL="0" indent="0" algn="l">
                <a:lnSpc>
                  <a:spcPct val="85000"/>
                </a:lnSpc>
                <a:buClr>
                  <a:schemeClr val="bg2"/>
                </a:buClr>
                <a:buSzPct val="80000"/>
                <a:buFont typeface="Arial" panose="020B0604020202020204" pitchFamily="34" charset="0"/>
                <a:buNone/>
              </a:pPr>
              <a:r>
                <a:rPr lang="en-US" sz="1100" b="0" i="0" u="none" strike="noStrike" cap="none">
                  <a:solidFill>
                    <a:schemeClr val="bg1"/>
                  </a:solidFill>
                  <a:latin typeface="+mj-lt"/>
                  <a:cs typeface="Calibri" panose="020F0502020204030204" pitchFamily="34" charset="0"/>
                  <a:sym typeface="Calibri" panose="020F0502020204030204" pitchFamily="34" charset="0"/>
                </a:rPr>
                <a:t>Product </a:t>
              </a:r>
            </a:p>
            <a:p>
              <a:pPr marL="0" indent="0" algn="l">
                <a:lnSpc>
                  <a:spcPct val="85000"/>
                </a:lnSpc>
                <a:buClr>
                  <a:schemeClr val="bg2"/>
                </a:buClr>
                <a:buSzPct val="80000"/>
                <a:buFont typeface="Arial" panose="020B0604020202020204" pitchFamily="34" charset="0"/>
                <a:buNone/>
              </a:pPr>
              <a:r>
                <a:rPr lang="en-US" sz="1100" b="0" i="0" u="none" strike="noStrike" cap="none">
                  <a:solidFill>
                    <a:schemeClr val="bg1"/>
                  </a:solidFill>
                  <a:latin typeface="+mj-lt"/>
                  <a:cs typeface="Calibri" panose="020F0502020204030204" pitchFamily="34" charset="0"/>
                  <a:sym typeface="Calibri" panose="020F0502020204030204" pitchFamily="34" charset="0"/>
                </a:rPr>
                <a:t>Compliance</a:t>
              </a:r>
            </a:p>
          </p:txBody>
        </p:sp>
        <p:sp>
          <p:nvSpPr>
            <p:cNvPr id="63" name="TextBox 62">
              <a:extLst>
                <a:ext uri="{FF2B5EF4-FFF2-40B4-BE49-F238E27FC236}">
                  <a16:creationId xmlns:a16="http://schemas.microsoft.com/office/drawing/2014/main" id="{4B0E38FF-895D-BE3A-5C95-FCDD6B268187}"/>
                </a:ext>
              </a:extLst>
            </p:cNvPr>
            <p:cNvSpPr txBox="1"/>
            <p:nvPr/>
          </p:nvSpPr>
          <p:spPr>
            <a:xfrm>
              <a:off x="3238969" y="3330788"/>
              <a:ext cx="832996" cy="361693"/>
            </a:xfrm>
            <a:prstGeom prst="rect">
              <a:avLst/>
            </a:prstGeom>
            <a:solidFill>
              <a:srgbClr val="004A96"/>
            </a:solidFill>
          </p:spPr>
          <p:txBody>
            <a:bodyPr wrap="square" lIns="36000" tIns="36000" rIns="36000" bIns="36000" rtlCol="0">
              <a:spAutoFit/>
            </a:bodyPr>
            <a:lstStyle/>
            <a:p>
              <a:pPr marL="0" indent="0" algn="l">
                <a:lnSpc>
                  <a:spcPct val="85000"/>
                </a:lnSpc>
                <a:buClr>
                  <a:schemeClr val="bg2"/>
                </a:buClr>
                <a:buSzPct val="80000"/>
                <a:buFont typeface="Arial" panose="020B0604020202020204" pitchFamily="34" charset="0"/>
                <a:buNone/>
              </a:pPr>
              <a:r>
                <a:rPr lang="en-US" sz="1100" b="0" i="0" u="none" strike="noStrike" cap="none">
                  <a:solidFill>
                    <a:schemeClr val="bg1"/>
                  </a:solidFill>
                  <a:latin typeface="+mj-lt"/>
                  <a:cs typeface="Calibri" panose="020F0502020204030204" pitchFamily="34" charset="0"/>
                  <a:sym typeface="Calibri" panose="020F0502020204030204" pitchFamily="34" charset="0"/>
                </a:rPr>
                <a:t>Product </a:t>
              </a:r>
            </a:p>
            <a:p>
              <a:pPr marL="0" indent="0" algn="l">
                <a:lnSpc>
                  <a:spcPct val="85000"/>
                </a:lnSpc>
                <a:buClr>
                  <a:schemeClr val="bg2"/>
                </a:buClr>
                <a:buSzPct val="80000"/>
                <a:buFont typeface="Arial" panose="020B0604020202020204" pitchFamily="34" charset="0"/>
                <a:buNone/>
              </a:pPr>
              <a:r>
                <a:rPr lang="en-US" sz="1100" b="0" i="0" u="none" strike="noStrike" cap="none">
                  <a:solidFill>
                    <a:schemeClr val="bg1"/>
                  </a:solidFill>
                  <a:latin typeface="+mj-lt"/>
                  <a:cs typeface="Calibri" panose="020F0502020204030204" pitchFamily="34" charset="0"/>
                  <a:sym typeface="Calibri" panose="020F0502020204030204" pitchFamily="34" charset="0"/>
                </a:rPr>
                <a:t>Compliance</a:t>
              </a:r>
            </a:p>
          </p:txBody>
        </p:sp>
        <p:cxnSp>
          <p:nvCxnSpPr>
            <p:cNvPr id="64" name="Elbow Connector 63">
              <a:extLst>
                <a:ext uri="{FF2B5EF4-FFF2-40B4-BE49-F238E27FC236}">
                  <a16:creationId xmlns:a16="http://schemas.microsoft.com/office/drawing/2014/main" id="{A8B6ECF4-CABC-9A93-7DD9-6AA23F4BBFA1}"/>
                </a:ext>
              </a:extLst>
            </p:cNvPr>
            <p:cNvCxnSpPr>
              <a:cxnSpLocks/>
              <a:stCxn id="11" idx="1"/>
              <a:endCxn id="56" idx="3"/>
            </p:cNvCxnSpPr>
            <p:nvPr/>
          </p:nvCxnSpPr>
          <p:spPr>
            <a:xfrm rot="10800000">
              <a:off x="4126566" y="4703476"/>
              <a:ext cx="765468" cy="828132"/>
            </a:xfrm>
            <a:prstGeom prst="bentConnector3">
              <a:avLst>
                <a:gd name="adj1" fmla="val 50000"/>
              </a:avLst>
            </a:prstGeom>
            <a:ln w="25400">
              <a:solidFill>
                <a:schemeClr val="tx1">
                  <a:lumMod val="65000"/>
                  <a:lumOff val="35000"/>
                </a:schemeClr>
              </a:solidFill>
              <a:prstDash val="dash"/>
              <a:tailEnd type="triangle" w="med" len="lg"/>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B7E255E7-6909-75DA-7F0A-0677266CE7A7}"/>
                </a:ext>
              </a:extLst>
            </p:cNvPr>
            <p:cNvCxnSpPr>
              <a:cxnSpLocks/>
              <a:stCxn id="56" idx="0"/>
            </p:cNvCxnSpPr>
            <p:nvPr/>
          </p:nvCxnSpPr>
          <p:spPr>
            <a:xfrm flipH="1" flipV="1">
              <a:off x="3581717" y="4332582"/>
              <a:ext cx="1" cy="208265"/>
            </a:xfrm>
            <a:prstGeom prst="straightConnector1">
              <a:avLst/>
            </a:prstGeom>
            <a:ln w="25400">
              <a:solidFill>
                <a:schemeClr val="tx1">
                  <a:lumMod val="65000"/>
                  <a:lumOff val="35000"/>
                </a:schemeClr>
              </a:solidFill>
              <a:tailEnd type="triangle" w="med" len="lg"/>
            </a:ln>
          </p:spPr>
          <p:style>
            <a:lnRef idx="1">
              <a:schemeClr val="accent1"/>
            </a:lnRef>
            <a:fillRef idx="0">
              <a:schemeClr val="accent1"/>
            </a:fillRef>
            <a:effectRef idx="0">
              <a:schemeClr val="accent1"/>
            </a:effectRef>
            <a:fontRef idx="minor">
              <a:schemeClr val="tx1"/>
            </a:fontRef>
          </p:style>
        </p:cxnSp>
        <p:pic>
          <p:nvPicPr>
            <p:cNvPr id="66" name="Graphic 65">
              <a:extLst>
                <a:ext uri="{FF2B5EF4-FFF2-40B4-BE49-F238E27FC236}">
                  <a16:creationId xmlns:a16="http://schemas.microsoft.com/office/drawing/2014/main" id="{C7ED59B8-0F8A-0CF3-71FA-5CFC7D9A879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98812" y="3640927"/>
              <a:ext cx="715894" cy="715894"/>
            </a:xfrm>
            <a:prstGeom prst="rect">
              <a:avLst/>
            </a:prstGeom>
          </p:spPr>
        </p:pic>
        <p:cxnSp>
          <p:nvCxnSpPr>
            <p:cNvPr id="67" name="Straight Arrow Connector 66">
              <a:extLst>
                <a:ext uri="{FF2B5EF4-FFF2-40B4-BE49-F238E27FC236}">
                  <a16:creationId xmlns:a16="http://schemas.microsoft.com/office/drawing/2014/main" id="{C9145EC0-736E-BBCC-AD4E-D3A70994EF82}"/>
                </a:ext>
              </a:extLst>
            </p:cNvPr>
            <p:cNvCxnSpPr>
              <a:cxnSpLocks/>
            </p:cNvCxnSpPr>
            <p:nvPr/>
          </p:nvCxnSpPr>
          <p:spPr>
            <a:xfrm flipH="1" flipV="1">
              <a:off x="1827748" y="3511634"/>
              <a:ext cx="967133" cy="11033"/>
            </a:xfrm>
            <a:prstGeom prst="straightConnector1">
              <a:avLst/>
            </a:prstGeom>
            <a:ln w="25400">
              <a:solidFill>
                <a:schemeClr val="tx1">
                  <a:lumMod val="65000"/>
                  <a:lumOff val="35000"/>
                </a:schemeClr>
              </a:solidFill>
              <a:headEnd type="triangle" w="med" len="lg"/>
              <a:tailEnd type="none" w="med" len="lg"/>
            </a:ln>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249752B2-B67C-43E6-117C-BB516BFADE03}"/>
                </a:ext>
              </a:extLst>
            </p:cNvPr>
            <p:cNvSpPr>
              <a:spLocks noChangeAspect="1"/>
            </p:cNvSpPr>
            <p:nvPr/>
          </p:nvSpPr>
          <p:spPr>
            <a:xfrm>
              <a:off x="1049519" y="2386089"/>
              <a:ext cx="216000" cy="216000"/>
            </a:xfrm>
            <a:prstGeom prst="ellipse">
              <a:avLst/>
            </a:prstGeom>
            <a:solidFill>
              <a:srgbClr val="F39500"/>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1200">
                  <a:latin typeface="+mj-lt"/>
                </a:rPr>
                <a:t>ID</a:t>
              </a:r>
            </a:p>
          </p:txBody>
        </p:sp>
        <p:cxnSp>
          <p:nvCxnSpPr>
            <p:cNvPr id="69" name="Straight Arrow Connector 68">
              <a:extLst>
                <a:ext uri="{FF2B5EF4-FFF2-40B4-BE49-F238E27FC236}">
                  <a16:creationId xmlns:a16="http://schemas.microsoft.com/office/drawing/2014/main" id="{D966924C-7646-5179-752A-AD5B38BB2A4B}"/>
                </a:ext>
              </a:extLst>
            </p:cNvPr>
            <p:cNvCxnSpPr>
              <a:cxnSpLocks/>
            </p:cNvCxnSpPr>
            <p:nvPr/>
          </p:nvCxnSpPr>
          <p:spPr>
            <a:xfrm flipH="1" flipV="1">
              <a:off x="1787835" y="3599727"/>
              <a:ext cx="967133" cy="11033"/>
            </a:xfrm>
            <a:prstGeom prst="straightConnector1">
              <a:avLst/>
            </a:prstGeom>
            <a:ln w="25400">
              <a:solidFill>
                <a:schemeClr val="tx1">
                  <a:lumMod val="65000"/>
                  <a:lumOff val="35000"/>
                </a:schemeClr>
              </a:solidFill>
              <a:headEnd type="none" w="med" len="lg"/>
              <a:tailEnd type="triangle" w="med" len="lg"/>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B7A1F3FE-6733-F0D2-ABE2-7F838443180E}"/>
                </a:ext>
              </a:extLst>
            </p:cNvPr>
            <p:cNvSpPr txBox="1"/>
            <p:nvPr/>
          </p:nvSpPr>
          <p:spPr>
            <a:xfrm>
              <a:off x="1794261" y="3643890"/>
              <a:ext cx="1036868" cy="442035"/>
            </a:xfrm>
            <a:prstGeom prst="rect">
              <a:avLst/>
            </a:prstGeom>
            <a:noFill/>
          </p:spPr>
          <p:txBody>
            <a:bodyPr wrap="square" lIns="36000" tIns="36000" rIns="36000" bIns="36000" rtlCol="0">
              <a:spAutoFit/>
            </a:bodyPr>
            <a:lstStyle/>
            <a:p>
              <a:pPr marL="0" indent="0" algn="ctr">
                <a:buClr>
                  <a:schemeClr val="bg2"/>
                </a:buClr>
                <a:buSzPct val="80000"/>
                <a:buFont typeface="Arial" panose="020B0604020202020204" pitchFamily="34" charset="0"/>
                <a:buNone/>
              </a:pPr>
              <a:r>
                <a:rPr lang="en-US" sz="1200" b="0" i="0" u="none" strike="noStrike" cap="none">
                  <a:solidFill>
                    <a:schemeClr val="tx1">
                      <a:lumMod val="65000"/>
                      <a:lumOff val="35000"/>
                    </a:schemeClr>
                  </a:solidFill>
                  <a:latin typeface="+mj-lt"/>
                  <a:cs typeface="Calibri" panose="020F0502020204030204" pitchFamily="34" charset="0"/>
                  <a:sym typeface="Calibri" panose="020F0502020204030204" pitchFamily="34" charset="0"/>
                </a:rPr>
                <a:t>Data Access Right </a:t>
              </a:r>
              <a:r>
                <a:rPr lang="en-US" sz="1200" b="0" i="0" u="none" strike="noStrike" cap="none" err="1">
                  <a:solidFill>
                    <a:schemeClr val="tx1">
                      <a:lumMod val="65000"/>
                      <a:lumOff val="35000"/>
                    </a:schemeClr>
                  </a:solidFill>
                  <a:latin typeface="+mj-lt"/>
                  <a:cs typeface="Calibri" panose="020F0502020204030204" pitchFamily="34" charset="0"/>
                  <a:sym typeface="Calibri" panose="020F0502020204030204" pitchFamily="34" charset="0"/>
                </a:rPr>
                <a:t>Mgmt</a:t>
              </a:r>
              <a:endParaRPr lang="en-US" sz="1200" b="0" i="0" u="none" strike="noStrike" cap="none">
                <a:solidFill>
                  <a:schemeClr val="tx1">
                    <a:lumMod val="65000"/>
                    <a:lumOff val="35000"/>
                  </a:schemeClr>
                </a:solidFill>
                <a:latin typeface="+mj-lt"/>
                <a:cs typeface="Calibri" panose="020F0502020204030204" pitchFamily="34" charset="0"/>
                <a:sym typeface="Calibri" panose="020F0502020204030204" pitchFamily="34" charset="0"/>
              </a:endParaRPr>
            </a:p>
          </p:txBody>
        </p:sp>
        <p:sp>
          <p:nvSpPr>
            <p:cNvPr id="71" name="Rounded Rectangle 70">
              <a:extLst>
                <a:ext uri="{FF2B5EF4-FFF2-40B4-BE49-F238E27FC236}">
                  <a16:creationId xmlns:a16="http://schemas.microsoft.com/office/drawing/2014/main" id="{69E7326B-82E7-A2FC-F678-EA993762CE07}"/>
                </a:ext>
              </a:extLst>
            </p:cNvPr>
            <p:cNvSpPr/>
            <p:nvPr/>
          </p:nvSpPr>
          <p:spPr>
            <a:xfrm>
              <a:off x="4892034" y="1608376"/>
              <a:ext cx="1435395" cy="552893"/>
            </a:xfrm>
            <a:prstGeom prst="roundRect">
              <a:avLst/>
            </a:prstGeom>
            <a:solidFill>
              <a:schemeClr val="accent6"/>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atin typeface="+mj-lt"/>
                </a:rPr>
                <a:t>Third-Party (optional) </a:t>
              </a:r>
            </a:p>
          </p:txBody>
        </p:sp>
        <p:grpSp>
          <p:nvGrpSpPr>
            <p:cNvPr id="72" name="Group 71">
              <a:extLst>
                <a:ext uri="{FF2B5EF4-FFF2-40B4-BE49-F238E27FC236}">
                  <a16:creationId xmlns:a16="http://schemas.microsoft.com/office/drawing/2014/main" id="{8D591767-1E43-3E70-A119-A657B466BB7F}"/>
                </a:ext>
              </a:extLst>
            </p:cNvPr>
            <p:cNvGrpSpPr/>
            <p:nvPr/>
          </p:nvGrpSpPr>
          <p:grpSpPr>
            <a:xfrm>
              <a:off x="5090569" y="2161269"/>
              <a:ext cx="1089697" cy="338657"/>
              <a:chOff x="7068883" y="2476754"/>
              <a:chExt cx="1089697" cy="338657"/>
            </a:xfrm>
          </p:grpSpPr>
          <p:sp>
            <p:nvSpPr>
              <p:cNvPr id="73" name="Rectangle 72">
                <a:extLst>
                  <a:ext uri="{FF2B5EF4-FFF2-40B4-BE49-F238E27FC236}">
                    <a16:creationId xmlns:a16="http://schemas.microsoft.com/office/drawing/2014/main" id="{86AC9C7B-E54A-FBDD-CB5F-63ADA5C476E6}"/>
                  </a:ext>
                </a:extLst>
              </p:cNvPr>
              <p:cNvSpPr/>
              <p:nvPr/>
            </p:nvSpPr>
            <p:spPr>
              <a:xfrm>
                <a:off x="7068883" y="2476754"/>
                <a:ext cx="1089697" cy="325258"/>
              </a:xfrm>
              <a:prstGeom prst="rect">
                <a:avLst/>
              </a:prstGeom>
              <a:solidFill>
                <a:srgbClr val="00793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a:latin typeface="+mj-lt"/>
                  </a:rPr>
                  <a:t>Validation </a:t>
                </a:r>
              </a:p>
            </p:txBody>
          </p:sp>
          <p:pic>
            <p:nvPicPr>
              <p:cNvPr id="74" name="Graphic 73">
                <a:extLst>
                  <a:ext uri="{FF2B5EF4-FFF2-40B4-BE49-F238E27FC236}">
                    <a16:creationId xmlns:a16="http://schemas.microsoft.com/office/drawing/2014/main" id="{3854DF55-2E55-4805-9F84-5D5B1C94D8E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83830" y="2485574"/>
                <a:ext cx="329837" cy="329837"/>
              </a:xfrm>
              <a:prstGeom prst="rect">
                <a:avLst/>
              </a:prstGeom>
            </p:spPr>
          </p:pic>
        </p:grpSp>
        <p:cxnSp>
          <p:nvCxnSpPr>
            <p:cNvPr id="75" name="Elbow Connector 74">
              <a:extLst>
                <a:ext uri="{FF2B5EF4-FFF2-40B4-BE49-F238E27FC236}">
                  <a16:creationId xmlns:a16="http://schemas.microsoft.com/office/drawing/2014/main" id="{DB23DF2D-E34B-C64F-6145-F530E375401F}"/>
                </a:ext>
              </a:extLst>
            </p:cNvPr>
            <p:cNvCxnSpPr>
              <a:cxnSpLocks/>
              <a:stCxn id="73" idx="1"/>
              <a:endCxn id="62" idx="3"/>
            </p:cNvCxnSpPr>
            <p:nvPr/>
          </p:nvCxnSpPr>
          <p:spPr>
            <a:xfrm rot="10800000" flipV="1">
              <a:off x="4071967" y="2323897"/>
              <a:ext cx="1018603" cy="776643"/>
            </a:xfrm>
            <a:prstGeom prst="bentConnector3">
              <a:avLst>
                <a:gd name="adj1" fmla="val 50000"/>
              </a:avLst>
            </a:prstGeom>
            <a:ln w="25400">
              <a:solidFill>
                <a:schemeClr val="tx1">
                  <a:lumMod val="65000"/>
                  <a:lumOff val="35000"/>
                </a:schemeClr>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76" name="Elbow Connector 75">
              <a:extLst>
                <a:ext uri="{FF2B5EF4-FFF2-40B4-BE49-F238E27FC236}">
                  <a16:creationId xmlns:a16="http://schemas.microsoft.com/office/drawing/2014/main" id="{3C557070-D60E-76E0-FF21-CA296045D507}"/>
                </a:ext>
              </a:extLst>
            </p:cNvPr>
            <p:cNvCxnSpPr>
              <a:cxnSpLocks/>
              <a:stCxn id="73" idx="1"/>
              <a:endCxn id="63" idx="3"/>
            </p:cNvCxnSpPr>
            <p:nvPr/>
          </p:nvCxnSpPr>
          <p:spPr>
            <a:xfrm rot="10800000" flipV="1">
              <a:off x="4071965" y="2323897"/>
              <a:ext cx="1018604" cy="1187737"/>
            </a:xfrm>
            <a:prstGeom prst="bentConnector3">
              <a:avLst>
                <a:gd name="adj1" fmla="val 50000"/>
              </a:avLst>
            </a:prstGeom>
            <a:ln w="25400">
              <a:solidFill>
                <a:schemeClr val="tx1">
                  <a:lumMod val="65000"/>
                  <a:lumOff val="35000"/>
                </a:schemeClr>
              </a:solidFill>
              <a:tailEnd type="triangle" w="med" len="lg"/>
            </a:ln>
          </p:spPr>
          <p:style>
            <a:lnRef idx="1">
              <a:schemeClr val="accent1"/>
            </a:lnRef>
            <a:fillRef idx="0">
              <a:schemeClr val="accent1"/>
            </a:fillRef>
            <a:effectRef idx="0">
              <a:schemeClr val="accent1"/>
            </a:effectRef>
            <a:fontRef idx="minor">
              <a:schemeClr val="tx1"/>
            </a:fontRef>
          </p:style>
        </p:cxnSp>
        <p:sp>
          <p:nvSpPr>
            <p:cNvPr id="77" name="Rounded Rectangle 76">
              <a:extLst>
                <a:ext uri="{FF2B5EF4-FFF2-40B4-BE49-F238E27FC236}">
                  <a16:creationId xmlns:a16="http://schemas.microsoft.com/office/drawing/2014/main" id="{E41061FA-2DA6-752B-CF9A-56BB0B372E89}"/>
                </a:ext>
              </a:extLst>
            </p:cNvPr>
            <p:cNvSpPr/>
            <p:nvPr/>
          </p:nvSpPr>
          <p:spPr>
            <a:xfrm>
              <a:off x="4887769" y="2764003"/>
              <a:ext cx="1432338" cy="2242873"/>
            </a:xfrm>
            <a:prstGeom prst="roundRect">
              <a:avLst/>
            </a:prstGeom>
            <a:solidFill>
              <a:schemeClr val="accent6">
                <a:lumMod val="60000"/>
                <a:lumOff val="40000"/>
              </a:schemeClr>
            </a:solidFill>
            <a:ln w="349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78" name="Group 77">
              <a:extLst>
                <a:ext uri="{FF2B5EF4-FFF2-40B4-BE49-F238E27FC236}">
                  <a16:creationId xmlns:a16="http://schemas.microsoft.com/office/drawing/2014/main" id="{18298218-76CB-6015-AB6D-944A10E66D1E}"/>
                </a:ext>
              </a:extLst>
            </p:cNvPr>
            <p:cNvGrpSpPr/>
            <p:nvPr/>
          </p:nvGrpSpPr>
          <p:grpSpPr>
            <a:xfrm>
              <a:off x="5059089" y="4544551"/>
              <a:ext cx="1089697" cy="338657"/>
              <a:chOff x="7068883" y="2476754"/>
              <a:chExt cx="1089697" cy="338657"/>
            </a:xfrm>
          </p:grpSpPr>
          <p:sp>
            <p:nvSpPr>
              <p:cNvPr id="79" name="Rectangle 78">
                <a:extLst>
                  <a:ext uri="{FF2B5EF4-FFF2-40B4-BE49-F238E27FC236}">
                    <a16:creationId xmlns:a16="http://schemas.microsoft.com/office/drawing/2014/main" id="{1C2E3B4A-A3BB-9D4A-E428-F52AEE76C2E3}"/>
                  </a:ext>
                </a:extLst>
              </p:cNvPr>
              <p:cNvSpPr/>
              <p:nvPr/>
            </p:nvSpPr>
            <p:spPr>
              <a:xfrm>
                <a:off x="7068883" y="2476754"/>
                <a:ext cx="1089697" cy="325258"/>
              </a:xfrm>
              <a:prstGeom prst="rect">
                <a:avLst/>
              </a:prstGeom>
              <a:solidFill>
                <a:srgbClr val="00793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100">
                    <a:latin typeface="+mj-lt"/>
                  </a:rPr>
                  <a:t>Validation </a:t>
                </a:r>
              </a:p>
            </p:txBody>
          </p:sp>
          <p:pic>
            <p:nvPicPr>
              <p:cNvPr id="80" name="Graphic 79">
                <a:extLst>
                  <a:ext uri="{FF2B5EF4-FFF2-40B4-BE49-F238E27FC236}">
                    <a16:creationId xmlns:a16="http://schemas.microsoft.com/office/drawing/2014/main" id="{0AEBD85E-6051-D11B-D743-1089F14F319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83830" y="2485574"/>
                <a:ext cx="329837" cy="329837"/>
              </a:xfrm>
              <a:prstGeom prst="rect">
                <a:avLst/>
              </a:prstGeom>
            </p:spPr>
          </p:pic>
        </p:grpSp>
        <p:sp>
          <p:nvSpPr>
            <p:cNvPr id="81" name="Rounded Rectangle 80">
              <a:extLst>
                <a:ext uri="{FF2B5EF4-FFF2-40B4-BE49-F238E27FC236}">
                  <a16:creationId xmlns:a16="http://schemas.microsoft.com/office/drawing/2014/main" id="{4A952B76-904D-C52B-8498-A8411B346366}"/>
                </a:ext>
              </a:extLst>
            </p:cNvPr>
            <p:cNvSpPr/>
            <p:nvPr/>
          </p:nvSpPr>
          <p:spPr>
            <a:xfrm>
              <a:off x="4921151" y="2857174"/>
              <a:ext cx="1359516" cy="1572530"/>
            </a:xfrm>
            <a:prstGeom prst="roundRect">
              <a:avLst/>
            </a:prstGeom>
            <a:solidFill>
              <a:schemeClr val="bg1"/>
            </a:solidFill>
            <a:ln w="349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pic>
          <p:nvPicPr>
            <p:cNvPr id="82" name="Graphic 81">
              <a:extLst>
                <a:ext uri="{FF2B5EF4-FFF2-40B4-BE49-F238E27FC236}">
                  <a16:creationId xmlns:a16="http://schemas.microsoft.com/office/drawing/2014/main" id="{4F17544C-27D8-1FF2-92E6-BE2E18097B8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52660" y="3893850"/>
              <a:ext cx="283050" cy="283050"/>
            </a:xfrm>
            <a:prstGeom prst="rect">
              <a:avLst/>
            </a:prstGeom>
          </p:spPr>
        </p:pic>
        <p:sp>
          <p:nvSpPr>
            <p:cNvPr id="83" name="TextBox 82">
              <a:extLst>
                <a:ext uri="{FF2B5EF4-FFF2-40B4-BE49-F238E27FC236}">
                  <a16:creationId xmlns:a16="http://schemas.microsoft.com/office/drawing/2014/main" id="{23872360-0244-0EAC-A06A-C816FF23B1D6}"/>
                </a:ext>
              </a:extLst>
            </p:cNvPr>
            <p:cNvSpPr txBox="1"/>
            <p:nvPr/>
          </p:nvSpPr>
          <p:spPr>
            <a:xfrm>
              <a:off x="5063322" y="3974593"/>
              <a:ext cx="832996" cy="361693"/>
            </a:xfrm>
            <a:prstGeom prst="rect">
              <a:avLst/>
            </a:prstGeom>
            <a:solidFill>
              <a:srgbClr val="004A96"/>
            </a:solidFill>
          </p:spPr>
          <p:txBody>
            <a:bodyPr wrap="square" lIns="36000" tIns="36000" rIns="36000" bIns="36000" rtlCol="0">
              <a:spAutoFit/>
            </a:bodyPr>
            <a:lstStyle/>
            <a:p>
              <a:pPr marL="0" indent="0" algn="l">
                <a:lnSpc>
                  <a:spcPct val="85000"/>
                </a:lnSpc>
                <a:buClr>
                  <a:schemeClr val="bg2"/>
                </a:buClr>
                <a:buSzPct val="80000"/>
                <a:buFont typeface="Arial" panose="020B0604020202020204" pitchFamily="34" charset="0"/>
                <a:buNone/>
              </a:pPr>
              <a:r>
                <a:rPr lang="en-US" sz="1100" b="0" i="0" u="none" strike="noStrike" cap="none">
                  <a:solidFill>
                    <a:schemeClr val="bg1"/>
                  </a:solidFill>
                  <a:latin typeface="+mj-lt"/>
                  <a:cs typeface="Calibri" panose="020F0502020204030204" pitchFamily="34" charset="0"/>
                  <a:sym typeface="Calibri" panose="020F0502020204030204" pitchFamily="34" charset="0"/>
                </a:rPr>
                <a:t>Product </a:t>
              </a:r>
            </a:p>
            <a:p>
              <a:pPr marL="0" indent="0" algn="l">
                <a:lnSpc>
                  <a:spcPct val="85000"/>
                </a:lnSpc>
                <a:buClr>
                  <a:schemeClr val="bg2"/>
                </a:buClr>
                <a:buSzPct val="80000"/>
                <a:buFont typeface="Arial" panose="020B0604020202020204" pitchFamily="34" charset="0"/>
                <a:buNone/>
              </a:pPr>
              <a:r>
                <a:rPr lang="en-US" sz="1100" b="0" i="0" u="none" strike="noStrike" cap="none">
                  <a:solidFill>
                    <a:schemeClr val="bg1"/>
                  </a:solidFill>
                  <a:latin typeface="+mj-lt"/>
                  <a:cs typeface="Calibri" panose="020F0502020204030204" pitchFamily="34" charset="0"/>
                  <a:sym typeface="Calibri" panose="020F0502020204030204" pitchFamily="34" charset="0"/>
                </a:rPr>
                <a:t>Information</a:t>
              </a:r>
            </a:p>
          </p:txBody>
        </p:sp>
        <p:sp>
          <p:nvSpPr>
            <p:cNvPr id="84" name="TextBox 83">
              <a:extLst>
                <a:ext uri="{FF2B5EF4-FFF2-40B4-BE49-F238E27FC236}">
                  <a16:creationId xmlns:a16="http://schemas.microsoft.com/office/drawing/2014/main" id="{D5B6D23E-0AE9-E933-3529-25AF9061ABF2}"/>
                </a:ext>
              </a:extLst>
            </p:cNvPr>
            <p:cNvSpPr txBox="1"/>
            <p:nvPr/>
          </p:nvSpPr>
          <p:spPr>
            <a:xfrm>
              <a:off x="5261190" y="2923398"/>
              <a:ext cx="832996" cy="361693"/>
            </a:xfrm>
            <a:prstGeom prst="rect">
              <a:avLst/>
            </a:prstGeom>
            <a:solidFill>
              <a:srgbClr val="004A96"/>
            </a:solidFill>
          </p:spPr>
          <p:txBody>
            <a:bodyPr wrap="square" lIns="36000" tIns="36000" rIns="36000" bIns="36000" rtlCol="0">
              <a:spAutoFit/>
            </a:bodyPr>
            <a:lstStyle/>
            <a:p>
              <a:pPr marL="0" indent="0" algn="l">
                <a:lnSpc>
                  <a:spcPct val="85000"/>
                </a:lnSpc>
                <a:buClr>
                  <a:schemeClr val="bg2"/>
                </a:buClr>
                <a:buSzPct val="80000"/>
                <a:buFont typeface="Arial" panose="020B0604020202020204" pitchFamily="34" charset="0"/>
                <a:buNone/>
              </a:pPr>
              <a:r>
                <a:rPr lang="en-US" sz="1100" b="0" i="0" u="none" strike="noStrike" cap="none">
                  <a:solidFill>
                    <a:schemeClr val="bg1"/>
                  </a:solidFill>
                  <a:latin typeface="+mj-lt"/>
                  <a:cs typeface="Calibri" panose="020F0502020204030204" pitchFamily="34" charset="0"/>
                  <a:sym typeface="Calibri" panose="020F0502020204030204" pitchFamily="34" charset="0"/>
                </a:rPr>
                <a:t>Product </a:t>
              </a:r>
            </a:p>
            <a:p>
              <a:pPr marL="0" indent="0" algn="l">
                <a:lnSpc>
                  <a:spcPct val="85000"/>
                </a:lnSpc>
                <a:buClr>
                  <a:schemeClr val="bg2"/>
                </a:buClr>
                <a:buSzPct val="80000"/>
                <a:buFont typeface="Arial" panose="020B0604020202020204" pitchFamily="34" charset="0"/>
                <a:buNone/>
              </a:pPr>
              <a:r>
                <a:rPr lang="en-US" sz="1100" b="0" i="0" u="none" strike="noStrike" cap="none">
                  <a:solidFill>
                    <a:schemeClr val="bg1"/>
                  </a:solidFill>
                  <a:latin typeface="+mj-lt"/>
                  <a:cs typeface="Calibri" panose="020F0502020204030204" pitchFamily="34" charset="0"/>
                  <a:sym typeface="Calibri" panose="020F0502020204030204" pitchFamily="34" charset="0"/>
                </a:rPr>
                <a:t>Compliance</a:t>
              </a:r>
            </a:p>
          </p:txBody>
        </p:sp>
        <p:sp>
          <p:nvSpPr>
            <p:cNvPr id="85" name="TextBox 84">
              <a:extLst>
                <a:ext uri="{FF2B5EF4-FFF2-40B4-BE49-F238E27FC236}">
                  <a16:creationId xmlns:a16="http://schemas.microsoft.com/office/drawing/2014/main" id="{A659989B-9293-9558-4627-C1B8814620C9}"/>
                </a:ext>
              </a:extLst>
            </p:cNvPr>
            <p:cNvSpPr txBox="1"/>
            <p:nvPr/>
          </p:nvSpPr>
          <p:spPr>
            <a:xfrm>
              <a:off x="5261189" y="3334492"/>
              <a:ext cx="832996" cy="361693"/>
            </a:xfrm>
            <a:prstGeom prst="rect">
              <a:avLst/>
            </a:prstGeom>
            <a:solidFill>
              <a:srgbClr val="004A96"/>
            </a:solidFill>
          </p:spPr>
          <p:txBody>
            <a:bodyPr wrap="square" lIns="36000" tIns="36000" rIns="36000" bIns="36000" rtlCol="0">
              <a:spAutoFit/>
            </a:bodyPr>
            <a:lstStyle/>
            <a:p>
              <a:pPr marL="0" indent="0" algn="l">
                <a:lnSpc>
                  <a:spcPct val="85000"/>
                </a:lnSpc>
                <a:buClr>
                  <a:schemeClr val="bg2"/>
                </a:buClr>
                <a:buSzPct val="80000"/>
                <a:buFont typeface="Arial" panose="020B0604020202020204" pitchFamily="34" charset="0"/>
                <a:buNone/>
              </a:pPr>
              <a:r>
                <a:rPr lang="en-US" sz="1100" b="0" i="0" u="none" strike="noStrike" cap="none">
                  <a:solidFill>
                    <a:schemeClr val="bg1"/>
                  </a:solidFill>
                  <a:latin typeface="+mj-lt"/>
                  <a:cs typeface="Calibri" panose="020F0502020204030204" pitchFamily="34" charset="0"/>
                  <a:sym typeface="Calibri" panose="020F0502020204030204" pitchFamily="34" charset="0"/>
                </a:rPr>
                <a:t>Product </a:t>
              </a:r>
            </a:p>
            <a:p>
              <a:pPr marL="0" indent="0" algn="l">
                <a:lnSpc>
                  <a:spcPct val="85000"/>
                </a:lnSpc>
                <a:buClr>
                  <a:schemeClr val="bg2"/>
                </a:buClr>
                <a:buSzPct val="80000"/>
                <a:buFont typeface="Arial" panose="020B0604020202020204" pitchFamily="34" charset="0"/>
                <a:buNone/>
              </a:pPr>
              <a:r>
                <a:rPr lang="en-US" sz="1100" b="0" i="0" u="none" strike="noStrike" cap="none">
                  <a:solidFill>
                    <a:schemeClr val="bg1"/>
                  </a:solidFill>
                  <a:latin typeface="+mj-lt"/>
                  <a:cs typeface="Calibri" panose="020F0502020204030204" pitchFamily="34" charset="0"/>
                  <a:sym typeface="Calibri" panose="020F0502020204030204" pitchFamily="34" charset="0"/>
                </a:rPr>
                <a:t>Compliance</a:t>
              </a:r>
            </a:p>
          </p:txBody>
        </p:sp>
        <p:cxnSp>
          <p:nvCxnSpPr>
            <p:cNvPr id="86" name="Straight Arrow Connector 85">
              <a:extLst>
                <a:ext uri="{FF2B5EF4-FFF2-40B4-BE49-F238E27FC236}">
                  <a16:creationId xmlns:a16="http://schemas.microsoft.com/office/drawing/2014/main" id="{CB85BB57-6876-0FEB-9AAF-5052346732B1}"/>
                </a:ext>
              </a:extLst>
            </p:cNvPr>
            <p:cNvCxnSpPr>
              <a:cxnSpLocks/>
            </p:cNvCxnSpPr>
            <p:nvPr/>
          </p:nvCxnSpPr>
          <p:spPr>
            <a:xfrm flipH="1" flipV="1">
              <a:off x="5603937" y="4336286"/>
              <a:ext cx="1" cy="208265"/>
            </a:xfrm>
            <a:prstGeom prst="straightConnector1">
              <a:avLst/>
            </a:prstGeom>
            <a:ln w="25400">
              <a:solidFill>
                <a:schemeClr val="tx1">
                  <a:lumMod val="65000"/>
                  <a:lumOff val="35000"/>
                </a:schemeClr>
              </a:solidFill>
              <a:tailEnd type="triangle" w="med" len="lg"/>
            </a:ln>
          </p:spPr>
          <p:style>
            <a:lnRef idx="1">
              <a:schemeClr val="accent1"/>
            </a:lnRef>
            <a:fillRef idx="0">
              <a:schemeClr val="accent1"/>
            </a:fillRef>
            <a:effectRef idx="0">
              <a:schemeClr val="accent1"/>
            </a:effectRef>
            <a:fontRef idx="minor">
              <a:schemeClr val="tx1"/>
            </a:fontRef>
          </p:style>
        </p:cxnSp>
        <p:sp>
          <p:nvSpPr>
            <p:cNvPr id="87" name="Oval 86">
              <a:extLst>
                <a:ext uri="{FF2B5EF4-FFF2-40B4-BE49-F238E27FC236}">
                  <a16:creationId xmlns:a16="http://schemas.microsoft.com/office/drawing/2014/main" id="{EBDE2FF5-F03D-F42C-812B-245E1EADC125}"/>
                </a:ext>
              </a:extLst>
            </p:cNvPr>
            <p:cNvSpPr>
              <a:spLocks noChangeAspect="1"/>
            </p:cNvSpPr>
            <p:nvPr/>
          </p:nvSpPr>
          <p:spPr>
            <a:xfrm>
              <a:off x="4938084" y="3786739"/>
              <a:ext cx="216000" cy="216000"/>
            </a:xfrm>
            <a:prstGeom prst="ellipse">
              <a:avLst/>
            </a:prstGeom>
            <a:solidFill>
              <a:srgbClr val="F39500"/>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1200">
                  <a:latin typeface="+mj-lt"/>
                </a:rPr>
                <a:t>ID</a:t>
              </a:r>
            </a:p>
          </p:txBody>
        </p:sp>
        <p:sp>
          <p:nvSpPr>
            <p:cNvPr id="88" name="Oval 87">
              <a:extLst>
                <a:ext uri="{FF2B5EF4-FFF2-40B4-BE49-F238E27FC236}">
                  <a16:creationId xmlns:a16="http://schemas.microsoft.com/office/drawing/2014/main" id="{9BB08B06-00C8-F5BE-D536-2C0FD780B333}"/>
                </a:ext>
              </a:extLst>
            </p:cNvPr>
            <p:cNvSpPr>
              <a:spLocks noChangeAspect="1"/>
            </p:cNvSpPr>
            <p:nvPr/>
          </p:nvSpPr>
          <p:spPr>
            <a:xfrm>
              <a:off x="2921375" y="3815671"/>
              <a:ext cx="216000" cy="216000"/>
            </a:xfrm>
            <a:prstGeom prst="ellipse">
              <a:avLst/>
            </a:prstGeom>
            <a:solidFill>
              <a:srgbClr val="F39500"/>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1200">
                  <a:latin typeface="+mj-lt"/>
                </a:rPr>
                <a:t>ID</a:t>
              </a:r>
            </a:p>
          </p:txBody>
        </p:sp>
        <p:sp>
          <p:nvSpPr>
            <p:cNvPr id="89" name="TextBox 88">
              <a:extLst>
                <a:ext uri="{FF2B5EF4-FFF2-40B4-BE49-F238E27FC236}">
                  <a16:creationId xmlns:a16="http://schemas.microsoft.com/office/drawing/2014/main" id="{2D7003E9-7903-6B2D-900D-AC40485F5F52}"/>
                </a:ext>
              </a:extLst>
            </p:cNvPr>
            <p:cNvSpPr txBox="1"/>
            <p:nvPr/>
          </p:nvSpPr>
          <p:spPr>
            <a:xfrm>
              <a:off x="120644" y="2962144"/>
              <a:ext cx="1310755" cy="257369"/>
            </a:xfrm>
            <a:prstGeom prst="rect">
              <a:avLst/>
            </a:prstGeom>
            <a:noFill/>
          </p:spPr>
          <p:txBody>
            <a:bodyPr wrap="square" lIns="36000" tIns="36000" rIns="36000" bIns="36000" rtlCol="0">
              <a:spAutoFit/>
            </a:bodyPr>
            <a:lstStyle/>
            <a:p>
              <a:pPr marL="0" indent="0" algn="r">
                <a:buClr>
                  <a:schemeClr val="bg2"/>
                </a:buClr>
                <a:buSzPct val="80000"/>
                <a:buFont typeface="Arial" panose="020B0604020202020204" pitchFamily="34" charset="0"/>
                <a:buNone/>
              </a:pPr>
              <a:r>
                <a:rPr lang="en-US" sz="1200" b="0" i="0" u="none" strike="noStrike" cap="none">
                  <a:solidFill>
                    <a:schemeClr val="tx1">
                      <a:lumMod val="65000"/>
                      <a:lumOff val="35000"/>
                    </a:schemeClr>
                  </a:solidFill>
                  <a:latin typeface="+mj-lt"/>
                  <a:cs typeface="Calibri" panose="020F0502020204030204" pitchFamily="34" charset="0"/>
                  <a:sym typeface="Calibri" panose="020F0502020204030204" pitchFamily="34" charset="0"/>
                </a:rPr>
                <a:t>Link to product</a:t>
              </a:r>
            </a:p>
          </p:txBody>
        </p:sp>
        <p:sp>
          <p:nvSpPr>
            <p:cNvPr id="104" name="TextBox 103">
              <a:extLst>
                <a:ext uri="{FF2B5EF4-FFF2-40B4-BE49-F238E27FC236}">
                  <a16:creationId xmlns:a16="http://schemas.microsoft.com/office/drawing/2014/main" id="{00224890-6AF3-C025-0861-82C5B7DCEF07}"/>
                </a:ext>
              </a:extLst>
            </p:cNvPr>
            <p:cNvSpPr txBox="1"/>
            <p:nvPr/>
          </p:nvSpPr>
          <p:spPr>
            <a:xfrm>
              <a:off x="226801" y="3687030"/>
              <a:ext cx="1032100" cy="781102"/>
            </a:xfrm>
            <a:prstGeom prst="rect">
              <a:avLst/>
            </a:prstGeom>
            <a:noFill/>
          </p:spPr>
          <p:txBody>
            <a:bodyPr wrap="square" lIns="36000" tIns="36000" rIns="36000" bIns="36000" rtlCol="0">
              <a:spAutoFit/>
            </a:bodyPr>
            <a:lstStyle/>
            <a:p>
              <a:pPr marL="0" indent="0">
                <a:lnSpc>
                  <a:spcPct val="85000"/>
                </a:lnSpc>
                <a:buClr>
                  <a:schemeClr val="bg2"/>
                </a:buClr>
                <a:buSzPct val="80000"/>
                <a:buFont typeface="Arial" panose="020B0604020202020204" pitchFamily="34" charset="0"/>
                <a:buNone/>
              </a:pPr>
              <a:r>
                <a:rPr lang="en-US" b="1" u="sng">
                  <a:solidFill>
                    <a:schemeClr val="accent1"/>
                  </a:solidFill>
                  <a:latin typeface="+mj-lt"/>
                  <a:cs typeface="Calibri" panose="020F0502020204030204" pitchFamily="34" charset="0"/>
                  <a:sym typeface="Calibri" panose="020F0502020204030204" pitchFamily="34" charset="0"/>
                </a:rPr>
                <a:t>D</a:t>
              </a:r>
              <a:r>
                <a:rPr lang="en-US" b="0" i="0" u="none" strike="noStrike" cap="none">
                  <a:solidFill>
                    <a:schemeClr val="accent1"/>
                  </a:solidFill>
                  <a:latin typeface="+mj-lt"/>
                  <a:cs typeface="Calibri" panose="020F0502020204030204" pitchFamily="34" charset="0"/>
                  <a:sym typeface="Calibri" panose="020F0502020204030204" pitchFamily="34" charset="0"/>
                </a:rPr>
                <a:t>igital </a:t>
              </a:r>
            </a:p>
            <a:p>
              <a:pPr marL="0" indent="0">
                <a:lnSpc>
                  <a:spcPct val="85000"/>
                </a:lnSpc>
                <a:buClr>
                  <a:schemeClr val="bg2"/>
                </a:buClr>
                <a:buSzPct val="80000"/>
                <a:buFont typeface="Arial" panose="020B0604020202020204" pitchFamily="34" charset="0"/>
                <a:buNone/>
              </a:pPr>
              <a:r>
                <a:rPr lang="en-US" b="1" i="0" u="sng" strike="noStrike" cap="none">
                  <a:solidFill>
                    <a:schemeClr val="accent1"/>
                  </a:solidFill>
                  <a:latin typeface="+mj-lt"/>
                  <a:cs typeface="Calibri" panose="020F0502020204030204" pitchFamily="34" charset="0"/>
                  <a:sym typeface="Calibri" panose="020F0502020204030204" pitchFamily="34" charset="0"/>
                </a:rPr>
                <a:t>P</a:t>
              </a:r>
              <a:r>
                <a:rPr lang="en-US" b="0" i="0" u="none" strike="noStrike" cap="none">
                  <a:solidFill>
                    <a:schemeClr val="accent1"/>
                  </a:solidFill>
                  <a:latin typeface="+mj-lt"/>
                  <a:cs typeface="Calibri" panose="020F0502020204030204" pitchFamily="34" charset="0"/>
                  <a:sym typeface="Calibri" panose="020F0502020204030204" pitchFamily="34" charset="0"/>
                </a:rPr>
                <a:t>roduct </a:t>
              </a:r>
            </a:p>
            <a:p>
              <a:pPr marL="0" indent="0">
                <a:lnSpc>
                  <a:spcPct val="85000"/>
                </a:lnSpc>
                <a:buClr>
                  <a:schemeClr val="bg2"/>
                </a:buClr>
                <a:buSzPct val="80000"/>
                <a:buFont typeface="Arial" panose="020B0604020202020204" pitchFamily="34" charset="0"/>
                <a:buNone/>
              </a:pPr>
              <a:r>
                <a:rPr lang="en-US" b="1" i="0" u="sng" strike="noStrike" cap="none">
                  <a:solidFill>
                    <a:schemeClr val="accent1"/>
                  </a:solidFill>
                  <a:latin typeface="+mj-lt"/>
                  <a:cs typeface="Calibri" panose="020F0502020204030204" pitchFamily="34" charset="0"/>
                  <a:sym typeface="Calibri" panose="020F0502020204030204" pitchFamily="34" charset="0"/>
                </a:rPr>
                <a:t>P</a:t>
              </a:r>
              <a:r>
                <a:rPr lang="en-US" b="0" i="0" u="none" strike="noStrike" cap="none">
                  <a:solidFill>
                    <a:schemeClr val="accent1"/>
                  </a:solidFill>
                  <a:latin typeface="+mj-lt"/>
                  <a:cs typeface="Calibri" panose="020F0502020204030204" pitchFamily="34" charset="0"/>
                  <a:sym typeface="Calibri" panose="020F0502020204030204" pitchFamily="34" charset="0"/>
                </a:rPr>
                <a:t>assport</a:t>
              </a:r>
            </a:p>
          </p:txBody>
        </p:sp>
        <p:sp>
          <p:nvSpPr>
            <p:cNvPr id="107" name="Oval 106">
              <a:extLst>
                <a:ext uri="{FF2B5EF4-FFF2-40B4-BE49-F238E27FC236}">
                  <a16:creationId xmlns:a16="http://schemas.microsoft.com/office/drawing/2014/main" id="{0495B359-C187-73F0-4C53-19A4F5A85E1E}"/>
                </a:ext>
              </a:extLst>
            </p:cNvPr>
            <p:cNvSpPr>
              <a:spLocks noChangeAspect="1"/>
            </p:cNvSpPr>
            <p:nvPr/>
          </p:nvSpPr>
          <p:spPr>
            <a:xfrm>
              <a:off x="4802640" y="5053125"/>
              <a:ext cx="216000" cy="216000"/>
            </a:xfrm>
            <a:prstGeom prst="ellipse">
              <a:avLst/>
            </a:prstGeom>
            <a:solidFill>
              <a:srgbClr val="F39500"/>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1200">
                  <a:latin typeface="+mj-lt"/>
                </a:rPr>
                <a:t>ID</a:t>
              </a:r>
            </a:p>
          </p:txBody>
        </p:sp>
        <p:sp>
          <p:nvSpPr>
            <p:cNvPr id="108" name="Oval 107">
              <a:extLst>
                <a:ext uri="{FF2B5EF4-FFF2-40B4-BE49-F238E27FC236}">
                  <a16:creationId xmlns:a16="http://schemas.microsoft.com/office/drawing/2014/main" id="{8D6833ED-648B-3A30-9550-39CCA06070AF}"/>
                </a:ext>
              </a:extLst>
            </p:cNvPr>
            <p:cNvSpPr>
              <a:spLocks noChangeAspect="1"/>
            </p:cNvSpPr>
            <p:nvPr/>
          </p:nvSpPr>
          <p:spPr>
            <a:xfrm>
              <a:off x="4779769" y="1421423"/>
              <a:ext cx="216000" cy="216000"/>
            </a:xfrm>
            <a:prstGeom prst="ellipse">
              <a:avLst/>
            </a:prstGeom>
            <a:solidFill>
              <a:srgbClr val="F39500"/>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1200">
                  <a:latin typeface="+mj-lt"/>
                </a:rPr>
                <a:t>ID</a:t>
              </a:r>
            </a:p>
          </p:txBody>
        </p:sp>
      </p:grpSp>
    </p:spTree>
    <p:extLst>
      <p:ext uri="{BB962C8B-B14F-4D97-AF65-F5344CB8AC3E}">
        <p14:creationId xmlns:p14="http://schemas.microsoft.com/office/powerpoint/2010/main" val="6491018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8B537D-161C-2CC9-DD0E-C3EC447AFAA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8ACBA5D2-F6BC-4862-9F64-F9B9ADDED3F3}"/>
              </a:ext>
            </a:extLst>
          </p:cNvPr>
          <p:cNvSpPr>
            <a:spLocks noGrp="1"/>
          </p:cNvSpPr>
          <p:nvPr>
            <p:ph type="title"/>
          </p:nvPr>
        </p:nvSpPr>
        <p:spPr/>
        <p:txBody>
          <a:bodyPr/>
          <a:lstStyle/>
          <a:p>
            <a:r>
              <a:rPr lang="en-US" dirty="0"/>
              <a:t>Don’t let yourself be Swept Away by the Regulatory Tsunami</a:t>
            </a:r>
          </a:p>
        </p:txBody>
      </p:sp>
      <p:sp>
        <p:nvSpPr>
          <p:cNvPr id="2" name="Date Placeholder 1">
            <a:extLst>
              <a:ext uri="{FF2B5EF4-FFF2-40B4-BE49-F238E27FC236}">
                <a16:creationId xmlns:a16="http://schemas.microsoft.com/office/drawing/2014/main" id="{EE866318-F048-CC0F-9E17-5D3E4F08F014}"/>
              </a:ext>
            </a:extLst>
          </p:cNvPr>
          <p:cNvSpPr>
            <a:spLocks noGrp="1"/>
          </p:cNvSpPr>
          <p:nvPr>
            <p:ph type="dt" sz="half" idx="11"/>
          </p:nvPr>
        </p:nvSpPr>
        <p:spPr>
          <a:prstGeom prst="rect">
            <a:avLst/>
          </a:prstGeom>
        </p:spPr>
        <p:txBody>
          <a:bodyPr wrap="none" lIns="0" tIns="0" rIns="0" bIns="0"/>
          <a:lstStyle>
            <a:defPPr>
              <a:defRPr lang="de-DE"/>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010B03-D230-4701-9F37-B6F131066B93}" type="datetime1">
              <a:rPr lang="de-DE" smtClean="0"/>
              <a:pPr/>
              <a:t>16.02.25</a:t>
            </a:fld>
            <a:endParaRPr lang="de-DE"/>
          </a:p>
        </p:txBody>
      </p:sp>
      <p:sp>
        <p:nvSpPr>
          <p:cNvPr id="4" name="Slide Number Placeholder 3">
            <a:extLst>
              <a:ext uri="{FF2B5EF4-FFF2-40B4-BE49-F238E27FC236}">
                <a16:creationId xmlns:a16="http://schemas.microsoft.com/office/drawing/2014/main" id="{0D158662-34AD-3304-F21F-E6613ABDFD61}"/>
              </a:ext>
            </a:extLst>
          </p:cNvPr>
          <p:cNvSpPr>
            <a:spLocks noGrp="1"/>
          </p:cNvSpPr>
          <p:nvPr>
            <p:ph type="sldNum" sz="quarter" idx="12"/>
          </p:nvPr>
        </p:nvSpPr>
        <p:spPr>
          <a:prstGeom prst="rect">
            <a:avLst/>
          </a:prstGeom>
        </p:spPr>
        <p:txBody>
          <a:bodyPr lIns="0" tIns="0" rIns="0" bIns="0"/>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2EA1D04-CA53-4DE3-84A8-2B63E41036C9}" type="slidenum">
              <a:rPr lang="de-DE" smtClean="0"/>
              <a:pPr/>
              <a:t>2</a:t>
            </a:fld>
            <a:endParaRPr lang="de-DE"/>
          </a:p>
        </p:txBody>
      </p:sp>
      <p:pic>
        <p:nvPicPr>
          <p:cNvPr id="15" name="Picture 14" descr="A wave of papers and city&#10;&#10;AI-generated content may be incorrect.">
            <a:extLst>
              <a:ext uri="{FF2B5EF4-FFF2-40B4-BE49-F238E27FC236}">
                <a16:creationId xmlns:a16="http://schemas.microsoft.com/office/drawing/2014/main" id="{BEC6BDFF-C043-2821-ABF9-C0322FA775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79850" y="1473201"/>
            <a:ext cx="7772400" cy="4441371"/>
          </a:xfrm>
          <a:prstGeom prst="rect">
            <a:avLst/>
          </a:prstGeom>
        </p:spPr>
      </p:pic>
      <p:sp>
        <p:nvSpPr>
          <p:cNvPr id="6" name="TextBox 5">
            <a:extLst>
              <a:ext uri="{FF2B5EF4-FFF2-40B4-BE49-F238E27FC236}">
                <a16:creationId xmlns:a16="http://schemas.microsoft.com/office/drawing/2014/main" id="{0AFBD80D-AB7A-9955-6135-CC4780FA66C4}"/>
              </a:ext>
            </a:extLst>
          </p:cNvPr>
          <p:cNvSpPr txBox="1"/>
          <p:nvPr/>
        </p:nvSpPr>
        <p:spPr>
          <a:xfrm>
            <a:off x="302547" y="2024064"/>
            <a:ext cx="1075615" cy="430887"/>
          </a:xfrm>
          <a:prstGeom prst="rect">
            <a:avLst/>
          </a:prstGeom>
          <a:noFill/>
        </p:spPr>
        <p:txBody>
          <a:bodyPr wrap="none" lIns="0" tIns="0" rIns="0" bIns="0" rtlCol="0">
            <a:spAutoFit/>
          </a:bodyPr>
          <a:lstStyle/>
          <a:p>
            <a:r>
              <a:rPr lang="en-US" sz="2800" b="1" dirty="0">
                <a:solidFill>
                  <a:schemeClr val="accent1"/>
                </a:solidFill>
              </a:rPr>
              <a:t>PPWD</a:t>
            </a:r>
            <a:endParaRPr lang="en-US" b="1" dirty="0">
              <a:solidFill>
                <a:schemeClr val="accent1"/>
              </a:solidFill>
            </a:endParaRPr>
          </a:p>
        </p:txBody>
      </p:sp>
      <p:sp>
        <p:nvSpPr>
          <p:cNvPr id="8" name="TextBox 7">
            <a:extLst>
              <a:ext uri="{FF2B5EF4-FFF2-40B4-BE49-F238E27FC236}">
                <a16:creationId xmlns:a16="http://schemas.microsoft.com/office/drawing/2014/main" id="{F9BEA7FD-6491-7FE7-DFA1-81B1F27EC531}"/>
              </a:ext>
            </a:extLst>
          </p:cNvPr>
          <p:cNvSpPr txBox="1"/>
          <p:nvPr/>
        </p:nvSpPr>
        <p:spPr>
          <a:xfrm>
            <a:off x="512859" y="2454950"/>
            <a:ext cx="2253683" cy="959430"/>
          </a:xfrm>
          <a:prstGeom prst="rect">
            <a:avLst/>
          </a:prstGeom>
          <a:noFill/>
        </p:spPr>
        <p:txBody>
          <a:bodyPr wrap="square" lIns="0" tIns="0" rIns="0" bIns="0" rtlCol="0">
            <a:spAutoFit/>
          </a:bodyPr>
          <a:lstStyle/>
          <a:p>
            <a:pPr>
              <a:lnSpc>
                <a:spcPct val="114000"/>
              </a:lnSpc>
              <a:spcAft>
                <a:spcPts val="300"/>
              </a:spcAft>
            </a:pPr>
            <a:r>
              <a:rPr lang="en-US" dirty="0">
                <a:solidFill>
                  <a:schemeClr val="tx1">
                    <a:lumMod val="65000"/>
                    <a:lumOff val="35000"/>
                  </a:schemeClr>
                </a:solidFill>
              </a:rPr>
              <a:t>Recycled Content?</a:t>
            </a:r>
          </a:p>
          <a:p>
            <a:pPr>
              <a:lnSpc>
                <a:spcPct val="114000"/>
              </a:lnSpc>
              <a:spcAft>
                <a:spcPts val="300"/>
              </a:spcAft>
            </a:pPr>
            <a:r>
              <a:rPr lang="en-US" dirty="0">
                <a:solidFill>
                  <a:schemeClr val="tx1">
                    <a:lumMod val="65000"/>
                    <a:lumOff val="35000"/>
                  </a:schemeClr>
                </a:solidFill>
              </a:rPr>
              <a:t>Reusable?</a:t>
            </a:r>
            <a:br>
              <a:rPr lang="en-US" dirty="0">
                <a:solidFill>
                  <a:schemeClr val="tx1">
                    <a:lumMod val="65000"/>
                    <a:lumOff val="35000"/>
                  </a:schemeClr>
                </a:solidFill>
              </a:rPr>
            </a:br>
            <a:r>
              <a:rPr lang="en-US" dirty="0">
                <a:solidFill>
                  <a:schemeClr val="tx1">
                    <a:lumMod val="65000"/>
                    <a:lumOff val="35000"/>
                  </a:schemeClr>
                </a:solidFill>
              </a:rPr>
              <a:t>Compostable?</a:t>
            </a:r>
          </a:p>
        </p:txBody>
      </p:sp>
      <p:sp>
        <p:nvSpPr>
          <p:cNvPr id="10" name="TextBox 9">
            <a:extLst>
              <a:ext uri="{FF2B5EF4-FFF2-40B4-BE49-F238E27FC236}">
                <a16:creationId xmlns:a16="http://schemas.microsoft.com/office/drawing/2014/main" id="{9D111998-AF1C-E9DF-EDAD-5274061557B1}"/>
              </a:ext>
            </a:extLst>
          </p:cNvPr>
          <p:cNvSpPr txBox="1"/>
          <p:nvPr/>
        </p:nvSpPr>
        <p:spPr>
          <a:xfrm>
            <a:off x="616873" y="3572055"/>
            <a:ext cx="737381" cy="430887"/>
          </a:xfrm>
          <a:prstGeom prst="rect">
            <a:avLst/>
          </a:prstGeom>
          <a:noFill/>
        </p:spPr>
        <p:txBody>
          <a:bodyPr wrap="none" lIns="0" tIns="0" rIns="0" bIns="0" rtlCol="0">
            <a:spAutoFit/>
          </a:bodyPr>
          <a:lstStyle/>
          <a:p>
            <a:r>
              <a:rPr lang="en-US" sz="2800" b="1" dirty="0">
                <a:solidFill>
                  <a:schemeClr val="accent1"/>
                </a:solidFill>
              </a:rPr>
              <a:t>SUP</a:t>
            </a:r>
            <a:endParaRPr lang="en-US" b="1" dirty="0">
              <a:solidFill>
                <a:schemeClr val="accent1"/>
              </a:solidFill>
            </a:endParaRPr>
          </a:p>
        </p:txBody>
      </p:sp>
      <p:sp>
        <p:nvSpPr>
          <p:cNvPr id="12" name="TextBox 11">
            <a:extLst>
              <a:ext uri="{FF2B5EF4-FFF2-40B4-BE49-F238E27FC236}">
                <a16:creationId xmlns:a16="http://schemas.microsoft.com/office/drawing/2014/main" id="{61F19239-FC93-2EFC-F5B0-1872C9D490A4}"/>
              </a:ext>
            </a:extLst>
          </p:cNvPr>
          <p:cNvSpPr txBox="1"/>
          <p:nvPr/>
        </p:nvSpPr>
        <p:spPr>
          <a:xfrm>
            <a:off x="617223" y="4535921"/>
            <a:ext cx="737381" cy="430887"/>
          </a:xfrm>
          <a:prstGeom prst="rect">
            <a:avLst/>
          </a:prstGeom>
          <a:noFill/>
        </p:spPr>
        <p:txBody>
          <a:bodyPr wrap="none" lIns="0" tIns="0" rIns="0" bIns="0" rtlCol="0">
            <a:spAutoFit/>
          </a:bodyPr>
          <a:lstStyle/>
          <a:p>
            <a:r>
              <a:rPr lang="en-US" sz="2800" b="1" dirty="0">
                <a:solidFill>
                  <a:schemeClr val="accent1"/>
                </a:solidFill>
              </a:rPr>
              <a:t>EPR</a:t>
            </a:r>
            <a:endParaRPr lang="en-US" b="1" dirty="0">
              <a:solidFill>
                <a:schemeClr val="accent1"/>
              </a:solidFill>
            </a:endParaRPr>
          </a:p>
        </p:txBody>
      </p:sp>
      <p:sp>
        <p:nvSpPr>
          <p:cNvPr id="14" name="TextBox 13">
            <a:extLst>
              <a:ext uri="{FF2B5EF4-FFF2-40B4-BE49-F238E27FC236}">
                <a16:creationId xmlns:a16="http://schemas.microsoft.com/office/drawing/2014/main" id="{8285FBCE-247D-9DF6-5CD8-FFD336F7A143}"/>
              </a:ext>
            </a:extLst>
          </p:cNvPr>
          <p:cNvSpPr txBox="1"/>
          <p:nvPr/>
        </p:nvSpPr>
        <p:spPr>
          <a:xfrm>
            <a:off x="2067418" y="4056179"/>
            <a:ext cx="1017907" cy="430887"/>
          </a:xfrm>
          <a:prstGeom prst="rect">
            <a:avLst/>
          </a:prstGeom>
          <a:noFill/>
        </p:spPr>
        <p:txBody>
          <a:bodyPr wrap="none" lIns="0" tIns="0" rIns="0" bIns="0" rtlCol="0">
            <a:spAutoFit/>
          </a:bodyPr>
          <a:lstStyle/>
          <a:p>
            <a:r>
              <a:rPr lang="en-US" sz="2800" b="1" dirty="0">
                <a:solidFill>
                  <a:schemeClr val="accent1"/>
                </a:solidFill>
              </a:rPr>
              <a:t>CSRD</a:t>
            </a:r>
            <a:endParaRPr lang="en-US" b="1" dirty="0">
              <a:solidFill>
                <a:schemeClr val="accent1"/>
              </a:solidFill>
            </a:endParaRPr>
          </a:p>
        </p:txBody>
      </p:sp>
      <p:sp>
        <p:nvSpPr>
          <p:cNvPr id="16" name="TextBox 15">
            <a:extLst>
              <a:ext uri="{FF2B5EF4-FFF2-40B4-BE49-F238E27FC236}">
                <a16:creationId xmlns:a16="http://schemas.microsoft.com/office/drawing/2014/main" id="{1AFF3B7B-4741-F8E3-A330-189DBCC45CEC}"/>
              </a:ext>
            </a:extLst>
          </p:cNvPr>
          <p:cNvSpPr txBox="1"/>
          <p:nvPr/>
        </p:nvSpPr>
        <p:spPr>
          <a:xfrm>
            <a:off x="2067417" y="4966808"/>
            <a:ext cx="1277594" cy="430887"/>
          </a:xfrm>
          <a:prstGeom prst="rect">
            <a:avLst/>
          </a:prstGeom>
          <a:noFill/>
        </p:spPr>
        <p:txBody>
          <a:bodyPr wrap="none" lIns="0" tIns="0" rIns="0" bIns="0" rtlCol="0">
            <a:spAutoFit/>
          </a:bodyPr>
          <a:lstStyle/>
          <a:p>
            <a:r>
              <a:rPr lang="en-US" sz="2800" b="1" dirty="0">
                <a:solidFill>
                  <a:schemeClr val="accent1"/>
                </a:solidFill>
              </a:rPr>
              <a:t>CSDDD</a:t>
            </a:r>
            <a:endParaRPr lang="en-US" b="1" dirty="0">
              <a:solidFill>
                <a:schemeClr val="accent1"/>
              </a:solidFill>
            </a:endParaRPr>
          </a:p>
        </p:txBody>
      </p:sp>
    </p:spTree>
    <p:extLst>
      <p:ext uri="{BB962C8B-B14F-4D97-AF65-F5344CB8AC3E}">
        <p14:creationId xmlns:p14="http://schemas.microsoft.com/office/powerpoint/2010/main" val="27483746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5" name="Group 174">
            <a:extLst>
              <a:ext uri="{FF2B5EF4-FFF2-40B4-BE49-F238E27FC236}">
                <a16:creationId xmlns:a16="http://schemas.microsoft.com/office/drawing/2014/main" id="{AFD3FCCB-5A82-FA66-5386-FFC326245939}"/>
              </a:ext>
            </a:extLst>
          </p:cNvPr>
          <p:cNvGrpSpPr/>
          <p:nvPr/>
        </p:nvGrpSpPr>
        <p:grpSpPr>
          <a:xfrm>
            <a:off x="9750514" y="4359861"/>
            <a:ext cx="1476000" cy="1616549"/>
            <a:chOff x="10563599" y="4359861"/>
            <a:chExt cx="1476000" cy="1616549"/>
          </a:xfrm>
        </p:grpSpPr>
        <p:sp>
          <p:nvSpPr>
            <p:cNvPr id="161" name="Rectangle 160">
              <a:extLst>
                <a:ext uri="{FF2B5EF4-FFF2-40B4-BE49-F238E27FC236}">
                  <a16:creationId xmlns:a16="http://schemas.microsoft.com/office/drawing/2014/main" id="{CD299659-5BB5-6711-FE90-E36D60AA5D04}"/>
                </a:ext>
              </a:extLst>
            </p:cNvPr>
            <p:cNvSpPr/>
            <p:nvPr/>
          </p:nvSpPr>
          <p:spPr>
            <a:xfrm>
              <a:off x="10563599" y="4359861"/>
              <a:ext cx="1476000" cy="16165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Product Groups</a:t>
              </a:r>
            </a:p>
          </p:txBody>
        </p:sp>
        <p:pic>
          <p:nvPicPr>
            <p:cNvPr id="162" name="Graphic 161">
              <a:extLst>
                <a:ext uri="{FF2B5EF4-FFF2-40B4-BE49-F238E27FC236}">
                  <a16:creationId xmlns:a16="http://schemas.microsoft.com/office/drawing/2014/main" id="{9FCDC038-9812-6C93-7C16-6A2BC72DD3D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941599" y="4485583"/>
              <a:ext cx="720000" cy="720000"/>
            </a:xfrm>
            <a:prstGeom prst="rect">
              <a:avLst/>
            </a:prstGeom>
          </p:spPr>
        </p:pic>
      </p:grpSp>
      <p:sp>
        <p:nvSpPr>
          <p:cNvPr id="2" name="Title 1">
            <a:extLst>
              <a:ext uri="{FF2B5EF4-FFF2-40B4-BE49-F238E27FC236}">
                <a16:creationId xmlns:a16="http://schemas.microsoft.com/office/drawing/2014/main" id="{B5F097D6-7DE7-B448-C61C-0C995C356B11}"/>
              </a:ext>
            </a:extLst>
          </p:cNvPr>
          <p:cNvSpPr>
            <a:spLocks noGrp="1"/>
          </p:cNvSpPr>
          <p:nvPr>
            <p:ph type="title"/>
          </p:nvPr>
        </p:nvSpPr>
        <p:spPr/>
        <p:txBody>
          <a:bodyPr/>
          <a:lstStyle/>
          <a:p>
            <a:r>
              <a:rPr lang="en-US"/>
              <a:t>What is the Digital Product Passport (DPP)? </a:t>
            </a:r>
            <a:r>
              <a:rPr kumimoji="0" lang="en-US" sz="2000" b="0" i="0" u="none" strike="noStrike" kern="1200" cap="none" spc="0" normalizeH="0" baseline="0" noProof="0">
                <a:ln>
                  <a:noFill/>
                </a:ln>
                <a:solidFill>
                  <a:srgbClr val="C50022"/>
                </a:solidFill>
                <a:effectLst/>
                <a:uLnTx/>
                <a:uFillTx/>
                <a:latin typeface="Arial" panose="020B0604020202020204" pitchFamily="34" charset="0"/>
                <a:cs typeface="Arial"/>
              </a:rPr>
              <a:t>(see ESPR §9 - §15)</a:t>
            </a:r>
            <a:r>
              <a:rPr lang="en-US"/>
              <a:t> </a:t>
            </a:r>
          </a:p>
        </p:txBody>
      </p:sp>
      <p:sp>
        <p:nvSpPr>
          <p:cNvPr id="4" name="Date Placeholder 3">
            <a:extLst>
              <a:ext uri="{FF2B5EF4-FFF2-40B4-BE49-F238E27FC236}">
                <a16:creationId xmlns:a16="http://schemas.microsoft.com/office/drawing/2014/main" id="{9763B797-7633-866B-598E-927282A62329}"/>
              </a:ext>
            </a:extLst>
          </p:cNvPr>
          <p:cNvSpPr>
            <a:spLocks noGrp="1"/>
          </p:cNvSpPr>
          <p:nvPr>
            <p:ph type="dt" sz="half" idx="11"/>
          </p:nvPr>
        </p:nvSpPr>
        <p:spPr>
          <a:xfrm>
            <a:off x="544725" y="6516000"/>
            <a:ext cx="468000" cy="151200"/>
          </a:xfrm>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368FC967-E25B-4DC7-87C0-1C454DF70C3D}"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5" name="Slide Number Placeholder 4">
            <a:extLst>
              <a:ext uri="{FF2B5EF4-FFF2-40B4-BE49-F238E27FC236}">
                <a16:creationId xmlns:a16="http://schemas.microsoft.com/office/drawing/2014/main" id="{46713781-80C4-39E1-6F16-36403D7E8B7F}"/>
              </a:ext>
            </a:extLst>
          </p:cNvPr>
          <p:cNvSpPr>
            <a:spLocks noGrp="1"/>
          </p:cNvSpPr>
          <p:nvPr>
            <p:ph type="sldNum" sz="quarter" idx="12"/>
          </p:nvPr>
        </p:nvSpPr>
        <p:spPr>
          <a:xfrm>
            <a:off x="83925" y="6516000"/>
            <a:ext cx="360000" cy="151200"/>
          </a:xfrm>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20</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grpSp>
        <p:nvGrpSpPr>
          <p:cNvPr id="121" name="Group 120">
            <a:extLst>
              <a:ext uri="{FF2B5EF4-FFF2-40B4-BE49-F238E27FC236}">
                <a16:creationId xmlns:a16="http://schemas.microsoft.com/office/drawing/2014/main" id="{CD6CECAC-2CDF-28B8-EA38-350CA4B6073C}"/>
              </a:ext>
            </a:extLst>
          </p:cNvPr>
          <p:cNvGrpSpPr/>
          <p:nvPr/>
        </p:nvGrpSpPr>
        <p:grpSpPr>
          <a:xfrm>
            <a:off x="6028953" y="4371946"/>
            <a:ext cx="1476000" cy="1616549"/>
            <a:chOff x="2000919" y="4455084"/>
            <a:chExt cx="1476000" cy="1616549"/>
          </a:xfrm>
        </p:grpSpPr>
        <p:sp>
          <p:nvSpPr>
            <p:cNvPr id="120" name="Rectangle 119">
              <a:extLst>
                <a:ext uri="{FF2B5EF4-FFF2-40B4-BE49-F238E27FC236}">
                  <a16:creationId xmlns:a16="http://schemas.microsoft.com/office/drawing/2014/main" id="{4AD7043A-AB30-F26E-3CF7-EC79F8ADAF13}"/>
                </a:ext>
              </a:extLst>
            </p:cNvPr>
            <p:cNvSpPr/>
            <p:nvPr/>
          </p:nvSpPr>
          <p:spPr>
            <a:xfrm>
              <a:off x="2000919" y="4455084"/>
              <a:ext cx="1476000" cy="16165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DPP Registry</a:t>
              </a:r>
            </a:p>
          </p:txBody>
        </p:sp>
        <p:pic>
          <p:nvPicPr>
            <p:cNvPr id="13" name="Graphic 12">
              <a:extLst>
                <a:ext uri="{FF2B5EF4-FFF2-40B4-BE49-F238E27FC236}">
                  <a16:creationId xmlns:a16="http://schemas.microsoft.com/office/drawing/2014/main" id="{B552CA00-4258-8752-135C-86556A95565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378919" y="4580806"/>
              <a:ext cx="720000" cy="720000"/>
            </a:xfrm>
            <a:prstGeom prst="rect">
              <a:avLst/>
            </a:prstGeom>
          </p:spPr>
        </p:pic>
      </p:grpSp>
      <p:grpSp>
        <p:nvGrpSpPr>
          <p:cNvPr id="134" name="Group 133">
            <a:extLst>
              <a:ext uri="{FF2B5EF4-FFF2-40B4-BE49-F238E27FC236}">
                <a16:creationId xmlns:a16="http://schemas.microsoft.com/office/drawing/2014/main" id="{2B4325B7-8B49-B4B2-6712-707B4F90A0DD}"/>
              </a:ext>
            </a:extLst>
          </p:cNvPr>
          <p:cNvGrpSpPr/>
          <p:nvPr/>
        </p:nvGrpSpPr>
        <p:grpSpPr>
          <a:xfrm>
            <a:off x="3363683" y="4371946"/>
            <a:ext cx="1476000" cy="1616549"/>
            <a:chOff x="1411925" y="4371945"/>
            <a:chExt cx="1476000" cy="1616549"/>
          </a:xfrm>
        </p:grpSpPr>
        <p:sp>
          <p:nvSpPr>
            <p:cNvPr id="104" name="Rectangle 103">
              <a:extLst>
                <a:ext uri="{FF2B5EF4-FFF2-40B4-BE49-F238E27FC236}">
                  <a16:creationId xmlns:a16="http://schemas.microsoft.com/office/drawing/2014/main" id="{65665097-7878-F1FD-D173-363A009626F0}"/>
                </a:ext>
              </a:extLst>
            </p:cNvPr>
            <p:cNvSpPr/>
            <p:nvPr/>
          </p:nvSpPr>
          <p:spPr>
            <a:xfrm>
              <a:off x="1411925" y="4371945"/>
              <a:ext cx="1476000" cy="16165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Data Authentication, Reliability, Integrity</a:t>
              </a:r>
            </a:p>
          </p:txBody>
        </p:sp>
        <p:pic>
          <p:nvPicPr>
            <p:cNvPr id="23" name="Graphic 22">
              <a:extLst>
                <a:ext uri="{FF2B5EF4-FFF2-40B4-BE49-F238E27FC236}">
                  <a16:creationId xmlns:a16="http://schemas.microsoft.com/office/drawing/2014/main" id="{91C7F9F8-8FA4-F76B-3EDE-B7CF6A09778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723324" y="4497666"/>
              <a:ext cx="853202" cy="853202"/>
            </a:xfrm>
            <a:prstGeom prst="rect">
              <a:avLst/>
            </a:prstGeom>
          </p:spPr>
        </p:pic>
      </p:grpSp>
      <p:sp>
        <p:nvSpPr>
          <p:cNvPr id="87" name="TextBox 86">
            <a:extLst>
              <a:ext uri="{FF2B5EF4-FFF2-40B4-BE49-F238E27FC236}">
                <a16:creationId xmlns:a16="http://schemas.microsoft.com/office/drawing/2014/main" id="{42812292-6082-3CA0-242D-49900B9C4A56}"/>
              </a:ext>
            </a:extLst>
          </p:cNvPr>
          <p:cNvSpPr txBox="1"/>
          <p:nvPr/>
        </p:nvSpPr>
        <p:spPr>
          <a:xfrm>
            <a:off x="936736" y="1938251"/>
            <a:ext cx="1388009" cy="338554"/>
          </a:xfrm>
          <a:prstGeom prst="rect">
            <a:avLst/>
          </a:prstGeom>
          <a:noFill/>
        </p:spPr>
        <p:txBody>
          <a:bodyPr wrap="none" rtlCol="0">
            <a:spAutoFit/>
          </a:bodyPr>
          <a:lstStyle/>
          <a:p>
            <a:pPr marL="0" indent="0" algn="l">
              <a:buClr>
                <a:schemeClr val="bg2"/>
              </a:buClr>
              <a:buSzPct val="80000"/>
              <a:buFont typeface="Arial" panose="020B0604020202020204" pitchFamily="34" charset="0"/>
              <a:buNone/>
            </a:pPr>
            <a:r>
              <a:rPr lang="en-US" sz="1600" b="1" i="0" u="none" strike="noStrike" cap="none">
                <a:solidFill>
                  <a:schemeClr val="tx1">
                    <a:lumMod val="65000"/>
                    <a:lumOff val="35000"/>
                  </a:schemeClr>
                </a:solidFill>
                <a:latin typeface="Arial" panose="020B0604020202020204" pitchFamily="34" charset="0"/>
                <a:cs typeface="Arial" panose="020B0604020202020204" pitchFamily="34" charset="0"/>
                <a:sym typeface="Calibri" panose="020F0502020204030204" pitchFamily="34" charset="0"/>
              </a:rPr>
              <a:t>DPP System</a:t>
            </a:r>
          </a:p>
        </p:txBody>
      </p:sp>
      <p:sp>
        <p:nvSpPr>
          <p:cNvPr id="88" name="TextBox 87">
            <a:extLst>
              <a:ext uri="{FF2B5EF4-FFF2-40B4-BE49-F238E27FC236}">
                <a16:creationId xmlns:a16="http://schemas.microsoft.com/office/drawing/2014/main" id="{F2E8CC04-0CD8-CB95-B413-8FECC727AF4F}"/>
              </a:ext>
            </a:extLst>
          </p:cNvPr>
          <p:cNvSpPr txBox="1"/>
          <p:nvPr/>
        </p:nvSpPr>
        <p:spPr>
          <a:xfrm>
            <a:off x="8440507" y="1933391"/>
            <a:ext cx="1102674" cy="338554"/>
          </a:xfrm>
          <a:prstGeom prst="rect">
            <a:avLst/>
          </a:prstGeom>
          <a:noFill/>
        </p:spPr>
        <p:txBody>
          <a:bodyPr wrap="none" rtlCol="0">
            <a:spAutoFit/>
          </a:bodyPr>
          <a:lstStyle/>
          <a:p>
            <a:pPr marL="0" indent="0" algn="l">
              <a:buClr>
                <a:schemeClr val="bg2"/>
              </a:buClr>
              <a:buSzPct val="80000"/>
              <a:buFont typeface="Arial" panose="020B0604020202020204" pitchFamily="34" charset="0"/>
              <a:buNone/>
            </a:pPr>
            <a:r>
              <a:rPr lang="en-US" sz="1600" b="1">
                <a:solidFill>
                  <a:schemeClr val="tx1">
                    <a:lumMod val="65000"/>
                    <a:lumOff val="35000"/>
                  </a:schemeClr>
                </a:solidFill>
                <a:latin typeface="Arial" panose="020B0604020202020204" pitchFamily="34" charset="0"/>
                <a:cs typeface="Arial" panose="020B0604020202020204" pitchFamily="34" charset="0"/>
                <a:sym typeface="Calibri" panose="020F0502020204030204" pitchFamily="34" charset="0"/>
              </a:rPr>
              <a:t>DPP Data</a:t>
            </a:r>
            <a:endParaRPr lang="en-US" sz="1600" b="1" i="0" u="none" strike="noStrike" cap="none">
              <a:solidFill>
                <a:schemeClr val="tx1">
                  <a:lumMod val="65000"/>
                  <a:lumOff val="35000"/>
                </a:schemeClr>
              </a:solidFill>
              <a:latin typeface="Arial" panose="020B0604020202020204" pitchFamily="34" charset="0"/>
              <a:cs typeface="Arial" panose="020B0604020202020204" pitchFamily="34" charset="0"/>
              <a:sym typeface="Calibri" panose="020F0502020204030204" pitchFamily="34" charset="0"/>
            </a:endParaRPr>
          </a:p>
        </p:txBody>
      </p:sp>
      <p:grpSp>
        <p:nvGrpSpPr>
          <p:cNvPr id="99" name="Group 98">
            <a:extLst>
              <a:ext uri="{FF2B5EF4-FFF2-40B4-BE49-F238E27FC236}">
                <a16:creationId xmlns:a16="http://schemas.microsoft.com/office/drawing/2014/main" id="{8EBB2BC4-DAEF-1649-531E-60D84FAAB40F}"/>
              </a:ext>
            </a:extLst>
          </p:cNvPr>
          <p:cNvGrpSpPr/>
          <p:nvPr/>
        </p:nvGrpSpPr>
        <p:grpSpPr>
          <a:xfrm>
            <a:off x="2031050" y="2561125"/>
            <a:ext cx="1476000" cy="1616549"/>
            <a:chOff x="8469518" y="2581426"/>
            <a:chExt cx="1476000" cy="1616549"/>
          </a:xfrm>
        </p:grpSpPr>
        <p:sp>
          <p:nvSpPr>
            <p:cNvPr id="97" name="Rectangle 96">
              <a:extLst>
                <a:ext uri="{FF2B5EF4-FFF2-40B4-BE49-F238E27FC236}">
                  <a16:creationId xmlns:a16="http://schemas.microsoft.com/office/drawing/2014/main" id="{F9878AC8-C956-E2A1-B09B-6CB8A1BC83A2}"/>
                </a:ext>
              </a:extLst>
            </p:cNvPr>
            <p:cNvSpPr/>
            <p:nvPr/>
          </p:nvSpPr>
          <p:spPr>
            <a:xfrm>
              <a:off x="8469518" y="2581426"/>
              <a:ext cx="1476000" cy="16165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Data Carrier</a:t>
              </a:r>
            </a:p>
          </p:txBody>
        </p:sp>
        <p:pic>
          <p:nvPicPr>
            <p:cNvPr id="43" name="Graphic 42">
              <a:extLst>
                <a:ext uri="{FF2B5EF4-FFF2-40B4-BE49-F238E27FC236}">
                  <a16:creationId xmlns:a16="http://schemas.microsoft.com/office/drawing/2014/main" id="{34174877-BB56-DE7D-185B-A0AB4374A55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847518" y="2741821"/>
              <a:ext cx="720000" cy="720000"/>
            </a:xfrm>
            <a:prstGeom prst="rect">
              <a:avLst/>
            </a:prstGeom>
          </p:spPr>
        </p:pic>
      </p:grpSp>
      <p:grpSp>
        <p:nvGrpSpPr>
          <p:cNvPr id="103" name="Group 102">
            <a:extLst>
              <a:ext uri="{FF2B5EF4-FFF2-40B4-BE49-F238E27FC236}">
                <a16:creationId xmlns:a16="http://schemas.microsoft.com/office/drawing/2014/main" id="{90B5173E-E7AC-BA04-CDE2-0FED8747460A}"/>
              </a:ext>
            </a:extLst>
          </p:cNvPr>
          <p:cNvGrpSpPr/>
          <p:nvPr/>
        </p:nvGrpSpPr>
        <p:grpSpPr>
          <a:xfrm>
            <a:off x="698415" y="2561125"/>
            <a:ext cx="1476000" cy="1616549"/>
            <a:chOff x="10089928" y="2590443"/>
            <a:chExt cx="1476000" cy="1616549"/>
          </a:xfrm>
        </p:grpSpPr>
        <p:sp>
          <p:nvSpPr>
            <p:cNvPr id="101" name="Rectangle 100">
              <a:extLst>
                <a:ext uri="{FF2B5EF4-FFF2-40B4-BE49-F238E27FC236}">
                  <a16:creationId xmlns:a16="http://schemas.microsoft.com/office/drawing/2014/main" id="{CAC13844-4109-6643-6062-75D96EAE2639}"/>
                </a:ext>
              </a:extLst>
            </p:cNvPr>
            <p:cNvSpPr/>
            <p:nvPr/>
          </p:nvSpPr>
          <p:spPr>
            <a:xfrm>
              <a:off x="10089928" y="2590443"/>
              <a:ext cx="1476000" cy="16165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Unique Identifier</a:t>
              </a:r>
            </a:p>
          </p:txBody>
        </p:sp>
        <p:grpSp>
          <p:nvGrpSpPr>
            <p:cNvPr id="48" name="Group 47">
              <a:extLst>
                <a:ext uri="{FF2B5EF4-FFF2-40B4-BE49-F238E27FC236}">
                  <a16:creationId xmlns:a16="http://schemas.microsoft.com/office/drawing/2014/main" id="{4FA9DAEA-DCCB-B525-8AC8-C36759782D2A}"/>
                </a:ext>
              </a:extLst>
            </p:cNvPr>
            <p:cNvGrpSpPr/>
            <p:nvPr/>
          </p:nvGrpSpPr>
          <p:grpSpPr>
            <a:xfrm>
              <a:off x="10500463" y="2774069"/>
              <a:ext cx="654931" cy="654931"/>
              <a:chOff x="1367250" y="1754577"/>
              <a:chExt cx="379019" cy="379019"/>
            </a:xfrm>
          </p:grpSpPr>
          <p:sp>
            <p:nvSpPr>
              <p:cNvPr id="49" name="Freeform 48">
                <a:extLst>
                  <a:ext uri="{FF2B5EF4-FFF2-40B4-BE49-F238E27FC236}">
                    <a16:creationId xmlns:a16="http://schemas.microsoft.com/office/drawing/2014/main" id="{AB997094-B9FC-402B-D9AC-B5FCFB8B3FA2}"/>
                  </a:ext>
                </a:extLst>
              </p:cNvPr>
              <p:cNvSpPr/>
              <p:nvPr/>
            </p:nvSpPr>
            <p:spPr>
              <a:xfrm>
                <a:off x="1511639" y="1754577"/>
                <a:ext cx="90240" cy="90245"/>
              </a:xfrm>
              <a:custGeom>
                <a:avLst/>
                <a:gdLst>
                  <a:gd name="connsiteX0" fmla="*/ 617014 w 1028294"/>
                  <a:gd name="connsiteY0" fmla="*/ 0 h 1028345"/>
                  <a:gd name="connsiteX1" fmla="*/ 1028294 w 1028294"/>
                  <a:gd name="connsiteY1" fmla="*/ 0 h 1028345"/>
                  <a:gd name="connsiteX2" fmla="*/ 1028294 w 1028294"/>
                  <a:gd name="connsiteY2" fmla="*/ 205649 h 1028345"/>
                  <a:gd name="connsiteX3" fmla="*/ 822668 w 1028294"/>
                  <a:gd name="connsiteY3" fmla="*/ 205649 h 1028345"/>
                  <a:gd name="connsiteX4" fmla="*/ 822668 w 1028294"/>
                  <a:gd name="connsiteY4" fmla="*/ 411297 h 1028345"/>
                  <a:gd name="connsiteX5" fmla="*/ 411303 w 1028294"/>
                  <a:gd name="connsiteY5" fmla="*/ 411297 h 1028345"/>
                  <a:gd name="connsiteX6" fmla="*/ 411303 w 1028294"/>
                  <a:gd name="connsiteY6" fmla="*/ 1028346 h 1028345"/>
                  <a:gd name="connsiteX7" fmla="*/ 0 w 1028294"/>
                  <a:gd name="connsiteY7" fmla="*/ 1028346 h 1028345"/>
                  <a:gd name="connsiteX8" fmla="*/ 0 w 1028294"/>
                  <a:gd name="connsiteY8" fmla="*/ 822629 h 1028345"/>
                  <a:gd name="connsiteX9" fmla="*/ 205649 w 1028294"/>
                  <a:gd name="connsiteY9" fmla="*/ 822629 h 1028345"/>
                  <a:gd name="connsiteX10" fmla="*/ 205649 w 1028294"/>
                  <a:gd name="connsiteY10" fmla="*/ 205637 h 1028345"/>
                  <a:gd name="connsiteX11" fmla="*/ 617014 w 1028294"/>
                  <a:gd name="connsiteY11" fmla="*/ 205637 h 1028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8294" h="1028345">
                    <a:moveTo>
                      <a:pt x="617014" y="0"/>
                    </a:moveTo>
                    <a:lnTo>
                      <a:pt x="1028294" y="0"/>
                    </a:lnTo>
                    <a:lnTo>
                      <a:pt x="1028294" y="205649"/>
                    </a:lnTo>
                    <a:lnTo>
                      <a:pt x="822668" y="205649"/>
                    </a:lnTo>
                    <a:lnTo>
                      <a:pt x="822668" y="411297"/>
                    </a:lnTo>
                    <a:lnTo>
                      <a:pt x="411303" y="411297"/>
                    </a:lnTo>
                    <a:lnTo>
                      <a:pt x="411303" y="1028346"/>
                    </a:lnTo>
                    <a:lnTo>
                      <a:pt x="0" y="1028346"/>
                    </a:lnTo>
                    <a:lnTo>
                      <a:pt x="0" y="822629"/>
                    </a:lnTo>
                    <a:lnTo>
                      <a:pt x="205649" y="822629"/>
                    </a:lnTo>
                    <a:lnTo>
                      <a:pt x="205649" y="205637"/>
                    </a:lnTo>
                    <a:lnTo>
                      <a:pt x="617014" y="205637"/>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50" name="Freeform 49">
                <a:extLst>
                  <a:ext uri="{FF2B5EF4-FFF2-40B4-BE49-F238E27FC236}">
                    <a16:creationId xmlns:a16="http://schemas.microsoft.com/office/drawing/2014/main" id="{AFB5D1CC-3503-2AF8-2348-6E07647A3AB7}"/>
                  </a:ext>
                </a:extLst>
              </p:cNvPr>
              <p:cNvSpPr/>
              <p:nvPr/>
            </p:nvSpPr>
            <p:spPr>
              <a:xfrm>
                <a:off x="1367250" y="1754577"/>
                <a:ext cx="126341" cy="126341"/>
              </a:xfrm>
              <a:custGeom>
                <a:avLst/>
                <a:gdLst>
                  <a:gd name="connsiteX0" fmla="*/ 0 w 1439665"/>
                  <a:gd name="connsiteY0" fmla="*/ 0 h 1439665"/>
                  <a:gd name="connsiteX1" fmla="*/ 0 w 1439665"/>
                  <a:gd name="connsiteY1" fmla="*/ 1439666 h 1439665"/>
                  <a:gd name="connsiteX2" fmla="*/ 1439666 w 1439665"/>
                  <a:gd name="connsiteY2" fmla="*/ 1439666 h 1439665"/>
                  <a:gd name="connsiteX3" fmla="*/ 1439666 w 1439665"/>
                  <a:gd name="connsiteY3" fmla="*/ 0 h 1439665"/>
                  <a:gd name="connsiteX4" fmla="*/ 1233926 w 1439665"/>
                  <a:gd name="connsiteY4" fmla="*/ 1233926 h 1439665"/>
                  <a:gd name="connsiteX5" fmla="*/ 205626 w 1439665"/>
                  <a:gd name="connsiteY5" fmla="*/ 1233926 h 1439665"/>
                  <a:gd name="connsiteX6" fmla="*/ 205626 w 1439665"/>
                  <a:gd name="connsiteY6" fmla="*/ 205626 h 1439665"/>
                  <a:gd name="connsiteX7" fmla="*/ 1233926 w 1439665"/>
                  <a:gd name="connsiteY7" fmla="*/ 205626 h 1439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9665" h="1439665">
                    <a:moveTo>
                      <a:pt x="0" y="0"/>
                    </a:moveTo>
                    <a:lnTo>
                      <a:pt x="0" y="1439666"/>
                    </a:lnTo>
                    <a:lnTo>
                      <a:pt x="1439666" y="1439666"/>
                    </a:lnTo>
                    <a:lnTo>
                      <a:pt x="1439666" y="0"/>
                    </a:lnTo>
                    <a:close/>
                    <a:moveTo>
                      <a:pt x="1233926" y="1233926"/>
                    </a:moveTo>
                    <a:lnTo>
                      <a:pt x="205626" y="1233926"/>
                    </a:lnTo>
                    <a:lnTo>
                      <a:pt x="205626" y="205626"/>
                    </a:lnTo>
                    <a:lnTo>
                      <a:pt x="1233926" y="205626"/>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51" name="Freeform 50">
                <a:extLst>
                  <a:ext uri="{FF2B5EF4-FFF2-40B4-BE49-F238E27FC236}">
                    <a16:creationId xmlns:a16="http://schemas.microsoft.com/office/drawing/2014/main" id="{21DEC9D7-02CC-5F87-1A6F-E9FD0928B082}"/>
                  </a:ext>
                </a:extLst>
              </p:cNvPr>
              <p:cNvSpPr/>
              <p:nvPr/>
            </p:nvSpPr>
            <p:spPr>
              <a:xfrm>
                <a:off x="1619933" y="1754577"/>
                <a:ext cx="126336" cy="126341"/>
              </a:xfrm>
              <a:custGeom>
                <a:avLst/>
                <a:gdLst>
                  <a:gd name="connsiteX0" fmla="*/ 0 w 1439608"/>
                  <a:gd name="connsiteY0" fmla="*/ 0 h 1439665"/>
                  <a:gd name="connsiteX1" fmla="*/ 0 w 1439608"/>
                  <a:gd name="connsiteY1" fmla="*/ 1439666 h 1439665"/>
                  <a:gd name="connsiteX2" fmla="*/ 1439608 w 1439608"/>
                  <a:gd name="connsiteY2" fmla="*/ 1439666 h 1439665"/>
                  <a:gd name="connsiteX3" fmla="*/ 1439608 w 1439608"/>
                  <a:gd name="connsiteY3" fmla="*/ 0 h 1439665"/>
                  <a:gd name="connsiteX4" fmla="*/ 1233868 w 1439608"/>
                  <a:gd name="connsiteY4" fmla="*/ 1233926 h 1439665"/>
                  <a:gd name="connsiteX5" fmla="*/ 205626 w 1439608"/>
                  <a:gd name="connsiteY5" fmla="*/ 1233926 h 1439665"/>
                  <a:gd name="connsiteX6" fmla="*/ 205626 w 1439608"/>
                  <a:gd name="connsiteY6" fmla="*/ 205626 h 1439665"/>
                  <a:gd name="connsiteX7" fmla="*/ 1233926 w 1439608"/>
                  <a:gd name="connsiteY7" fmla="*/ 205626 h 1439665"/>
                  <a:gd name="connsiteX8" fmla="*/ 1233926 w 1439608"/>
                  <a:gd name="connsiteY8" fmla="*/ 1233926 h 1439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9608" h="1439665">
                    <a:moveTo>
                      <a:pt x="0" y="0"/>
                    </a:moveTo>
                    <a:lnTo>
                      <a:pt x="0" y="1439666"/>
                    </a:lnTo>
                    <a:lnTo>
                      <a:pt x="1439608" y="1439666"/>
                    </a:lnTo>
                    <a:lnTo>
                      <a:pt x="1439608" y="0"/>
                    </a:lnTo>
                    <a:close/>
                    <a:moveTo>
                      <a:pt x="1233868" y="1233926"/>
                    </a:moveTo>
                    <a:lnTo>
                      <a:pt x="205626" y="1233926"/>
                    </a:lnTo>
                    <a:lnTo>
                      <a:pt x="205626" y="205626"/>
                    </a:lnTo>
                    <a:lnTo>
                      <a:pt x="1233926" y="205626"/>
                    </a:lnTo>
                    <a:lnTo>
                      <a:pt x="1233926" y="1233926"/>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52" name="Freeform 51">
                <a:extLst>
                  <a:ext uri="{FF2B5EF4-FFF2-40B4-BE49-F238E27FC236}">
                    <a16:creationId xmlns:a16="http://schemas.microsoft.com/office/drawing/2014/main" id="{87DCA105-9803-FCBA-F557-95E3D95ED517}"/>
                  </a:ext>
                </a:extLst>
              </p:cNvPr>
              <p:cNvSpPr/>
              <p:nvPr/>
            </p:nvSpPr>
            <p:spPr>
              <a:xfrm>
                <a:off x="1403345" y="1790672"/>
                <a:ext cx="54146" cy="54146"/>
              </a:xfrm>
              <a:custGeom>
                <a:avLst/>
                <a:gdLst>
                  <a:gd name="connsiteX0" fmla="*/ 0 w 616991"/>
                  <a:gd name="connsiteY0" fmla="*/ 0 h 616991"/>
                  <a:gd name="connsiteX1" fmla="*/ 616992 w 616991"/>
                  <a:gd name="connsiteY1" fmla="*/ 0 h 616991"/>
                  <a:gd name="connsiteX2" fmla="*/ 616992 w 616991"/>
                  <a:gd name="connsiteY2" fmla="*/ 616992 h 616991"/>
                  <a:gd name="connsiteX3" fmla="*/ 0 w 616991"/>
                  <a:gd name="connsiteY3" fmla="*/ 616992 h 616991"/>
                </a:gdLst>
                <a:ahLst/>
                <a:cxnLst>
                  <a:cxn ang="0">
                    <a:pos x="connsiteX0" y="connsiteY0"/>
                  </a:cxn>
                  <a:cxn ang="0">
                    <a:pos x="connsiteX1" y="connsiteY1"/>
                  </a:cxn>
                  <a:cxn ang="0">
                    <a:pos x="connsiteX2" y="connsiteY2"/>
                  </a:cxn>
                  <a:cxn ang="0">
                    <a:pos x="connsiteX3" y="connsiteY3"/>
                  </a:cxn>
                </a:cxnLst>
                <a:rect l="l" t="t" r="r" b="b"/>
                <a:pathLst>
                  <a:path w="616991" h="616991">
                    <a:moveTo>
                      <a:pt x="0" y="0"/>
                    </a:moveTo>
                    <a:lnTo>
                      <a:pt x="616992" y="0"/>
                    </a:lnTo>
                    <a:lnTo>
                      <a:pt x="616992" y="616992"/>
                    </a:lnTo>
                    <a:lnTo>
                      <a:pt x="0" y="616992"/>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53" name="Freeform 52">
                <a:extLst>
                  <a:ext uri="{FF2B5EF4-FFF2-40B4-BE49-F238E27FC236}">
                    <a16:creationId xmlns:a16="http://schemas.microsoft.com/office/drawing/2014/main" id="{70EC563C-70DE-69BB-C3E9-5BE89F0B7B5D}"/>
                  </a:ext>
                </a:extLst>
              </p:cNvPr>
              <p:cNvSpPr/>
              <p:nvPr/>
            </p:nvSpPr>
            <p:spPr>
              <a:xfrm>
                <a:off x="1656023" y="1790672"/>
                <a:ext cx="54146" cy="54146"/>
              </a:xfrm>
              <a:custGeom>
                <a:avLst/>
                <a:gdLst>
                  <a:gd name="connsiteX0" fmla="*/ 0 w 616991"/>
                  <a:gd name="connsiteY0" fmla="*/ 0 h 616991"/>
                  <a:gd name="connsiteX1" fmla="*/ 616992 w 616991"/>
                  <a:gd name="connsiteY1" fmla="*/ 0 h 616991"/>
                  <a:gd name="connsiteX2" fmla="*/ 616992 w 616991"/>
                  <a:gd name="connsiteY2" fmla="*/ 616992 h 616991"/>
                  <a:gd name="connsiteX3" fmla="*/ 0 w 616991"/>
                  <a:gd name="connsiteY3" fmla="*/ 616992 h 616991"/>
                </a:gdLst>
                <a:ahLst/>
                <a:cxnLst>
                  <a:cxn ang="0">
                    <a:pos x="connsiteX0" y="connsiteY0"/>
                  </a:cxn>
                  <a:cxn ang="0">
                    <a:pos x="connsiteX1" y="connsiteY1"/>
                  </a:cxn>
                  <a:cxn ang="0">
                    <a:pos x="connsiteX2" y="connsiteY2"/>
                  </a:cxn>
                  <a:cxn ang="0">
                    <a:pos x="connsiteX3" y="connsiteY3"/>
                  </a:cxn>
                </a:cxnLst>
                <a:rect l="l" t="t" r="r" b="b"/>
                <a:pathLst>
                  <a:path w="616991" h="616991">
                    <a:moveTo>
                      <a:pt x="0" y="0"/>
                    </a:moveTo>
                    <a:lnTo>
                      <a:pt x="616992" y="0"/>
                    </a:lnTo>
                    <a:lnTo>
                      <a:pt x="616992" y="616992"/>
                    </a:lnTo>
                    <a:lnTo>
                      <a:pt x="0" y="616992"/>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54" name="Freeform 53">
                <a:extLst>
                  <a:ext uri="{FF2B5EF4-FFF2-40B4-BE49-F238E27FC236}">
                    <a16:creationId xmlns:a16="http://schemas.microsoft.com/office/drawing/2014/main" id="{5BAC88ED-101F-139F-AB3F-F79DF777915F}"/>
                  </a:ext>
                </a:extLst>
              </p:cNvPr>
              <p:cNvSpPr/>
              <p:nvPr/>
            </p:nvSpPr>
            <p:spPr>
              <a:xfrm>
                <a:off x="1565787" y="1808728"/>
                <a:ext cx="18047" cy="18047"/>
              </a:xfrm>
              <a:custGeom>
                <a:avLst/>
                <a:gdLst>
                  <a:gd name="connsiteX0" fmla="*/ 0 w 205648"/>
                  <a:gd name="connsiteY0" fmla="*/ 0 h 205648"/>
                  <a:gd name="connsiteX1" fmla="*/ 205649 w 205648"/>
                  <a:gd name="connsiteY1" fmla="*/ 0 h 205648"/>
                  <a:gd name="connsiteX2" fmla="*/ 205649 w 205648"/>
                  <a:gd name="connsiteY2" fmla="*/ 205649 h 205648"/>
                  <a:gd name="connsiteX3" fmla="*/ 0 w 205648"/>
                  <a:gd name="connsiteY3" fmla="*/ 205649 h 205648"/>
                </a:gdLst>
                <a:ahLst/>
                <a:cxnLst>
                  <a:cxn ang="0">
                    <a:pos x="connsiteX0" y="connsiteY0"/>
                  </a:cxn>
                  <a:cxn ang="0">
                    <a:pos x="connsiteX1" y="connsiteY1"/>
                  </a:cxn>
                  <a:cxn ang="0">
                    <a:pos x="connsiteX2" y="connsiteY2"/>
                  </a:cxn>
                  <a:cxn ang="0">
                    <a:pos x="connsiteX3" y="connsiteY3"/>
                  </a:cxn>
                </a:cxnLst>
                <a:rect l="l" t="t" r="r" b="b"/>
                <a:pathLst>
                  <a:path w="205648" h="205648">
                    <a:moveTo>
                      <a:pt x="0" y="0"/>
                    </a:moveTo>
                    <a:lnTo>
                      <a:pt x="205649" y="0"/>
                    </a:lnTo>
                    <a:lnTo>
                      <a:pt x="205649" y="205649"/>
                    </a:lnTo>
                    <a:lnTo>
                      <a:pt x="0" y="205649"/>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55" name="Freeform 54">
                <a:extLst>
                  <a:ext uri="{FF2B5EF4-FFF2-40B4-BE49-F238E27FC236}">
                    <a16:creationId xmlns:a16="http://schemas.microsoft.com/office/drawing/2014/main" id="{BC0C6A22-8364-BFCD-75EE-5B909E2F0619}"/>
                  </a:ext>
                </a:extLst>
              </p:cNvPr>
              <p:cNvSpPr/>
              <p:nvPr/>
            </p:nvSpPr>
            <p:spPr>
              <a:xfrm>
                <a:off x="1547732" y="1826773"/>
                <a:ext cx="54146" cy="72196"/>
              </a:xfrm>
              <a:custGeom>
                <a:avLst/>
                <a:gdLst>
                  <a:gd name="connsiteX0" fmla="*/ 411366 w 616991"/>
                  <a:gd name="connsiteY0" fmla="*/ 0 h 822674"/>
                  <a:gd name="connsiteX1" fmla="*/ 616992 w 616991"/>
                  <a:gd name="connsiteY1" fmla="*/ 0 h 822674"/>
                  <a:gd name="connsiteX2" fmla="*/ 616992 w 616991"/>
                  <a:gd name="connsiteY2" fmla="*/ 822674 h 822674"/>
                  <a:gd name="connsiteX3" fmla="*/ 411366 w 616991"/>
                  <a:gd name="connsiteY3" fmla="*/ 822674 h 822674"/>
                  <a:gd name="connsiteX4" fmla="*/ 411366 w 616991"/>
                  <a:gd name="connsiteY4" fmla="*/ 411326 h 822674"/>
                  <a:gd name="connsiteX5" fmla="*/ 205717 w 616991"/>
                  <a:gd name="connsiteY5" fmla="*/ 411326 h 822674"/>
                  <a:gd name="connsiteX6" fmla="*/ 205717 w 616991"/>
                  <a:gd name="connsiteY6" fmla="*/ 617043 h 822674"/>
                  <a:gd name="connsiteX7" fmla="*/ 0 w 616991"/>
                  <a:gd name="connsiteY7" fmla="*/ 617043 h 822674"/>
                  <a:gd name="connsiteX8" fmla="*/ 0 w 616991"/>
                  <a:gd name="connsiteY8" fmla="*/ 205740 h 822674"/>
                  <a:gd name="connsiteX9" fmla="*/ 411366 w 616991"/>
                  <a:gd name="connsiteY9" fmla="*/ 205740 h 822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991" h="822674">
                    <a:moveTo>
                      <a:pt x="411366" y="0"/>
                    </a:moveTo>
                    <a:lnTo>
                      <a:pt x="616992" y="0"/>
                    </a:lnTo>
                    <a:lnTo>
                      <a:pt x="616992" y="822674"/>
                    </a:lnTo>
                    <a:lnTo>
                      <a:pt x="411366" y="822674"/>
                    </a:lnTo>
                    <a:lnTo>
                      <a:pt x="411366" y="411326"/>
                    </a:lnTo>
                    <a:lnTo>
                      <a:pt x="205717" y="411326"/>
                    </a:lnTo>
                    <a:lnTo>
                      <a:pt x="205717" y="617043"/>
                    </a:lnTo>
                    <a:lnTo>
                      <a:pt x="0" y="617043"/>
                    </a:lnTo>
                    <a:lnTo>
                      <a:pt x="0" y="205740"/>
                    </a:lnTo>
                    <a:lnTo>
                      <a:pt x="411366" y="205740"/>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56" name="Freeform 55">
                <a:extLst>
                  <a:ext uri="{FF2B5EF4-FFF2-40B4-BE49-F238E27FC236}">
                    <a16:creationId xmlns:a16="http://schemas.microsoft.com/office/drawing/2014/main" id="{6AE63A67-DB73-8534-3F4F-E558FCF1F60C}"/>
                  </a:ext>
                </a:extLst>
              </p:cNvPr>
              <p:cNvSpPr/>
              <p:nvPr/>
            </p:nvSpPr>
            <p:spPr>
              <a:xfrm>
                <a:off x="1475543" y="1862868"/>
                <a:ext cx="108294" cy="108292"/>
              </a:xfrm>
              <a:custGeom>
                <a:avLst/>
                <a:gdLst>
                  <a:gd name="connsiteX0" fmla="*/ 411349 w 1234011"/>
                  <a:gd name="connsiteY0" fmla="*/ 0 h 1233988"/>
                  <a:gd name="connsiteX1" fmla="*/ 616997 w 1234011"/>
                  <a:gd name="connsiteY1" fmla="*/ 0 h 1233988"/>
                  <a:gd name="connsiteX2" fmla="*/ 616997 w 1234011"/>
                  <a:gd name="connsiteY2" fmla="*/ 205717 h 1233988"/>
                  <a:gd name="connsiteX3" fmla="*/ 822646 w 1234011"/>
                  <a:gd name="connsiteY3" fmla="*/ 205717 h 1233988"/>
                  <a:gd name="connsiteX4" fmla="*/ 822646 w 1234011"/>
                  <a:gd name="connsiteY4" fmla="*/ 411343 h 1233988"/>
                  <a:gd name="connsiteX5" fmla="*/ 616997 w 1234011"/>
                  <a:gd name="connsiteY5" fmla="*/ 411343 h 1233988"/>
                  <a:gd name="connsiteX6" fmla="*/ 616997 w 1234011"/>
                  <a:gd name="connsiteY6" fmla="*/ 822646 h 1233988"/>
                  <a:gd name="connsiteX7" fmla="*/ 822646 w 1234011"/>
                  <a:gd name="connsiteY7" fmla="*/ 822646 h 1233988"/>
                  <a:gd name="connsiteX8" fmla="*/ 822646 w 1234011"/>
                  <a:gd name="connsiteY8" fmla="*/ 616997 h 1233988"/>
                  <a:gd name="connsiteX9" fmla="*/ 1028363 w 1234011"/>
                  <a:gd name="connsiteY9" fmla="*/ 616997 h 1233988"/>
                  <a:gd name="connsiteX10" fmla="*/ 1028363 w 1234011"/>
                  <a:gd name="connsiteY10" fmla="*/ 411349 h 1233988"/>
                  <a:gd name="connsiteX11" fmla="*/ 1234011 w 1234011"/>
                  <a:gd name="connsiteY11" fmla="*/ 411349 h 1233988"/>
                  <a:gd name="connsiteX12" fmla="*/ 1234011 w 1234011"/>
                  <a:gd name="connsiteY12" fmla="*/ 1028340 h 1233988"/>
                  <a:gd name="connsiteX13" fmla="*/ 822646 w 1234011"/>
                  <a:gd name="connsiteY13" fmla="*/ 1028340 h 1233988"/>
                  <a:gd name="connsiteX14" fmla="*/ 822646 w 1234011"/>
                  <a:gd name="connsiteY14" fmla="*/ 1233989 h 1233988"/>
                  <a:gd name="connsiteX15" fmla="*/ 616997 w 1234011"/>
                  <a:gd name="connsiteY15" fmla="*/ 1233989 h 1233988"/>
                  <a:gd name="connsiteX16" fmla="*/ 616997 w 1234011"/>
                  <a:gd name="connsiteY16" fmla="*/ 1028340 h 1233988"/>
                  <a:gd name="connsiteX17" fmla="*/ 411349 w 1234011"/>
                  <a:gd name="connsiteY17" fmla="*/ 1028340 h 1233988"/>
                  <a:gd name="connsiteX18" fmla="*/ 411349 w 1234011"/>
                  <a:gd name="connsiteY18" fmla="*/ 616974 h 1233988"/>
                  <a:gd name="connsiteX19" fmla="*/ 0 w 1234011"/>
                  <a:gd name="connsiteY19" fmla="*/ 616974 h 1233988"/>
                  <a:gd name="connsiteX20" fmla="*/ 0 w 1234011"/>
                  <a:gd name="connsiteY20" fmla="*/ 411326 h 1233988"/>
                  <a:gd name="connsiteX21" fmla="*/ 411349 w 1234011"/>
                  <a:gd name="connsiteY21" fmla="*/ 411326 h 123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34011" h="1233988">
                    <a:moveTo>
                      <a:pt x="411349" y="0"/>
                    </a:moveTo>
                    <a:lnTo>
                      <a:pt x="616997" y="0"/>
                    </a:lnTo>
                    <a:lnTo>
                      <a:pt x="616997" y="205717"/>
                    </a:lnTo>
                    <a:lnTo>
                      <a:pt x="822646" y="205717"/>
                    </a:lnTo>
                    <a:lnTo>
                      <a:pt x="822646" y="411343"/>
                    </a:lnTo>
                    <a:lnTo>
                      <a:pt x="616997" y="411343"/>
                    </a:lnTo>
                    <a:lnTo>
                      <a:pt x="616997" y="822646"/>
                    </a:lnTo>
                    <a:lnTo>
                      <a:pt x="822646" y="822646"/>
                    </a:lnTo>
                    <a:lnTo>
                      <a:pt x="822646" y="616997"/>
                    </a:lnTo>
                    <a:lnTo>
                      <a:pt x="1028363" y="616997"/>
                    </a:lnTo>
                    <a:lnTo>
                      <a:pt x="1028363" y="411349"/>
                    </a:lnTo>
                    <a:lnTo>
                      <a:pt x="1234011" y="411349"/>
                    </a:lnTo>
                    <a:lnTo>
                      <a:pt x="1234011" y="1028340"/>
                    </a:lnTo>
                    <a:lnTo>
                      <a:pt x="822646" y="1028340"/>
                    </a:lnTo>
                    <a:lnTo>
                      <a:pt x="822646" y="1233989"/>
                    </a:lnTo>
                    <a:lnTo>
                      <a:pt x="616997" y="1233989"/>
                    </a:lnTo>
                    <a:lnTo>
                      <a:pt x="616997" y="1028340"/>
                    </a:lnTo>
                    <a:lnTo>
                      <a:pt x="411349" y="1028340"/>
                    </a:lnTo>
                    <a:lnTo>
                      <a:pt x="411349" y="616974"/>
                    </a:lnTo>
                    <a:lnTo>
                      <a:pt x="0" y="616974"/>
                    </a:lnTo>
                    <a:lnTo>
                      <a:pt x="0" y="411326"/>
                    </a:lnTo>
                    <a:lnTo>
                      <a:pt x="411349" y="411326"/>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57" name="Freeform 56">
                <a:extLst>
                  <a:ext uri="{FF2B5EF4-FFF2-40B4-BE49-F238E27FC236}">
                    <a16:creationId xmlns:a16="http://schemas.microsoft.com/office/drawing/2014/main" id="{94737475-3F28-F19E-C536-69A18DBAE4DE}"/>
                  </a:ext>
                </a:extLst>
              </p:cNvPr>
              <p:cNvSpPr/>
              <p:nvPr/>
            </p:nvSpPr>
            <p:spPr>
              <a:xfrm>
                <a:off x="1403345" y="1898969"/>
                <a:ext cx="36095" cy="18053"/>
              </a:xfrm>
              <a:custGeom>
                <a:avLst/>
                <a:gdLst>
                  <a:gd name="connsiteX0" fmla="*/ 0 w 411302"/>
                  <a:gd name="connsiteY0" fmla="*/ 0 h 205717"/>
                  <a:gd name="connsiteX1" fmla="*/ 411303 w 411302"/>
                  <a:gd name="connsiteY1" fmla="*/ 0 h 205717"/>
                  <a:gd name="connsiteX2" fmla="*/ 411303 w 411302"/>
                  <a:gd name="connsiteY2" fmla="*/ 205717 h 205717"/>
                  <a:gd name="connsiteX3" fmla="*/ 0 w 411302"/>
                  <a:gd name="connsiteY3" fmla="*/ 205717 h 205717"/>
                </a:gdLst>
                <a:ahLst/>
                <a:cxnLst>
                  <a:cxn ang="0">
                    <a:pos x="connsiteX0" y="connsiteY0"/>
                  </a:cxn>
                  <a:cxn ang="0">
                    <a:pos x="connsiteX1" y="connsiteY1"/>
                  </a:cxn>
                  <a:cxn ang="0">
                    <a:pos x="connsiteX2" y="connsiteY2"/>
                  </a:cxn>
                  <a:cxn ang="0">
                    <a:pos x="connsiteX3" y="connsiteY3"/>
                  </a:cxn>
                </a:cxnLst>
                <a:rect l="l" t="t" r="r" b="b"/>
                <a:pathLst>
                  <a:path w="411302" h="205717">
                    <a:moveTo>
                      <a:pt x="0" y="0"/>
                    </a:moveTo>
                    <a:lnTo>
                      <a:pt x="411303" y="0"/>
                    </a:lnTo>
                    <a:lnTo>
                      <a:pt x="411303" y="205717"/>
                    </a:lnTo>
                    <a:lnTo>
                      <a:pt x="0" y="205717"/>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58" name="Freeform 57">
                <a:extLst>
                  <a:ext uri="{FF2B5EF4-FFF2-40B4-BE49-F238E27FC236}">
                    <a16:creationId xmlns:a16="http://schemas.microsoft.com/office/drawing/2014/main" id="{1BA6F1BD-2E35-610D-D65D-CCC9D51FA5A0}"/>
                  </a:ext>
                </a:extLst>
              </p:cNvPr>
              <p:cNvSpPr/>
              <p:nvPr/>
            </p:nvSpPr>
            <p:spPr>
              <a:xfrm>
                <a:off x="1601877" y="1898969"/>
                <a:ext cx="36100" cy="36094"/>
              </a:xfrm>
              <a:custGeom>
                <a:avLst/>
                <a:gdLst>
                  <a:gd name="connsiteX0" fmla="*/ 0 w 411365"/>
                  <a:gd name="connsiteY0" fmla="*/ 0 h 411297"/>
                  <a:gd name="connsiteX1" fmla="*/ 411366 w 411365"/>
                  <a:gd name="connsiteY1" fmla="*/ 0 h 411297"/>
                  <a:gd name="connsiteX2" fmla="*/ 411366 w 411365"/>
                  <a:gd name="connsiteY2" fmla="*/ 205648 h 411297"/>
                  <a:gd name="connsiteX3" fmla="*/ 205717 w 411365"/>
                  <a:gd name="connsiteY3" fmla="*/ 205648 h 411297"/>
                  <a:gd name="connsiteX4" fmla="*/ 205717 w 411365"/>
                  <a:gd name="connsiteY4" fmla="*/ 411297 h 411297"/>
                  <a:gd name="connsiteX5" fmla="*/ 0 w 411365"/>
                  <a:gd name="connsiteY5" fmla="*/ 411297 h 411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1365" h="411297">
                    <a:moveTo>
                      <a:pt x="0" y="0"/>
                    </a:moveTo>
                    <a:lnTo>
                      <a:pt x="411366" y="0"/>
                    </a:lnTo>
                    <a:lnTo>
                      <a:pt x="411366" y="205648"/>
                    </a:lnTo>
                    <a:lnTo>
                      <a:pt x="205717" y="205648"/>
                    </a:lnTo>
                    <a:lnTo>
                      <a:pt x="205717" y="411297"/>
                    </a:lnTo>
                    <a:lnTo>
                      <a:pt x="0" y="411297"/>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59" name="Freeform 58">
                <a:extLst>
                  <a:ext uri="{FF2B5EF4-FFF2-40B4-BE49-F238E27FC236}">
                    <a16:creationId xmlns:a16="http://schemas.microsoft.com/office/drawing/2014/main" id="{4050AF19-8AC3-39B4-11EF-4FACBFB77099}"/>
                  </a:ext>
                </a:extLst>
              </p:cNvPr>
              <p:cNvSpPr/>
              <p:nvPr/>
            </p:nvSpPr>
            <p:spPr>
              <a:xfrm>
                <a:off x="1656023" y="1898969"/>
                <a:ext cx="18053" cy="18053"/>
              </a:xfrm>
              <a:custGeom>
                <a:avLst/>
                <a:gdLst>
                  <a:gd name="connsiteX0" fmla="*/ 0 w 205717"/>
                  <a:gd name="connsiteY0" fmla="*/ 0 h 205717"/>
                  <a:gd name="connsiteX1" fmla="*/ 205717 w 205717"/>
                  <a:gd name="connsiteY1" fmla="*/ 0 h 205717"/>
                  <a:gd name="connsiteX2" fmla="*/ 205717 w 205717"/>
                  <a:gd name="connsiteY2" fmla="*/ 205717 h 205717"/>
                  <a:gd name="connsiteX3" fmla="*/ 0 w 205717"/>
                  <a:gd name="connsiteY3" fmla="*/ 205717 h 205717"/>
                </a:gdLst>
                <a:ahLst/>
                <a:cxnLst>
                  <a:cxn ang="0">
                    <a:pos x="connsiteX0" y="connsiteY0"/>
                  </a:cxn>
                  <a:cxn ang="0">
                    <a:pos x="connsiteX1" y="connsiteY1"/>
                  </a:cxn>
                  <a:cxn ang="0">
                    <a:pos x="connsiteX2" y="connsiteY2"/>
                  </a:cxn>
                  <a:cxn ang="0">
                    <a:pos x="connsiteX3" y="connsiteY3"/>
                  </a:cxn>
                </a:cxnLst>
                <a:rect l="l" t="t" r="r" b="b"/>
                <a:pathLst>
                  <a:path w="205717" h="205717">
                    <a:moveTo>
                      <a:pt x="0" y="0"/>
                    </a:moveTo>
                    <a:lnTo>
                      <a:pt x="205717" y="0"/>
                    </a:lnTo>
                    <a:lnTo>
                      <a:pt x="205717" y="205717"/>
                    </a:lnTo>
                    <a:lnTo>
                      <a:pt x="0" y="205717"/>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60" name="Freeform 59">
                <a:extLst>
                  <a:ext uri="{FF2B5EF4-FFF2-40B4-BE49-F238E27FC236}">
                    <a16:creationId xmlns:a16="http://schemas.microsoft.com/office/drawing/2014/main" id="{688BCF67-144D-CC57-FEFB-E1EFA9BA7E7C}"/>
                  </a:ext>
                </a:extLst>
              </p:cNvPr>
              <p:cNvSpPr/>
              <p:nvPr/>
            </p:nvSpPr>
            <p:spPr>
              <a:xfrm>
                <a:off x="1367250" y="1917014"/>
                <a:ext cx="54146" cy="54148"/>
              </a:xfrm>
              <a:custGeom>
                <a:avLst/>
                <a:gdLst>
                  <a:gd name="connsiteX0" fmla="*/ 0 w 616997"/>
                  <a:gd name="connsiteY0" fmla="*/ 0 h 617014"/>
                  <a:gd name="connsiteX1" fmla="*/ 411303 w 616997"/>
                  <a:gd name="connsiteY1" fmla="*/ 0 h 617014"/>
                  <a:gd name="connsiteX2" fmla="*/ 411303 w 616997"/>
                  <a:gd name="connsiteY2" fmla="*/ 205649 h 617014"/>
                  <a:gd name="connsiteX3" fmla="*/ 616997 w 616997"/>
                  <a:gd name="connsiteY3" fmla="*/ 205649 h 617014"/>
                  <a:gd name="connsiteX4" fmla="*/ 616997 w 616997"/>
                  <a:gd name="connsiteY4" fmla="*/ 411366 h 617014"/>
                  <a:gd name="connsiteX5" fmla="*/ 411303 w 616997"/>
                  <a:gd name="connsiteY5" fmla="*/ 411366 h 617014"/>
                  <a:gd name="connsiteX6" fmla="*/ 411303 w 616997"/>
                  <a:gd name="connsiteY6" fmla="*/ 617014 h 617014"/>
                  <a:gd name="connsiteX7" fmla="*/ 205654 w 616997"/>
                  <a:gd name="connsiteY7" fmla="*/ 617014 h 617014"/>
                  <a:gd name="connsiteX8" fmla="*/ 205654 w 616997"/>
                  <a:gd name="connsiteY8" fmla="*/ 205649 h 617014"/>
                  <a:gd name="connsiteX9" fmla="*/ 6 w 616997"/>
                  <a:gd name="connsiteY9" fmla="*/ 205649 h 61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997" h="617014">
                    <a:moveTo>
                      <a:pt x="0" y="0"/>
                    </a:moveTo>
                    <a:lnTo>
                      <a:pt x="411303" y="0"/>
                    </a:lnTo>
                    <a:lnTo>
                      <a:pt x="411303" y="205649"/>
                    </a:lnTo>
                    <a:lnTo>
                      <a:pt x="616997" y="205649"/>
                    </a:lnTo>
                    <a:lnTo>
                      <a:pt x="616997" y="411366"/>
                    </a:lnTo>
                    <a:lnTo>
                      <a:pt x="411303" y="411366"/>
                    </a:lnTo>
                    <a:lnTo>
                      <a:pt x="411303" y="617014"/>
                    </a:lnTo>
                    <a:lnTo>
                      <a:pt x="205654" y="617014"/>
                    </a:lnTo>
                    <a:lnTo>
                      <a:pt x="205654" y="205649"/>
                    </a:lnTo>
                    <a:lnTo>
                      <a:pt x="6" y="205649"/>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61" name="Freeform 60">
                <a:extLst>
                  <a:ext uri="{FF2B5EF4-FFF2-40B4-BE49-F238E27FC236}">
                    <a16:creationId xmlns:a16="http://schemas.microsoft.com/office/drawing/2014/main" id="{B10B3D43-857E-A3BE-EF85-C2E122C91D9A}"/>
                  </a:ext>
                </a:extLst>
              </p:cNvPr>
              <p:cNvSpPr/>
              <p:nvPr/>
            </p:nvSpPr>
            <p:spPr>
              <a:xfrm>
                <a:off x="1439446" y="1917014"/>
                <a:ext cx="36095" cy="54148"/>
              </a:xfrm>
              <a:custGeom>
                <a:avLst/>
                <a:gdLst>
                  <a:gd name="connsiteX0" fmla="*/ 0 w 411302"/>
                  <a:gd name="connsiteY0" fmla="*/ 0 h 617014"/>
                  <a:gd name="connsiteX1" fmla="*/ 411303 w 411302"/>
                  <a:gd name="connsiteY1" fmla="*/ 0 h 617014"/>
                  <a:gd name="connsiteX2" fmla="*/ 411303 w 411302"/>
                  <a:gd name="connsiteY2" fmla="*/ 205649 h 617014"/>
                  <a:gd name="connsiteX3" fmla="*/ 205654 w 411302"/>
                  <a:gd name="connsiteY3" fmla="*/ 205649 h 617014"/>
                  <a:gd name="connsiteX4" fmla="*/ 205654 w 411302"/>
                  <a:gd name="connsiteY4" fmla="*/ 411366 h 617014"/>
                  <a:gd name="connsiteX5" fmla="*/ 411303 w 411302"/>
                  <a:gd name="connsiteY5" fmla="*/ 411366 h 617014"/>
                  <a:gd name="connsiteX6" fmla="*/ 411303 w 411302"/>
                  <a:gd name="connsiteY6" fmla="*/ 617014 h 617014"/>
                  <a:gd name="connsiteX7" fmla="*/ 0 w 411302"/>
                  <a:gd name="connsiteY7" fmla="*/ 617014 h 61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302" h="617014">
                    <a:moveTo>
                      <a:pt x="0" y="0"/>
                    </a:moveTo>
                    <a:lnTo>
                      <a:pt x="411303" y="0"/>
                    </a:lnTo>
                    <a:lnTo>
                      <a:pt x="411303" y="205649"/>
                    </a:lnTo>
                    <a:lnTo>
                      <a:pt x="205654" y="205649"/>
                    </a:lnTo>
                    <a:lnTo>
                      <a:pt x="205654" y="411366"/>
                    </a:lnTo>
                    <a:lnTo>
                      <a:pt x="411303" y="411366"/>
                    </a:lnTo>
                    <a:lnTo>
                      <a:pt x="411303" y="617014"/>
                    </a:lnTo>
                    <a:lnTo>
                      <a:pt x="0" y="617014"/>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62" name="Freeform 61">
                <a:extLst>
                  <a:ext uri="{FF2B5EF4-FFF2-40B4-BE49-F238E27FC236}">
                    <a16:creationId xmlns:a16="http://schemas.microsoft.com/office/drawing/2014/main" id="{A27F3810-AFB7-1B59-441E-2189999117A9}"/>
                  </a:ext>
                </a:extLst>
              </p:cNvPr>
              <p:cNvSpPr/>
              <p:nvPr/>
            </p:nvSpPr>
            <p:spPr>
              <a:xfrm>
                <a:off x="1637978" y="1917014"/>
                <a:ext cx="72193" cy="72193"/>
              </a:xfrm>
              <a:custGeom>
                <a:avLst/>
                <a:gdLst>
                  <a:gd name="connsiteX0" fmla="*/ 411303 w 822645"/>
                  <a:gd name="connsiteY0" fmla="*/ 0 h 822639"/>
                  <a:gd name="connsiteX1" fmla="*/ 616997 w 822645"/>
                  <a:gd name="connsiteY1" fmla="*/ 0 h 822639"/>
                  <a:gd name="connsiteX2" fmla="*/ 616997 w 822645"/>
                  <a:gd name="connsiteY2" fmla="*/ 205649 h 822639"/>
                  <a:gd name="connsiteX3" fmla="*/ 822646 w 822645"/>
                  <a:gd name="connsiteY3" fmla="*/ 205649 h 822639"/>
                  <a:gd name="connsiteX4" fmla="*/ 822646 w 822645"/>
                  <a:gd name="connsiteY4" fmla="*/ 822640 h 822639"/>
                  <a:gd name="connsiteX5" fmla="*/ 616997 w 822645"/>
                  <a:gd name="connsiteY5" fmla="*/ 822640 h 822639"/>
                  <a:gd name="connsiteX6" fmla="*/ 616997 w 822645"/>
                  <a:gd name="connsiteY6" fmla="*/ 617014 h 822639"/>
                  <a:gd name="connsiteX7" fmla="*/ 205586 w 822645"/>
                  <a:gd name="connsiteY7" fmla="*/ 617014 h 822639"/>
                  <a:gd name="connsiteX8" fmla="*/ 205586 w 822645"/>
                  <a:gd name="connsiteY8" fmla="*/ 822640 h 822639"/>
                  <a:gd name="connsiteX9" fmla="*/ 0 w 822645"/>
                  <a:gd name="connsiteY9" fmla="*/ 822640 h 822639"/>
                  <a:gd name="connsiteX10" fmla="*/ 0 w 822645"/>
                  <a:gd name="connsiteY10" fmla="*/ 411360 h 822639"/>
                  <a:gd name="connsiteX11" fmla="*/ 411303 w 822645"/>
                  <a:gd name="connsiteY11" fmla="*/ 411360 h 822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2645" h="822639">
                    <a:moveTo>
                      <a:pt x="411303" y="0"/>
                    </a:moveTo>
                    <a:lnTo>
                      <a:pt x="616997" y="0"/>
                    </a:lnTo>
                    <a:lnTo>
                      <a:pt x="616997" y="205649"/>
                    </a:lnTo>
                    <a:lnTo>
                      <a:pt x="822646" y="205649"/>
                    </a:lnTo>
                    <a:lnTo>
                      <a:pt x="822646" y="822640"/>
                    </a:lnTo>
                    <a:lnTo>
                      <a:pt x="616997" y="822640"/>
                    </a:lnTo>
                    <a:lnTo>
                      <a:pt x="616997" y="617014"/>
                    </a:lnTo>
                    <a:lnTo>
                      <a:pt x="205586" y="617014"/>
                    </a:lnTo>
                    <a:lnTo>
                      <a:pt x="205586" y="822640"/>
                    </a:lnTo>
                    <a:lnTo>
                      <a:pt x="0" y="822640"/>
                    </a:lnTo>
                    <a:lnTo>
                      <a:pt x="0" y="411360"/>
                    </a:lnTo>
                    <a:lnTo>
                      <a:pt x="411303" y="411360"/>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63" name="Freeform 62">
                <a:extLst>
                  <a:ext uri="{FF2B5EF4-FFF2-40B4-BE49-F238E27FC236}">
                    <a16:creationId xmlns:a16="http://schemas.microsoft.com/office/drawing/2014/main" id="{3F4478CA-5B97-DE0D-8F11-D5C82CC6EF8E}"/>
                  </a:ext>
                </a:extLst>
              </p:cNvPr>
              <p:cNvSpPr/>
              <p:nvPr/>
            </p:nvSpPr>
            <p:spPr>
              <a:xfrm>
                <a:off x="1475541" y="1935059"/>
                <a:ext cx="18047" cy="18053"/>
              </a:xfrm>
              <a:custGeom>
                <a:avLst/>
                <a:gdLst>
                  <a:gd name="connsiteX0" fmla="*/ 0 w 205648"/>
                  <a:gd name="connsiteY0" fmla="*/ 0 h 205716"/>
                  <a:gd name="connsiteX1" fmla="*/ 205649 w 205648"/>
                  <a:gd name="connsiteY1" fmla="*/ 0 h 205716"/>
                  <a:gd name="connsiteX2" fmla="*/ 205649 w 205648"/>
                  <a:gd name="connsiteY2" fmla="*/ 205717 h 205716"/>
                  <a:gd name="connsiteX3" fmla="*/ 0 w 205648"/>
                  <a:gd name="connsiteY3" fmla="*/ 205717 h 205716"/>
                </a:gdLst>
                <a:ahLst/>
                <a:cxnLst>
                  <a:cxn ang="0">
                    <a:pos x="connsiteX0" y="connsiteY0"/>
                  </a:cxn>
                  <a:cxn ang="0">
                    <a:pos x="connsiteX1" y="connsiteY1"/>
                  </a:cxn>
                  <a:cxn ang="0">
                    <a:pos x="connsiteX2" y="connsiteY2"/>
                  </a:cxn>
                  <a:cxn ang="0">
                    <a:pos x="connsiteX3" y="connsiteY3"/>
                  </a:cxn>
                </a:cxnLst>
                <a:rect l="l" t="t" r="r" b="b"/>
                <a:pathLst>
                  <a:path w="205648" h="205716">
                    <a:moveTo>
                      <a:pt x="0" y="0"/>
                    </a:moveTo>
                    <a:lnTo>
                      <a:pt x="205649" y="0"/>
                    </a:lnTo>
                    <a:lnTo>
                      <a:pt x="205649" y="205717"/>
                    </a:lnTo>
                    <a:lnTo>
                      <a:pt x="0" y="205717"/>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64" name="Freeform 63">
                <a:extLst>
                  <a:ext uri="{FF2B5EF4-FFF2-40B4-BE49-F238E27FC236}">
                    <a16:creationId xmlns:a16="http://schemas.microsoft.com/office/drawing/2014/main" id="{EA5080D0-875F-BECD-E46C-7EA7AA22B448}"/>
                  </a:ext>
                </a:extLst>
              </p:cNvPr>
              <p:cNvSpPr/>
              <p:nvPr/>
            </p:nvSpPr>
            <p:spPr>
              <a:xfrm>
                <a:off x="1728214" y="1935059"/>
                <a:ext cx="18053" cy="18053"/>
              </a:xfrm>
              <a:custGeom>
                <a:avLst/>
                <a:gdLst>
                  <a:gd name="connsiteX0" fmla="*/ 0 w 205717"/>
                  <a:gd name="connsiteY0" fmla="*/ 0 h 205716"/>
                  <a:gd name="connsiteX1" fmla="*/ 205717 w 205717"/>
                  <a:gd name="connsiteY1" fmla="*/ 0 h 205716"/>
                  <a:gd name="connsiteX2" fmla="*/ 205717 w 205717"/>
                  <a:gd name="connsiteY2" fmla="*/ 205717 h 205716"/>
                  <a:gd name="connsiteX3" fmla="*/ 0 w 205717"/>
                  <a:gd name="connsiteY3" fmla="*/ 205717 h 205716"/>
                </a:gdLst>
                <a:ahLst/>
                <a:cxnLst>
                  <a:cxn ang="0">
                    <a:pos x="connsiteX0" y="connsiteY0"/>
                  </a:cxn>
                  <a:cxn ang="0">
                    <a:pos x="connsiteX1" y="connsiteY1"/>
                  </a:cxn>
                  <a:cxn ang="0">
                    <a:pos x="connsiteX2" y="connsiteY2"/>
                  </a:cxn>
                  <a:cxn ang="0">
                    <a:pos x="connsiteX3" y="connsiteY3"/>
                  </a:cxn>
                </a:cxnLst>
                <a:rect l="l" t="t" r="r" b="b"/>
                <a:pathLst>
                  <a:path w="205717" h="205716">
                    <a:moveTo>
                      <a:pt x="0" y="0"/>
                    </a:moveTo>
                    <a:lnTo>
                      <a:pt x="205717" y="0"/>
                    </a:lnTo>
                    <a:lnTo>
                      <a:pt x="205717" y="205717"/>
                    </a:lnTo>
                    <a:lnTo>
                      <a:pt x="0" y="205717"/>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65" name="Freeform 64">
                <a:extLst>
                  <a:ext uri="{FF2B5EF4-FFF2-40B4-BE49-F238E27FC236}">
                    <a16:creationId xmlns:a16="http://schemas.microsoft.com/office/drawing/2014/main" id="{EB643E42-E3C0-27D3-9E98-9434A7F6ABF5}"/>
                  </a:ext>
                </a:extLst>
              </p:cNvPr>
              <p:cNvSpPr/>
              <p:nvPr/>
            </p:nvSpPr>
            <p:spPr>
              <a:xfrm>
                <a:off x="1475538" y="1953114"/>
                <a:ext cx="36099" cy="36093"/>
              </a:xfrm>
              <a:custGeom>
                <a:avLst/>
                <a:gdLst>
                  <a:gd name="connsiteX0" fmla="*/ 205723 w 411348"/>
                  <a:gd name="connsiteY0" fmla="*/ 0 h 411280"/>
                  <a:gd name="connsiteX1" fmla="*/ 411349 w 411348"/>
                  <a:gd name="connsiteY1" fmla="*/ 0 h 411280"/>
                  <a:gd name="connsiteX2" fmla="*/ 411349 w 411348"/>
                  <a:gd name="connsiteY2" fmla="*/ 411280 h 411280"/>
                  <a:gd name="connsiteX3" fmla="*/ 0 w 411348"/>
                  <a:gd name="connsiteY3" fmla="*/ 411280 h 411280"/>
                  <a:gd name="connsiteX4" fmla="*/ 0 w 411348"/>
                  <a:gd name="connsiteY4" fmla="*/ 205654 h 411280"/>
                  <a:gd name="connsiteX5" fmla="*/ 205717 w 411348"/>
                  <a:gd name="connsiteY5" fmla="*/ 205654 h 41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1348" h="411280">
                    <a:moveTo>
                      <a:pt x="205723" y="0"/>
                    </a:moveTo>
                    <a:lnTo>
                      <a:pt x="411349" y="0"/>
                    </a:lnTo>
                    <a:lnTo>
                      <a:pt x="411349" y="411280"/>
                    </a:lnTo>
                    <a:lnTo>
                      <a:pt x="0" y="411280"/>
                    </a:lnTo>
                    <a:lnTo>
                      <a:pt x="0" y="205654"/>
                    </a:lnTo>
                    <a:lnTo>
                      <a:pt x="205717" y="205654"/>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66" name="Freeform 65">
                <a:extLst>
                  <a:ext uri="{FF2B5EF4-FFF2-40B4-BE49-F238E27FC236}">
                    <a16:creationId xmlns:a16="http://schemas.microsoft.com/office/drawing/2014/main" id="{1FFEC955-095C-2236-D4EB-B49CF0A432F1}"/>
                  </a:ext>
                </a:extLst>
              </p:cNvPr>
              <p:cNvSpPr/>
              <p:nvPr/>
            </p:nvSpPr>
            <p:spPr>
              <a:xfrm>
                <a:off x="1583832" y="1953114"/>
                <a:ext cx="18053" cy="18047"/>
              </a:xfrm>
              <a:custGeom>
                <a:avLst/>
                <a:gdLst>
                  <a:gd name="connsiteX0" fmla="*/ 0 w 205717"/>
                  <a:gd name="connsiteY0" fmla="*/ 0 h 205648"/>
                  <a:gd name="connsiteX1" fmla="*/ 205717 w 205717"/>
                  <a:gd name="connsiteY1" fmla="*/ 0 h 205648"/>
                  <a:gd name="connsiteX2" fmla="*/ 205717 w 205717"/>
                  <a:gd name="connsiteY2" fmla="*/ 205649 h 205648"/>
                  <a:gd name="connsiteX3" fmla="*/ 0 w 205717"/>
                  <a:gd name="connsiteY3" fmla="*/ 205649 h 205648"/>
                </a:gdLst>
                <a:ahLst/>
                <a:cxnLst>
                  <a:cxn ang="0">
                    <a:pos x="connsiteX0" y="connsiteY0"/>
                  </a:cxn>
                  <a:cxn ang="0">
                    <a:pos x="connsiteX1" y="connsiteY1"/>
                  </a:cxn>
                  <a:cxn ang="0">
                    <a:pos x="connsiteX2" y="connsiteY2"/>
                  </a:cxn>
                  <a:cxn ang="0">
                    <a:pos x="connsiteX3" y="connsiteY3"/>
                  </a:cxn>
                </a:cxnLst>
                <a:rect l="l" t="t" r="r" b="b"/>
                <a:pathLst>
                  <a:path w="205717" h="205648">
                    <a:moveTo>
                      <a:pt x="0" y="0"/>
                    </a:moveTo>
                    <a:lnTo>
                      <a:pt x="205717" y="0"/>
                    </a:lnTo>
                    <a:lnTo>
                      <a:pt x="205717" y="205649"/>
                    </a:lnTo>
                    <a:lnTo>
                      <a:pt x="0" y="205649"/>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67" name="Freeform 66">
                <a:extLst>
                  <a:ext uri="{FF2B5EF4-FFF2-40B4-BE49-F238E27FC236}">
                    <a16:creationId xmlns:a16="http://schemas.microsoft.com/office/drawing/2014/main" id="{902E2750-2C3E-F32F-344D-B808D4074588}"/>
                  </a:ext>
                </a:extLst>
              </p:cNvPr>
              <p:cNvSpPr/>
              <p:nvPr/>
            </p:nvSpPr>
            <p:spPr>
              <a:xfrm>
                <a:off x="1367250" y="1971159"/>
                <a:ext cx="18047" cy="18053"/>
              </a:xfrm>
              <a:custGeom>
                <a:avLst/>
                <a:gdLst>
                  <a:gd name="connsiteX0" fmla="*/ 0 w 205648"/>
                  <a:gd name="connsiteY0" fmla="*/ 0 h 205717"/>
                  <a:gd name="connsiteX1" fmla="*/ 205649 w 205648"/>
                  <a:gd name="connsiteY1" fmla="*/ 0 h 205717"/>
                  <a:gd name="connsiteX2" fmla="*/ 205649 w 205648"/>
                  <a:gd name="connsiteY2" fmla="*/ 205717 h 205717"/>
                  <a:gd name="connsiteX3" fmla="*/ 0 w 205648"/>
                  <a:gd name="connsiteY3" fmla="*/ 205717 h 205717"/>
                </a:gdLst>
                <a:ahLst/>
                <a:cxnLst>
                  <a:cxn ang="0">
                    <a:pos x="connsiteX0" y="connsiteY0"/>
                  </a:cxn>
                  <a:cxn ang="0">
                    <a:pos x="connsiteX1" y="connsiteY1"/>
                  </a:cxn>
                  <a:cxn ang="0">
                    <a:pos x="connsiteX2" y="connsiteY2"/>
                  </a:cxn>
                  <a:cxn ang="0">
                    <a:pos x="connsiteX3" y="connsiteY3"/>
                  </a:cxn>
                </a:cxnLst>
                <a:rect l="l" t="t" r="r" b="b"/>
                <a:pathLst>
                  <a:path w="205648" h="205717">
                    <a:moveTo>
                      <a:pt x="0" y="0"/>
                    </a:moveTo>
                    <a:lnTo>
                      <a:pt x="205649" y="0"/>
                    </a:lnTo>
                    <a:lnTo>
                      <a:pt x="205649" y="205717"/>
                    </a:lnTo>
                    <a:lnTo>
                      <a:pt x="0" y="205717"/>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68" name="Freeform 67">
                <a:extLst>
                  <a:ext uri="{FF2B5EF4-FFF2-40B4-BE49-F238E27FC236}">
                    <a16:creationId xmlns:a16="http://schemas.microsoft.com/office/drawing/2014/main" id="{724D6F96-6352-4F76-5055-153542257087}"/>
                  </a:ext>
                </a:extLst>
              </p:cNvPr>
              <p:cNvSpPr/>
              <p:nvPr/>
            </p:nvSpPr>
            <p:spPr>
              <a:xfrm>
                <a:off x="1403345" y="1971159"/>
                <a:ext cx="18047" cy="18053"/>
              </a:xfrm>
              <a:custGeom>
                <a:avLst/>
                <a:gdLst>
                  <a:gd name="connsiteX0" fmla="*/ 0 w 205648"/>
                  <a:gd name="connsiteY0" fmla="*/ 0 h 205717"/>
                  <a:gd name="connsiteX1" fmla="*/ 205649 w 205648"/>
                  <a:gd name="connsiteY1" fmla="*/ 0 h 205717"/>
                  <a:gd name="connsiteX2" fmla="*/ 205649 w 205648"/>
                  <a:gd name="connsiteY2" fmla="*/ 205717 h 205717"/>
                  <a:gd name="connsiteX3" fmla="*/ 0 w 205648"/>
                  <a:gd name="connsiteY3" fmla="*/ 205717 h 205717"/>
                </a:gdLst>
                <a:ahLst/>
                <a:cxnLst>
                  <a:cxn ang="0">
                    <a:pos x="connsiteX0" y="connsiteY0"/>
                  </a:cxn>
                  <a:cxn ang="0">
                    <a:pos x="connsiteX1" y="connsiteY1"/>
                  </a:cxn>
                  <a:cxn ang="0">
                    <a:pos x="connsiteX2" y="connsiteY2"/>
                  </a:cxn>
                  <a:cxn ang="0">
                    <a:pos x="connsiteX3" y="connsiteY3"/>
                  </a:cxn>
                </a:cxnLst>
                <a:rect l="l" t="t" r="r" b="b"/>
                <a:pathLst>
                  <a:path w="205648" h="205717">
                    <a:moveTo>
                      <a:pt x="0" y="0"/>
                    </a:moveTo>
                    <a:lnTo>
                      <a:pt x="205649" y="0"/>
                    </a:lnTo>
                    <a:lnTo>
                      <a:pt x="205649" y="205717"/>
                    </a:lnTo>
                    <a:lnTo>
                      <a:pt x="0" y="205717"/>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69" name="Freeform 68">
                <a:extLst>
                  <a:ext uri="{FF2B5EF4-FFF2-40B4-BE49-F238E27FC236}">
                    <a16:creationId xmlns:a16="http://schemas.microsoft.com/office/drawing/2014/main" id="{2A1EB4C1-238C-C918-7093-22FB6694DAF7}"/>
                  </a:ext>
                </a:extLst>
              </p:cNvPr>
              <p:cNvSpPr/>
              <p:nvPr/>
            </p:nvSpPr>
            <p:spPr>
              <a:xfrm>
                <a:off x="1511637" y="1971159"/>
                <a:ext cx="72195" cy="90240"/>
              </a:xfrm>
              <a:custGeom>
                <a:avLst/>
                <a:gdLst>
                  <a:gd name="connsiteX0" fmla="*/ 411297 w 822662"/>
                  <a:gd name="connsiteY0" fmla="*/ 0 h 1028294"/>
                  <a:gd name="connsiteX1" fmla="*/ 822663 w 822662"/>
                  <a:gd name="connsiteY1" fmla="*/ 0 h 1028294"/>
                  <a:gd name="connsiteX2" fmla="*/ 822663 w 822662"/>
                  <a:gd name="connsiteY2" fmla="*/ 205626 h 1028294"/>
                  <a:gd name="connsiteX3" fmla="*/ 617014 w 822662"/>
                  <a:gd name="connsiteY3" fmla="*/ 205626 h 1028294"/>
                  <a:gd name="connsiteX4" fmla="*/ 617014 w 822662"/>
                  <a:gd name="connsiteY4" fmla="*/ 616992 h 1028294"/>
                  <a:gd name="connsiteX5" fmla="*/ 411297 w 822662"/>
                  <a:gd name="connsiteY5" fmla="*/ 616992 h 1028294"/>
                  <a:gd name="connsiteX6" fmla="*/ 411297 w 822662"/>
                  <a:gd name="connsiteY6" fmla="*/ 1028294 h 1028294"/>
                  <a:gd name="connsiteX7" fmla="*/ 205648 w 822662"/>
                  <a:gd name="connsiteY7" fmla="*/ 1028294 h 1028294"/>
                  <a:gd name="connsiteX8" fmla="*/ 205648 w 822662"/>
                  <a:gd name="connsiteY8" fmla="*/ 616992 h 1028294"/>
                  <a:gd name="connsiteX9" fmla="*/ 0 w 822662"/>
                  <a:gd name="connsiteY9" fmla="*/ 616992 h 1028294"/>
                  <a:gd name="connsiteX10" fmla="*/ 0 w 822662"/>
                  <a:gd name="connsiteY10" fmla="*/ 205626 h 1028294"/>
                  <a:gd name="connsiteX11" fmla="*/ 205648 w 822662"/>
                  <a:gd name="connsiteY11" fmla="*/ 205626 h 1028294"/>
                  <a:gd name="connsiteX12" fmla="*/ 205648 w 822662"/>
                  <a:gd name="connsiteY12" fmla="*/ 411274 h 1028294"/>
                  <a:gd name="connsiteX13" fmla="*/ 411297 w 822662"/>
                  <a:gd name="connsiteY13" fmla="*/ 411274 h 1028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22662" h="1028294">
                    <a:moveTo>
                      <a:pt x="411297" y="0"/>
                    </a:moveTo>
                    <a:lnTo>
                      <a:pt x="822663" y="0"/>
                    </a:lnTo>
                    <a:lnTo>
                      <a:pt x="822663" y="205626"/>
                    </a:lnTo>
                    <a:lnTo>
                      <a:pt x="617014" y="205626"/>
                    </a:lnTo>
                    <a:lnTo>
                      <a:pt x="617014" y="616992"/>
                    </a:lnTo>
                    <a:lnTo>
                      <a:pt x="411297" y="616992"/>
                    </a:lnTo>
                    <a:lnTo>
                      <a:pt x="411297" y="1028294"/>
                    </a:lnTo>
                    <a:lnTo>
                      <a:pt x="205648" y="1028294"/>
                    </a:lnTo>
                    <a:lnTo>
                      <a:pt x="205648" y="616992"/>
                    </a:lnTo>
                    <a:lnTo>
                      <a:pt x="0" y="616992"/>
                    </a:lnTo>
                    <a:lnTo>
                      <a:pt x="0" y="205626"/>
                    </a:lnTo>
                    <a:lnTo>
                      <a:pt x="205648" y="205626"/>
                    </a:lnTo>
                    <a:lnTo>
                      <a:pt x="205648" y="411274"/>
                    </a:lnTo>
                    <a:lnTo>
                      <a:pt x="411297" y="411274"/>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70" name="Freeform 69">
                <a:extLst>
                  <a:ext uri="{FF2B5EF4-FFF2-40B4-BE49-F238E27FC236}">
                    <a16:creationId xmlns:a16="http://schemas.microsoft.com/office/drawing/2014/main" id="{1189C4B7-AB7E-5EF1-8144-5DE30ADCDDB8}"/>
                  </a:ext>
                </a:extLst>
              </p:cNvPr>
              <p:cNvSpPr/>
              <p:nvPr/>
            </p:nvSpPr>
            <p:spPr>
              <a:xfrm>
                <a:off x="1601877" y="1971159"/>
                <a:ext cx="18053" cy="18053"/>
              </a:xfrm>
              <a:custGeom>
                <a:avLst/>
                <a:gdLst>
                  <a:gd name="connsiteX0" fmla="*/ 0 w 205716"/>
                  <a:gd name="connsiteY0" fmla="*/ 0 h 205717"/>
                  <a:gd name="connsiteX1" fmla="*/ 205717 w 205716"/>
                  <a:gd name="connsiteY1" fmla="*/ 0 h 205717"/>
                  <a:gd name="connsiteX2" fmla="*/ 205717 w 205716"/>
                  <a:gd name="connsiteY2" fmla="*/ 205717 h 205717"/>
                  <a:gd name="connsiteX3" fmla="*/ 0 w 205716"/>
                  <a:gd name="connsiteY3" fmla="*/ 205717 h 205717"/>
                </a:gdLst>
                <a:ahLst/>
                <a:cxnLst>
                  <a:cxn ang="0">
                    <a:pos x="connsiteX0" y="connsiteY0"/>
                  </a:cxn>
                  <a:cxn ang="0">
                    <a:pos x="connsiteX1" y="connsiteY1"/>
                  </a:cxn>
                  <a:cxn ang="0">
                    <a:pos x="connsiteX2" y="connsiteY2"/>
                  </a:cxn>
                  <a:cxn ang="0">
                    <a:pos x="connsiteX3" y="connsiteY3"/>
                  </a:cxn>
                </a:cxnLst>
                <a:rect l="l" t="t" r="r" b="b"/>
                <a:pathLst>
                  <a:path w="205716" h="205717">
                    <a:moveTo>
                      <a:pt x="0" y="0"/>
                    </a:moveTo>
                    <a:lnTo>
                      <a:pt x="205717" y="0"/>
                    </a:lnTo>
                    <a:lnTo>
                      <a:pt x="205717" y="205717"/>
                    </a:lnTo>
                    <a:lnTo>
                      <a:pt x="0" y="205717"/>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71" name="Freeform 70">
                <a:extLst>
                  <a:ext uri="{FF2B5EF4-FFF2-40B4-BE49-F238E27FC236}">
                    <a16:creationId xmlns:a16="http://schemas.microsoft.com/office/drawing/2014/main" id="{34D78BF0-AC7F-AA1B-97E0-D0D335A9CA6A}"/>
                  </a:ext>
                </a:extLst>
              </p:cNvPr>
              <p:cNvSpPr/>
              <p:nvPr/>
            </p:nvSpPr>
            <p:spPr>
              <a:xfrm>
                <a:off x="1728214" y="1971159"/>
                <a:ext cx="18053" cy="18053"/>
              </a:xfrm>
              <a:custGeom>
                <a:avLst/>
                <a:gdLst>
                  <a:gd name="connsiteX0" fmla="*/ 0 w 205717"/>
                  <a:gd name="connsiteY0" fmla="*/ 0 h 205717"/>
                  <a:gd name="connsiteX1" fmla="*/ 205717 w 205717"/>
                  <a:gd name="connsiteY1" fmla="*/ 0 h 205717"/>
                  <a:gd name="connsiteX2" fmla="*/ 205717 w 205717"/>
                  <a:gd name="connsiteY2" fmla="*/ 205717 h 205717"/>
                  <a:gd name="connsiteX3" fmla="*/ 0 w 205717"/>
                  <a:gd name="connsiteY3" fmla="*/ 205717 h 205717"/>
                </a:gdLst>
                <a:ahLst/>
                <a:cxnLst>
                  <a:cxn ang="0">
                    <a:pos x="connsiteX0" y="connsiteY0"/>
                  </a:cxn>
                  <a:cxn ang="0">
                    <a:pos x="connsiteX1" y="connsiteY1"/>
                  </a:cxn>
                  <a:cxn ang="0">
                    <a:pos x="connsiteX2" y="connsiteY2"/>
                  </a:cxn>
                  <a:cxn ang="0">
                    <a:pos x="connsiteX3" y="connsiteY3"/>
                  </a:cxn>
                </a:cxnLst>
                <a:rect l="l" t="t" r="r" b="b"/>
                <a:pathLst>
                  <a:path w="205717" h="205717">
                    <a:moveTo>
                      <a:pt x="0" y="0"/>
                    </a:moveTo>
                    <a:lnTo>
                      <a:pt x="205717" y="0"/>
                    </a:lnTo>
                    <a:lnTo>
                      <a:pt x="205717" y="205717"/>
                    </a:lnTo>
                    <a:lnTo>
                      <a:pt x="0" y="205717"/>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72" name="Freeform 71">
                <a:extLst>
                  <a:ext uri="{FF2B5EF4-FFF2-40B4-BE49-F238E27FC236}">
                    <a16:creationId xmlns:a16="http://schemas.microsoft.com/office/drawing/2014/main" id="{9E532CB5-8669-4207-8759-BCB6D5CD49ED}"/>
                  </a:ext>
                </a:extLst>
              </p:cNvPr>
              <p:cNvSpPr/>
              <p:nvPr/>
            </p:nvSpPr>
            <p:spPr>
              <a:xfrm>
                <a:off x="1583832" y="1989204"/>
                <a:ext cx="18053" cy="36095"/>
              </a:xfrm>
              <a:custGeom>
                <a:avLst/>
                <a:gdLst>
                  <a:gd name="connsiteX0" fmla="*/ 0 w 205717"/>
                  <a:gd name="connsiteY0" fmla="*/ 0 h 411302"/>
                  <a:gd name="connsiteX1" fmla="*/ 205717 w 205717"/>
                  <a:gd name="connsiteY1" fmla="*/ 0 h 411302"/>
                  <a:gd name="connsiteX2" fmla="*/ 205717 w 205717"/>
                  <a:gd name="connsiteY2" fmla="*/ 411303 h 411302"/>
                  <a:gd name="connsiteX3" fmla="*/ 0 w 205717"/>
                  <a:gd name="connsiteY3" fmla="*/ 411303 h 411302"/>
                </a:gdLst>
                <a:ahLst/>
                <a:cxnLst>
                  <a:cxn ang="0">
                    <a:pos x="connsiteX0" y="connsiteY0"/>
                  </a:cxn>
                  <a:cxn ang="0">
                    <a:pos x="connsiteX1" y="connsiteY1"/>
                  </a:cxn>
                  <a:cxn ang="0">
                    <a:pos x="connsiteX2" y="connsiteY2"/>
                  </a:cxn>
                  <a:cxn ang="0">
                    <a:pos x="connsiteX3" y="connsiteY3"/>
                  </a:cxn>
                </a:cxnLst>
                <a:rect l="l" t="t" r="r" b="b"/>
                <a:pathLst>
                  <a:path w="205717" h="411302">
                    <a:moveTo>
                      <a:pt x="0" y="0"/>
                    </a:moveTo>
                    <a:lnTo>
                      <a:pt x="205717" y="0"/>
                    </a:lnTo>
                    <a:lnTo>
                      <a:pt x="205717" y="411303"/>
                    </a:lnTo>
                    <a:lnTo>
                      <a:pt x="0" y="411303"/>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73" name="Freeform 72">
                <a:extLst>
                  <a:ext uri="{FF2B5EF4-FFF2-40B4-BE49-F238E27FC236}">
                    <a16:creationId xmlns:a16="http://schemas.microsoft.com/office/drawing/2014/main" id="{F0163654-4372-E45C-2613-588A80FB2842}"/>
                  </a:ext>
                </a:extLst>
              </p:cNvPr>
              <p:cNvSpPr/>
              <p:nvPr/>
            </p:nvSpPr>
            <p:spPr>
              <a:xfrm>
                <a:off x="1674073" y="1989204"/>
                <a:ext cx="18053" cy="36095"/>
              </a:xfrm>
              <a:custGeom>
                <a:avLst/>
                <a:gdLst>
                  <a:gd name="connsiteX0" fmla="*/ 0 w 205717"/>
                  <a:gd name="connsiteY0" fmla="*/ 0 h 411302"/>
                  <a:gd name="connsiteX1" fmla="*/ 205717 w 205717"/>
                  <a:gd name="connsiteY1" fmla="*/ 0 h 411302"/>
                  <a:gd name="connsiteX2" fmla="*/ 205717 w 205717"/>
                  <a:gd name="connsiteY2" fmla="*/ 411303 h 411302"/>
                  <a:gd name="connsiteX3" fmla="*/ 0 w 205717"/>
                  <a:gd name="connsiteY3" fmla="*/ 411303 h 411302"/>
                </a:gdLst>
                <a:ahLst/>
                <a:cxnLst>
                  <a:cxn ang="0">
                    <a:pos x="connsiteX0" y="connsiteY0"/>
                  </a:cxn>
                  <a:cxn ang="0">
                    <a:pos x="connsiteX1" y="connsiteY1"/>
                  </a:cxn>
                  <a:cxn ang="0">
                    <a:pos x="connsiteX2" y="connsiteY2"/>
                  </a:cxn>
                  <a:cxn ang="0">
                    <a:pos x="connsiteX3" y="connsiteY3"/>
                  </a:cxn>
                </a:cxnLst>
                <a:rect l="l" t="t" r="r" b="b"/>
                <a:pathLst>
                  <a:path w="205717" h="411302">
                    <a:moveTo>
                      <a:pt x="0" y="0"/>
                    </a:moveTo>
                    <a:lnTo>
                      <a:pt x="205717" y="0"/>
                    </a:lnTo>
                    <a:lnTo>
                      <a:pt x="205717" y="411303"/>
                    </a:lnTo>
                    <a:lnTo>
                      <a:pt x="0" y="411303"/>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74" name="Freeform 73">
                <a:extLst>
                  <a:ext uri="{FF2B5EF4-FFF2-40B4-BE49-F238E27FC236}">
                    <a16:creationId xmlns:a16="http://schemas.microsoft.com/office/drawing/2014/main" id="{66632542-1202-E5FC-22CC-39F3EAAAD3C6}"/>
                  </a:ext>
                </a:extLst>
              </p:cNvPr>
              <p:cNvSpPr/>
              <p:nvPr/>
            </p:nvSpPr>
            <p:spPr>
              <a:xfrm>
                <a:off x="1710174" y="1989204"/>
                <a:ext cx="18047" cy="18047"/>
              </a:xfrm>
              <a:custGeom>
                <a:avLst/>
                <a:gdLst>
                  <a:gd name="connsiteX0" fmla="*/ 0 w 205648"/>
                  <a:gd name="connsiteY0" fmla="*/ 0 h 205648"/>
                  <a:gd name="connsiteX1" fmla="*/ 205649 w 205648"/>
                  <a:gd name="connsiteY1" fmla="*/ 0 h 205648"/>
                  <a:gd name="connsiteX2" fmla="*/ 205649 w 205648"/>
                  <a:gd name="connsiteY2" fmla="*/ 205648 h 205648"/>
                  <a:gd name="connsiteX3" fmla="*/ 0 w 205648"/>
                  <a:gd name="connsiteY3" fmla="*/ 205648 h 205648"/>
                </a:gdLst>
                <a:ahLst/>
                <a:cxnLst>
                  <a:cxn ang="0">
                    <a:pos x="connsiteX0" y="connsiteY0"/>
                  </a:cxn>
                  <a:cxn ang="0">
                    <a:pos x="connsiteX1" y="connsiteY1"/>
                  </a:cxn>
                  <a:cxn ang="0">
                    <a:pos x="connsiteX2" y="connsiteY2"/>
                  </a:cxn>
                  <a:cxn ang="0">
                    <a:pos x="connsiteX3" y="connsiteY3"/>
                  </a:cxn>
                </a:cxnLst>
                <a:rect l="l" t="t" r="r" b="b"/>
                <a:pathLst>
                  <a:path w="205648" h="205648">
                    <a:moveTo>
                      <a:pt x="0" y="0"/>
                    </a:moveTo>
                    <a:lnTo>
                      <a:pt x="205649" y="0"/>
                    </a:lnTo>
                    <a:lnTo>
                      <a:pt x="205649" y="205648"/>
                    </a:lnTo>
                    <a:lnTo>
                      <a:pt x="0" y="205648"/>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75" name="Freeform 74">
                <a:extLst>
                  <a:ext uri="{FF2B5EF4-FFF2-40B4-BE49-F238E27FC236}">
                    <a16:creationId xmlns:a16="http://schemas.microsoft.com/office/drawing/2014/main" id="{94530FCF-E0AD-F7F1-95AC-CF6380932A10}"/>
                  </a:ext>
                </a:extLst>
              </p:cNvPr>
              <p:cNvSpPr/>
              <p:nvPr/>
            </p:nvSpPr>
            <p:spPr>
              <a:xfrm>
                <a:off x="1529688" y="2007255"/>
                <a:ext cx="198531" cy="126341"/>
              </a:xfrm>
              <a:custGeom>
                <a:avLst/>
                <a:gdLst>
                  <a:gd name="connsiteX0" fmla="*/ 1234029 w 2262265"/>
                  <a:gd name="connsiteY0" fmla="*/ 0 h 1439665"/>
                  <a:gd name="connsiteX1" fmla="*/ 1439614 w 2262265"/>
                  <a:gd name="connsiteY1" fmla="*/ 0 h 1439665"/>
                  <a:gd name="connsiteX2" fmla="*/ 1439614 w 2262265"/>
                  <a:gd name="connsiteY2" fmla="*/ 205717 h 1439665"/>
                  <a:gd name="connsiteX3" fmla="*/ 1645332 w 2262265"/>
                  <a:gd name="connsiteY3" fmla="*/ 205717 h 1439665"/>
                  <a:gd name="connsiteX4" fmla="*/ 1645332 w 2262265"/>
                  <a:gd name="connsiteY4" fmla="*/ 617020 h 1439665"/>
                  <a:gd name="connsiteX5" fmla="*/ 2262266 w 2262265"/>
                  <a:gd name="connsiteY5" fmla="*/ 617020 h 1439665"/>
                  <a:gd name="connsiteX6" fmla="*/ 2262266 w 2262265"/>
                  <a:gd name="connsiteY6" fmla="*/ 822646 h 1439665"/>
                  <a:gd name="connsiteX7" fmla="*/ 1439592 w 2262265"/>
                  <a:gd name="connsiteY7" fmla="*/ 822646 h 1439665"/>
                  <a:gd name="connsiteX8" fmla="*/ 1439592 w 2262265"/>
                  <a:gd name="connsiteY8" fmla="*/ 1233949 h 1439665"/>
                  <a:gd name="connsiteX9" fmla="*/ 1234006 w 2262265"/>
                  <a:gd name="connsiteY9" fmla="*/ 1233949 h 1439665"/>
                  <a:gd name="connsiteX10" fmla="*/ 1234006 w 2262265"/>
                  <a:gd name="connsiteY10" fmla="*/ 822646 h 1439665"/>
                  <a:gd name="connsiteX11" fmla="*/ 1028357 w 2262265"/>
                  <a:gd name="connsiteY11" fmla="*/ 822646 h 1439665"/>
                  <a:gd name="connsiteX12" fmla="*/ 1028357 w 2262265"/>
                  <a:gd name="connsiteY12" fmla="*/ 1028363 h 1439665"/>
                  <a:gd name="connsiteX13" fmla="*/ 822640 w 2262265"/>
                  <a:gd name="connsiteY13" fmla="*/ 1028363 h 1439665"/>
                  <a:gd name="connsiteX14" fmla="*/ 822640 w 2262265"/>
                  <a:gd name="connsiteY14" fmla="*/ 1233949 h 1439665"/>
                  <a:gd name="connsiteX15" fmla="*/ 1028357 w 2262265"/>
                  <a:gd name="connsiteY15" fmla="*/ 1233949 h 1439665"/>
                  <a:gd name="connsiteX16" fmla="*/ 1028357 w 2262265"/>
                  <a:gd name="connsiteY16" fmla="*/ 1439666 h 1439665"/>
                  <a:gd name="connsiteX17" fmla="*/ 0 w 2262265"/>
                  <a:gd name="connsiteY17" fmla="*/ 1439666 h 1439665"/>
                  <a:gd name="connsiteX18" fmla="*/ 0 w 2262265"/>
                  <a:gd name="connsiteY18" fmla="*/ 1233949 h 1439665"/>
                  <a:gd name="connsiteX19" fmla="*/ 616992 w 2262265"/>
                  <a:gd name="connsiteY19" fmla="*/ 1233949 h 1439665"/>
                  <a:gd name="connsiteX20" fmla="*/ 616992 w 2262265"/>
                  <a:gd name="connsiteY20" fmla="*/ 822646 h 1439665"/>
                  <a:gd name="connsiteX21" fmla="*/ 822617 w 2262265"/>
                  <a:gd name="connsiteY21" fmla="*/ 822646 h 1439665"/>
                  <a:gd name="connsiteX22" fmla="*/ 822617 w 2262265"/>
                  <a:gd name="connsiteY22" fmla="*/ 205711 h 1439665"/>
                  <a:gd name="connsiteX23" fmla="*/ 1233983 w 2262265"/>
                  <a:gd name="connsiteY23" fmla="*/ 205711 h 1439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262265" h="1439665">
                    <a:moveTo>
                      <a:pt x="1234029" y="0"/>
                    </a:moveTo>
                    <a:lnTo>
                      <a:pt x="1439614" y="0"/>
                    </a:lnTo>
                    <a:lnTo>
                      <a:pt x="1439614" y="205717"/>
                    </a:lnTo>
                    <a:lnTo>
                      <a:pt x="1645332" y="205717"/>
                    </a:lnTo>
                    <a:lnTo>
                      <a:pt x="1645332" y="617020"/>
                    </a:lnTo>
                    <a:lnTo>
                      <a:pt x="2262266" y="617020"/>
                    </a:lnTo>
                    <a:lnTo>
                      <a:pt x="2262266" y="822646"/>
                    </a:lnTo>
                    <a:lnTo>
                      <a:pt x="1439592" y="822646"/>
                    </a:lnTo>
                    <a:lnTo>
                      <a:pt x="1439592" y="1233949"/>
                    </a:lnTo>
                    <a:lnTo>
                      <a:pt x="1234006" y="1233949"/>
                    </a:lnTo>
                    <a:lnTo>
                      <a:pt x="1234006" y="822646"/>
                    </a:lnTo>
                    <a:lnTo>
                      <a:pt x="1028357" y="822646"/>
                    </a:lnTo>
                    <a:lnTo>
                      <a:pt x="1028357" y="1028363"/>
                    </a:lnTo>
                    <a:lnTo>
                      <a:pt x="822640" y="1028363"/>
                    </a:lnTo>
                    <a:lnTo>
                      <a:pt x="822640" y="1233949"/>
                    </a:lnTo>
                    <a:lnTo>
                      <a:pt x="1028357" y="1233949"/>
                    </a:lnTo>
                    <a:lnTo>
                      <a:pt x="1028357" y="1439666"/>
                    </a:lnTo>
                    <a:lnTo>
                      <a:pt x="0" y="1439666"/>
                    </a:lnTo>
                    <a:lnTo>
                      <a:pt x="0" y="1233949"/>
                    </a:lnTo>
                    <a:lnTo>
                      <a:pt x="616992" y="1233949"/>
                    </a:lnTo>
                    <a:lnTo>
                      <a:pt x="616992" y="822646"/>
                    </a:lnTo>
                    <a:lnTo>
                      <a:pt x="822617" y="822646"/>
                    </a:lnTo>
                    <a:lnTo>
                      <a:pt x="822617" y="205711"/>
                    </a:lnTo>
                    <a:lnTo>
                      <a:pt x="1233983" y="205711"/>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76" name="Freeform 75">
                <a:extLst>
                  <a:ext uri="{FF2B5EF4-FFF2-40B4-BE49-F238E27FC236}">
                    <a16:creationId xmlns:a16="http://schemas.microsoft.com/office/drawing/2014/main" id="{A3FB9B87-7A9D-EDD3-67A3-34064781CADF}"/>
                  </a:ext>
                </a:extLst>
              </p:cNvPr>
              <p:cNvSpPr/>
              <p:nvPr/>
            </p:nvSpPr>
            <p:spPr>
              <a:xfrm>
                <a:off x="1367250" y="2007255"/>
                <a:ext cx="126341" cy="126341"/>
              </a:xfrm>
              <a:custGeom>
                <a:avLst/>
                <a:gdLst>
                  <a:gd name="connsiteX0" fmla="*/ 0 w 1439665"/>
                  <a:gd name="connsiteY0" fmla="*/ 0 h 1439665"/>
                  <a:gd name="connsiteX1" fmla="*/ 0 w 1439665"/>
                  <a:gd name="connsiteY1" fmla="*/ 1439666 h 1439665"/>
                  <a:gd name="connsiteX2" fmla="*/ 1439666 w 1439665"/>
                  <a:gd name="connsiteY2" fmla="*/ 1439666 h 1439665"/>
                  <a:gd name="connsiteX3" fmla="*/ 1439666 w 1439665"/>
                  <a:gd name="connsiteY3" fmla="*/ 0 h 1439665"/>
                  <a:gd name="connsiteX4" fmla="*/ 1233926 w 1439665"/>
                  <a:gd name="connsiteY4" fmla="*/ 1233926 h 1439665"/>
                  <a:gd name="connsiteX5" fmla="*/ 205626 w 1439665"/>
                  <a:gd name="connsiteY5" fmla="*/ 1233926 h 1439665"/>
                  <a:gd name="connsiteX6" fmla="*/ 205626 w 1439665"/>
                  <a:gd name="connsiteY6" fmla="*/ 205683 h 1439665"/>
                  <a:gd name="connsiteX7" fmla="*/ 1233926 w 1439665"/>
                  <a:gd name="connsiteY7" fmla="*/ 205683 h 1439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9665" h="1439665">
                    <a:moveTo>
                      <a:pt x="0" y="0"/>
                    </a:moveTo>
                    <a:lnTo>
                      <a:pt x="0" y="1439666"/>
                    </a:lnTo>
                    <a:lnTo>
                      <a:pt x="1439666" y="1439666"/>
                    </a:lnTo>
                    <a:lnTo>
                      <a:pt x="1439666" y="0"/>
                    </a:lnTo>
                    <a:close/>
                    <a:moveTo>
                      <a:pt x="1233926" y="1233926"/>
                    </a:moveTo>
                    <a:lnTo>
                      <a:pt x="205626" y="1233926"/>
                    </a:lnTo>
                    <a:lnTo>
                      <a:pt x="205626" y="205683"/>
                    </a:lnTo>
                    <a:lnTo>
                      <a:pt x="1233926" y="205683"/>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77" name="Freeform 76">
                <a:extLst>
                  <a:ext uri="{FF2B5EF4-FFF2-40B4-BE49-F238E27FC236}">
                    <a16:creationId xmlns:a16="http://schemas.microsoft.com/office/drawing/2014/main" id="{BDA2BBD7-C0FB-1D07-A4C9-04C225FC460D}"/>
                  </a:ext>
                </a:extLst>
              </p:cNvPr>
              <p:cNvSpPr/>
              <p:nvPr/>
            </p:nvSpPr>
            <p:spPr>
              <a:xfrm>
                <a:off x="1565787" y="2025310"/>
                <a:ext cx="18047" cy="18047"/>
              </a:xfrm>
              <a:custGeom>
                <a:avLst/>
                <a:gdLst>
                  <a:gd name="connsiteX0" fmla="*/ 0 w 205648"/>
                  <a:gd name="connsiteY0" fmla="*/ 0 h 205648"/>
                  <a:gd name="connsiteX1" fmla="*/ 205649 w 205648"/>
                  <a:gd name="connsiteY1" fmla="*/ 0 h 205648"/>
                  <a:gd name="connsiteX2" fmla="*/ 205649 w 205648"/>
                  <a:gd name="connsiteY2" fmla="*/ 205649 h 205648"/>
                  <a:gd name="connsiteX3" fmla="*/ 0 w 205648"/>
                  <a:gd name="connsiteY3" fmla="*/ 205649 h 205648"/>
                </a:gdLst>
                <a:ahLst/>
                <a:cxnLst>
                  <a:cxn ang="0">
                    <a:pos x="connsiteX0" y="connsiteY0"/>
                  </a:cxn>
                  <a:cxn ang="0">
                    <a:pos x="connsiteX1" y="connsiteY1"/>
                  </a:cxn>
                  <a:cxn ang="0">
                    <a:pos x="connsiteX2" y="connsiteY2"/>
                  </a:cxn>
                  <a:cxn ang="0">
                    <a:pos x="connsiteX3" y="connsiteY3"/>
                  </a:cxn>
                </a:cxnLst>
                <a:rect l="l" t="t" r="r" b="b"/>
                <a:pathLst>
                  <a:path w="205648" h="205648">
                    <a:moveTo>
                      <a:pt x="0" y="0"/>
                    </a:moveTo>
                    <a:lnTo>
                      <a:pt x="205649" y="0"/>
                    </a:lnTo>
                    <a:lnTo>
                      <a:pt x="205649" y="205649"/>
                    </a:lnTo>
                    <a:lnTo>
                      <a:pt x="0" y="205649"/>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78" name="Freeform 77">
                <a:extLst>
                  <a:ext uri="{FF2B5EF4-FFF2-40B4-BE49-F238E27FC236}">
                    <a16:creationId xmlns:a16="http://schemas.microsoft.com/office/drawing/2014/main" id="{B2E0FC57-3041-C883-5E08-F670D144EAFD}"/>
                  </a:ext>
                </a:extLst>
              </p:cNvPr>
              <p:cNvSpPr/>
              <p:nvPr/>
            </p:nvSpPr>
            <p:spPr>
              <a:xfrm>
                <a:off x="1692128" y="2025310"/>
                <a:ext cx="36089" cy="18047"/>
              </a:xfrm>
              <a:custGeom>
                <a:avLst/>
                <a:gdLst>
                  <a:gd name="connsiteX0" fmla="*/ 0 w 411234"/>
                  <a:gd name="connsiteY0" fmla="*/ 0 h 205648"/>
                  <a:gd name="connsiteX1" fmla="*/ 411234 w 411234"/>
                  <a:gd name="connsiteY1" fmla="*/ 0 h 205648"/>
                  <a:gd name="connsiteX2" fmla="*/ 411234 w 411234"/>
                  <a:gd name="connsiteY2" fmla="*/ 205649 h 205648"/>
                  <a:gd name="connsiteX3" fmla="*/ 0 w 411234"/>
                  <a:gd name="connsiteY3" fmla="*/ 205649 h 205648"/>
                </a:gdLst>
                <a:ahLst/>
                <a:cxnLst>
                  <a:cxn ang="0">
                    <a:pos x="connsiteX0" y="connsiteY0"/>
                  </a:cxn>
                  <a:cxn ang="0">
                    <a:pos x="connsiteX1" y="connsiteY1"/>
                  </a:cxn>
                  <a:cxn ang="0">
                    <a:pos x="connsiteX2" y="connsiteY2"/>
                  </a:cxn>
                  <a:cxn ang="0">
                    <a:pos x="connsiteX3" y="connsiteY3"/>
                  </a:cxn>
                </a:cxnLst>
                <a:rect l="l" t="t" r="r" b="b"/>
                <a:pathLst>
                  <a:path w="411234" h="205648">
                    <a:moveTo>
                      <a:pt x="0" y="0"/>
                    </a:moveTo>
                    <a:lnTo>
                      <a:pt x="411234" y="0"/>
                    </a:lnTo>
                    <a:lnTo>
                      <a:pt x="411234" y="205649"/>
                    </a:lnTo>
                    <a:lnTo>
                      <a:pt x="0" y="205649"/>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79" name="Freeform 78">
                <a:extLst>
                  <a:ext uri="{FF2B5EF4-FFF2-40B4-BE49-F238E27FC236}">
                    <a16:creationId xmlns:a16="http://schemas.microsoft.com/office/drawing/2014/main" id="{7C710637-66AF-72E3-85DA-0CEE99E700C9}"/>
                  </a:ext>
                </a:extLst>
              </p:cNvPr>
              <p:cNvSpPr/>
              <p:nvPr/>
            </p:nvSpPr>
            <p:spPr>
              <a:xfrm>
                <a:off x="1403345" y="2043350"/>
                <a:ext cx="54146" cy="54146"/>
              </a:xfrm>
              <a:custGeom>
                <a:avLst/>
                <a:gdLst>
                  <a:gd name="connsiteX0" fmla="*/ 0 w 616991"/>
                  <a:gd name="connsiteY0" fmla="*/ 0 h 616991"/>
                  <a:gd name="connsiteX1" fmla="*/ 616992 w 616991"/>
                  <a:gd name="connsiteY1" fmla="*/ 0 h 616991"/>
                  <a:gd name="connsiteX2" fmla="*/ 616992 w 616991"/>
                  <a:gd name="connsiteY2" fmla="*/ 616992 h 616991"/>
                  <a:gd name="connsiteX3" fmla="*/ 0 w 616991"/>
                  <a:gd name="connsiteY3" fmla="*/ 616992 h 616991"/>
                </a:gdLst>
                <a:ahLst/>
                <a:cxnLst>
                  <a:cxn ang="0">
                    <a:pos x="connsiteX0" y="connsiteY0"/>
                  </a:cxn>
                  <a:cxn ang="0">
                    <a:pos x="connsiteX1" y="connsiteY1"/>
                  </a:cxn>
                  <a:cxn ang="0">
                    <a:pos x="connsiteX2" y="connsiteY2"/>
                  </a:cxn>
                  <a:cxn ang="0">
                    <a:pos x="connsiteX3" y="connsiteY3"/>
                  </a:cxn>
                </a:cxnLst>
                <a:rect l="l" t="t" r="r" b="b"/>
                <a:pathLst>
                  <a:path w="616991" h="616991">
                    <a:moveTo>
                      <a:pt x="0" y="0"/>
                    </a:moveTo>
                    <a:lnTo>
                      <a:pt x="616992" y="0"/>
                    </a:lnTo>
                    <a:lnTo>
                      <a:pt x="616992" y="616992"/>
                    </a:lnTo>
                    <a:lnTo>
                      <a:pt x="0" y="616992"/>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80" name="Freeform 79">
                <a:extLst>
                  <a:ext uri="{FF2B5EF4-FFF2-40B4-BE49-F238E27FC236}">
                    <a16:creationId xmlns:a16="http://schemas.microsoft.com/office/drawing/2014/main" id="{3AF94662-65AD-62D3-937B-9303AF7C8E23}"/>
                  </a:ext>
                </a:extLst>
              </p:cNvPr>
              <p:cNvSpPr/>
              <p:nvPr/>
            </p:nvSpPr>
            <p:spPr>
              <a:xfrm>
                <a:off x="1728214" y="2043350"/>
                <a:ext cx="18053" cy="18053"/>
              </a:xfrm>
              <a:custGeom>
                <a:avLst/>
                <a:gdLst>
                  <a:gd name="connsiteX0" fmla="*/ 0 w 205717"/>
                  <a:gd name="connsiteY0" fmla="*/ 0 h 205717"/>
                  <a:gd name="connsiteX1" fmla="*/ 205717 w 205717"/>
                  <a:gd name="connsiteY1" fmla="*/ 0 h 205717"/>
                  <a:gd name="connsiteX2" fmla="*/ 205717 w 205717"/>
                  <a:gd name="connsiteY2" fmla="*/ 205717 h 205717"/>
                  <a:gd name="connsiteX3" fmla="*/ 0 w 205717"/>
                  <a:gd name="connsiteY3" fmla="*/ 205717 h 205717"/>
                </a:gdLst>
                <a:ahLst/>
                <a:cxnLst>
                  <a:cxn ang="0">
                    <a:pos x="connsiteX0" y="connsiteY0"/>
                  </a:cxn>
                  <a:cxn ang="0">
                    <a:pos x="connsiteX1" y="connsiteY1"/>
                  </a:cxn>
                  <a:cxn ang="0">
                    <a:pos x="connsiteX2" y="connsiteY2"/>
                  </a:cxn>
                  <a:cxn ang="0">
                    <a:pos x="connsiteX3" y="connsiteY3"/>
                  </a:cxn>
                </a:cxnLst>
                <a:rect l="l" t="t" r="r" b="b"/>
                <a:pathLst>
                  <a:path w="205717" h="205717">
                    <a:moveTo>
                      <a:pt x="0" y="0"/>
                    </a:moveTo>
                    <a:lnTo>
                      <a:pt x="205717" y="0"/>
                    </a:lnTo>
                    <a:lnTo>
                      <a:pt x="205717" y="205717"/>
                    </a:lnTo>
                    <a:lnTo>
                      <a:pt x="0" y="205717"/>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81" name="Freeform 80">
                <a:extLst>
                  <a:ext uri="{FF2B5EF4-FFF2-40B4-BE49-F238E27FC236}">
                    <a16:creationId xmlns:a16="http://schemas.microsoft.com/office/drawing/2014/main" id="{AC0863B7-E0E4-A76F-0B5D-FD0B275EFB57}"/>
                  </a:ext>
                </a:extLst>
              </p:cNvPr>
              <p:cNvSpPr/>
              <p:nvPr/>
            </p:nvSpPr>
            <p:spPr>
              <a:xfrm>
                <a:off x="1511641" y="2061400"/>
                <a:ext cx="36095" cy="36098"/>
              </a:xfrm>
              <a:custGeom>
                <a:avLst/>
                <a:gdLst>
                  <a:gd name="connsiteX0" fmla="*/ 6 w 411302"/>
                  <a:gd name="connsiteY0" fmla="*/ 0 h 411342"/>
                  <a:gd name="connsiteX1" fmla="*/ 205654 w 411302"/>
                  <a:gd name="connsiteY1" fmla="*/ 0 h 411342"/>
                  <a:gd name="connsiteX2" fmla="*/ 205654 w 411302"/>
                  <a:gd name="connsiteY2" fmla="*/ 205626 h 411342"/>
                  <a:gd name="connsiteX3" fmla="*/ 411303 w 411302"/>
                  <a:gd name="connsiteY3" fmla="*/ 205626 h 411342"/>
                  <a:gd name="connsiteX4" fmla="*/ 411303 w 411302"/>
                  <a:gd name="connsiteY4" fmla="*/ 411343 h 411342"/>
                  <a:gd name="connsiteX5" fmla="*/ 0 w 411302"/>
                  <a:gd name="connsiteY5" fmla="*/ 411343 h 411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1302" h="411342">
                    <a:moveTo>
                      <a:pt x="6" y="0"/>
                    </a:moveTo>
                    <a:lnTo>
                      <a:pt x="205654" y="0"/>
                    </a:lnTo>
                    <a:lnTo>
                      <a:pt x="205654" y="205626"/>
                    </a:lnTo>
                    <a:lnTo>
                      <a:pt x="411303" y="205626"/>
                    </a:lnTo>
                    <a:lnTo>
                      <a:pt x="411303" y="411343"/>
                    </a:lnTo>
                    <a:lnTo>
                      <a:pt x="0" y="411343"/>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82" name="Freeform 81">
                <a:extLst>
                  <a:ext uri="{FF2B5EF4-FFF2-40B4-BE49-F238E27FC236}">
                    <a16:creationId xmlns:a16="http://schemas.microsoft.com/office/drawing/2014/main" id="{6F4E28C9-2999-AF62-32AB-DBBD00FA4BC3}"/>
                  </a:ext>
                </a:extLst>
              </p:cNvPr>
              <p:cNvSpPr/>
              <p:nvPr/>
            </p:nvSpPr>
            <p:spPr>
              <a:xfrm>
                <a:off x="1547732" y="2061400"/>
                <a:ext cx="36095" cy="18047"/>
              </a:xfrm>
              <a:custGeom>
                <a:avLst/>
                <a:gdLst>
                  <a:gd name="connsiteX0" fmla="*/ 0 w 411302"/>
                  <a:gd name="connsiteY0" fmla="*/ 0 h 205648"/>
                  <a:gd name="connsiteX1" fmla="*/ 411303 w 411302"/>
                  <a:gd name="connsiteY1" fmla="*/ 0 h 205648"/>
                  <a:gd name="connsiteX2" fmla="*/ 411303 w 411302"/>
                  <a:gd name="connsiteY2" fmla="*/ 205649 h 205648"/>
                  <a:gd name="connsiteX3" fmla="*/ 0 w 411302"/>
                  <a:gd name="connsiteY3" fmla="*/ 205649 h 205648"/>
                </a:gdLst>
                <a:ahLst/>
                <a:cxnLst>
                  <a:cxn ang="0">
                    <a:pos x="connsiteX0" y="connsiteY0"/>
                  </a:cxn>
                  <a:cxn ang="0">
                    <a:pos x="connsiteX1" y="connsiteY1"/>
                  </a:cxn>
                  <a:cxn ang="0">
                    <a:pos x="connsiteX2" y="connsiteY2"/>
                  </a:cxn>
                  <a:cxn ang="0">
                    <a:pos x="connsiteX3" y="connsiteY3"/>
                  </a:cxn>
                </a:cxnLst>
                <a:rect l="l" t="t" r="r" b="b"/>
                <a:pathLst>
                  <a:path w="411302" h="205648">
                    <a:moveTo>
                      <a:pt x="0" y="0"/>
                    </a:moveTo>
                    <a:lnTo>
                      <a:pt x="411303" y="0"/>
                    </a:lnTo>
                    <a:lnTo>
                      <a:pt x="411303" y="205649"/>
                    </a:lnTo>
                    <a:lnTo>
                      <a:pt x="0" y="205649"/>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83" name="Freeform 82">
                <a:extLst>
                  <a:ext uri="{FF2B5EF4-FFF2-40B4-BE49-F238E27FC236}">
                    <a16:creationId xmlns:a16="http://schemas.microsoft.com/office/drawing/2014/main" id="{40E3A8EB-22DB-B546-BAB1-4AAEBFA005DD}"/>
                  </a:ext>
                </a:extLst>
              </p:cNvPr>
              <p:cNvSpPr/>
              <p:nvPr/>
            </p:nvSpPr>
            <p:spPr>
              <a:xfrm>
                <a:off x="1692128" y="2097501"/>
                <a:ext cx="18047" cy="18047"/>
              </a:xfrm>
              <a:custGeom>
                <a:avLst/>
                <a:gdLst>
                  <a:gd name="connsiteX0" fmla="*/ 0 w 205648"/>
                  <a:gd name="connsiteY0" fmla="*/ 0 h 205648"/>
                  <a:gd name="connsiteX1" fmla="*/ 205649 w 205648"/>
                  <a:gd name="connsiteY1" fmla="*/ 0 h 205648"/>
                  <a:gd name="connsiteX2" fmla="*/ 205649 w 205648"/>
                  <a:gd name="connsiteY2" fmla="*/ 205649 h 205648"/>
                  <a:gd name="connsiteX3" fmla="*/ 0 w 205648"/>
                  <a:gd name="connsiteY3" fmla="*/ 205649 h 205648"/>
                </a:gdLst>
                <a:ahLst/>
                <a:cxnLst>
                  <a:cxn ang="0">
                    <a:pos x="connsiteX0" y="connsiteY0"/>
                  </a:cxn>
                  <a:cxn ang="0">
                    <a:pos x="connsiteX1" y="connsiteY1"/>
                  </a:cxn>
                  <a:cxn ang="0">
                    <a:pos x="connsiteX2" y="connsiteY2"/>
                  </a:cxn>
                  <a:cxn ang="0">
                    <a:pos x="connsiteX3" y="connsiteY3"/>
                  </a:cxn>
                </a:cxnLst>
                <a:rect l="l" t="t" r="r" b="b"/>
                <a:pathLst>
                  <a:path w="205648" h="205648">
                    <a:moveTo>
                      <a:pt x="0" y="0"/>
                    </a:moveTo>
                    <a:lnTo>
                      <a:pt x="205649" y="0"/>
                    </a:lnTo>
                    <a:lnTo>
                      <a:pt x="205649" y="205649"/>
                    </a:lnTo>
                    <a:lnTo>
                      <a:pt x="0" y="205649"/>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84" name="Freeform 83">
                <a:extLst>
                  <a:ext uri="{FF2B5EF4-FFF2-40B4-BE49-F238E27FC236}">
                    <a16:creationId xmlns:a16="http://schemas.microsoft.com/office/drawing/2014/main" id="{BAA8FC3E-3245-179B-EA82-767E5BE6F65C}"/>
                  </a:ext>
                </a:extLst>
              </p:cNvPr>
              <p:cNvSpPr/>
              <p:nvPr/>
            </p:nvSpPr>
            <p:spPr>
              <a:xfrm>
                <a:off x="1728214" y="2097501"/>
                <a:ext cx="18053" cy="18047"/>
              </a:xfrm>
              <a:custGeom>
                <a:avLst/>
                <a:gdLst>
                  <a:gd name="connsiteX0" fmla="*/ 0 w 205717"/>
                  <a:gd name="connsiteY0" fmla="*/ 0 h 205648"/>
                  <a:gd name="connsiteX1" fmla="*/ 205717 w 205717"/>
                  <a:gd name="connsiteY1" fmla="*/ 0 h 205648"/>
                  <a:gd name="connsiteX2" fmla="*/ 205717 w 205717"/>
                  <a:gd name="connsiteY2" fmla="*/ 205649 h 205648"/>
                  <a:gd name="connsiteX3" fmla="*/ 0 w 205717"/>
                  <a:gd name="connsiteY3" fmla="*/ 205649 h 205648"/>
                </a:gdLst>
                <a:ahLst/>
                <a:cxnLst>
                  <a:cxn ang="0">
                    <a:pos x="connsiteX0" y="connsiteY0"/>
                  </a:cxn>
                  <a:cxn ang="0">
                    <a:pos x="connsiteX1" y="connsiteY1"/>
                  </a:cxn>
                  <a:cxn ang="0">
                    <a:pos x="connsiteX2" y="connsiteY2"/>
                  </a:cxn>
                  <a:cxn ang="0">
                    <a:pos x="connsiteX3" y="connsiteY3"/>
                  </a:cxn>
                </a:cxnLst>
                <a:rect l="l" t="t" r="r" b="b"/>
                <a:pathLst>
                  <a:path w="205717" h="205648">
                    <a:moveTo>
                      <a:pt x="0" y="0"/>
                    </a:moveTo>
                    <a:lnTo>
                      <a:pt x="205717" y="0"/>
                    </a:lnTo>
                    <a:lnTo>
                      <a:pt x="205717" y="205649"/>
                    </a:lnTo>
                    <a:lnTo>
                      <a:pt x="0" y="205649"/>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sp>
            <p:nvSpPr>
              <p:cNvPr id="85" name="Freeform 84">
                <a:extLst>
                  <a:ext uri="{FF2B5EF4-FFF2-40B4-BE49-F238E27FC236}">
                    <a16:creationId xmlns:a16="http://schemas.microsoft.com/office/drawing/2014/main" id="{76B38B86-E2B5-7C45-4AE6-60F92C565D99}"/>
                  </a:ext>
                </a:extLst>
              </p:cNvPr>
              <p:cNvSpPr/>
              <p:nvPr/>
            </p:nvSpPr>
            <p:spPr>
              <a:xfrm>
                <a:off x="1656023" y="2115541"/>
                <a:ext cx="18053" cy="18053"/>
              </a:xfrm>
              <a:custGeom>
                <a:avLst/>
                <a:gdLst>
                  <a:gd name="connsiteX0" fmla="*/ 0 w 205717"/>
                  <a:gd name="connsiteY0" fmla="*/ 0 h 205717"/>
                  <a:gd name="connsiteX1" fmla="*/ 205717 w 205717"/>
                  <a:gd name="connsiteY1" fmla="*/ 0 h 205717"/>
                  <a:gd name="connsiteX2" fmla="*/ 205717 w 205717"/>
                  <a:gd name="connsiteY2" fmla="*/ 205717 h 205717"/>
                  <a:gd name="connsiteX3" fmla="*/ 0 w 205717"/>
                  <a:gd name="connsiteY3" fmla="*/ 205717 h 205717"/>
                </a:gdLst>
                <a:ahLst/>
                <a:cxnLst>
                  <a:cxn ang="0">
                    <a:pos x="connsiteX0" y="connsiteY0"/>
                  </a:cxn>
                  <a:cxn ang="0">
                    <a:pos x="connsiteX1" y="connsiteY1"/>
                  </a:cxn>
                  <a:cxn ang="0">
                    <a:pos x="connsiteX2" y="connsiteY2"/>
                  </a:cxn>
                  <a:cxn ang="0">
                    <a:pos x="connsiteX3" y="connsiteY3"/>
                  </a:cxn>
                </a:cxnLst>
                <a:rect l="l" t="t" r="r" b="b"/>
                <a:pathLst>
                  <a:path w="205717" h="205717">
                    <a:moveTo>
                      <a:pt x="0" y="0"/>
                    </a:moveTo>
                    <a:lnTo>
                      <a:pt x="205717" y="0"/>
                    </a:lnTo>
                    <a:lnTo>
                      <a:pt x="205717" y="205717"/>
                    </a:lnTo>
                    <a:lnTo>
                      <a:pt x="0" y="205717"/>
                    </a:lnTo>
                    <a:close/>
                  </a:path>
                </a:pathLst>
              </a:custGeom>
              <a:solidFill>
                <a:schemeClr val="tx1">
                  <a:lumMod val="65000"/>
                  <a:lumOff val="35000"/>
                </a:schemeClr>
              </a:solidFill>
              <a:ln w="5715" cap="flat">
                <a:noFill/>
                <a:prstDash val="solid"/>
                <a:miter/>
              </a:ln>
            </p:spPr>
            <p:txBody>
              <a:bodyPr rtlCol="0" anchor="ctr"/>
              <a:lstStyle/>
              <a:p>
                <a:endParaRPr lang="en-US">
                  <a:latin typeface="+mj-lt"/>
                </a:endParaRPr>
              </a:p>
            </p:txBody>
          </p:sp>
        </p:grpSp>
      </p:grpSp>
      <p:grpSp>
        <p:nvGrpSpPr>
          <p:cNvPr id="117" name="Group 116">
            <a:extLst>
              <a:ext uri="{FF2B5EF4-FFF2-40B4-BE49-F238E27FC236}">
                <a16:creationId xmlns:a16="http://schemas.microsoft.com/office/drawing/2014/main" id="{43E828E2-386A-94D5-9DAB-B8075B6B4B57}"/>
              </a:ext>
            </a:extLst>
          </p:cNvPr>
          <p:cNvGrpSpPr/>
          <p:nvPr/>
        </p:nvGrpSpPr>
        <p:grpSpPr>
          <a:xfrm>
            <a:off x="4696317" y="4371946"/>
            <a:ext cx="1476000" cy="1616549"/>
            <a:chOff x="3603496" y="2616100"/>
            <a:chExt cx="1476000" cy="1616549"/>
          </a:xfrm>
        </p:grpSpPr>
        <p:sp>
          <p:nvSpPr>
            <p:cNvPr id="105" name="Rectangle 104">
              <a:extLst>
                <a:ext uri="{FF2B5EF4-FFF2-40B4-BE49-F238E27FC236}">
                  <a16:creationId xmlns:a16="http://schemas.microsoft.com/office/drawing/2014/main" id="{398C864E-0C77-7E4C-E300-FE1999163344}"/>
                </a:ext>
              </a:extLst>
            </p:cNvPr>
            <p:cNvSpPr/>
            <p:nvPr/>
          </p:nvSpPr>
          <p:spPr>
            <a:xfrm>
              <a:off x="3603496" y="2616100"/>
              <a:ext cx="1476000" cy="16165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Data Security &amp; Privacy</a:t>
              </a:r>
            </a:p>
          </p:txBody>
        </p:sp>
        <p:pic>
          <p:nvPicPr>
            <p:cNvPr id="40" name="Graphic 39">
              <a:extLst>
                <a:ext uri="{FF2B5EF4-FFF2-40B4-BE49-F238E27FC236}">
                  <a16:creationId xmlns:a16="http://schemas.microsoft.com/office/drawing/2014/main" id="{10803E10-5E52-E105-CC3D-54673392EC1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981496" y="2741821"/>
              <a:ext cx="720000" cy="720000"/>
            </a:xfrm>
            <a:prstGeom prst="rect">
              <a:avLst/>
            </a:prstGeom>
          </p:spPr>
        </p:pic>
      </p:grpSp>
      <p:grpSp>
        <p:nvGrpSpPr>
          <p:cNvPr id="116" name="Group 115">
            <a:extLst>
              <a:ext uri="{FF2B5EF4-FFF2-40B4-BE49-F238E27FC236}">
                <a16:creationId xmlns:a16="http://schemas.microsoft.com/office/drawing/2014/main" id="{57E79279-1433-4EA9-7777-4EDB2C65151A}"/>
              </a:ext>
            </a:extLst>
          </p:cNvPr>
          <p:cNvGrpSpPr/>
          <p:nvPr/>
        </p:nvGrpSpPr>
        <p:grpSpPr>
          <a:xfrm>
            <a:off x="3363685" y="2561125"/>
            <a:ext cx="1476000" cy="1616549"/>
            <a:chOff x="1983086" y="2616100"/>
            <a:chExt cx="1476000" cy="1616549"/>
          </a:xfrm>
        </p:grpSpPr>
        <p:sp>
          <p:nvSpPr>
            <p:cNvPr id="106" name="Rectangle 105">
              <a:extLst>
                <a:ext uri="{FF2B5EF4-FFF2-40B4-BE49-F238E27FC236}">
                  <a16:creationId xmlns:a16="http://schemas.microsoft.com/office/drawing/2014/main" id="{7DA4E1AE-AA1C-7A1E-932C-FCF2E4ED5A37}"/>
                </a:ext>
              </a:extLst>
            </p:cNvPr>
            <p:cNvSpPr/>
            <p:nvPr/>
          </p:nvSpPr>
          <p:spPr>
            <a:xfrm>
              <a:off x="1983086" y="2616100"/>
              <a:ext cx="1476000" cy="16165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Look-up Mechanism</a:t>
              </a:r>
            </a:p>
          </p:txBody>
        </p:sp>
        <p:pic>
          <p:nvPicPr>
            <p:cNvPr id="110" name="Graphic 109">
              <a:extLst>
                <a:ext uri="{FF2B5EF4-FFF2-40B4-BE49-F238E27FC236}">
                  <a16:creationId xmlns:a16="http://schemas.microsoft.com/office/drawing/2014/main" id="{BCD6045D-3209-C6BD-D69D-7AA70CAA3EE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361086" y="2741821"/>
              <a:ext cx="720000" cy="720000"/>
            </a:xfrm>
            <a:prstGeom prst="rect">
              <a:avLst/>
            </a:prstGeom>
          </p:spPr>
        </p:pic>
      </p:grpSp>
      <p:grpSp>
        <p:nvGrpSpPr>
          <p:cNvPr id="115" name="Group 114">
            <a:extLst>
              <a:ext uri="{FF2B5EF4-FFF2-40B4-BE49-F238E27FC236}">
                <a16:creationId xmlns:a16="http://schemas.microsoft.com/office/drawing/2014/main" id="{EFA59371-3D30-76CE-75F9-9B9889139C61}"/>
              </a:ext>
            </a:extLst>
          </p:cNvPr>
          <p:cNvGrpSpPr/>
          <p:nvPr/>
        </p:nvGrpSpPr>
        <p:grpSpPr>
          <a:xfrm>
            <a:off x="4696320" y="2561125"/>
            <a:ext cx="1476000" cy="1616549"/>
            <a:chOff x="360975" y="2616100"/>
            <a:chExt cx="1476000" cy="1616549"/>
          </a:xfrm>
        </p:grpSpPr>
        <p:sp>
          <p:nvSpPr>
            <p:cNvPr id="107" name="Rectangle 106">
              <a:extLst>
                <a:ext uri="{FF2B5EF4-FFF2-40B4-BE49-F238E27FC236}">
                  <a16:creationId xmlns:a16="http://schemas.microsoft.com/office/drawing/2014/main" id="{A6763CFF-09BB-2F2B-9F97-D6B66BECFD10}"/>
                </a:ext>
              </a:extLst>
            </p:cNvPr>
            <p:cNvSpPr/>
            <p:nvPr/>
          </p:nvSpPr>
          <p:spPr>
            <a:xfrm>
              <a:off x="360975" y="2616100"/>
              <a:ext cx="1476000" cy="16165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Access Rights Management</a:t>
              </a:r>
            </a:p>
          </p:txBody>
        </p:sp>
        <p:pic>
          <p:nvPicPr>
            <p:cNvPr id="112" name="Graphic 111">
              <a:extLst>
                <a:ext uri="{FF2B5EF4-FFF2-40B4-BE49-F238E27FC236}">
                  <a16:creationId xmlns:a16="http://schemas.microsoft.com/office/drawing/2014/main" id="{1A1D2EAE-49D6-B5F7-44CA-76F28AFAC56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38975" y="2741821"/>
              <a:ext cx="720000" cy="720000"/>
            </a:xfrm>
            <a:prstGeom prst="rect">
              <a:avLst/>
            </a:prstGeom>
          </p:spPr>
        </p:pic>
      </p:grpSp>
      <p:grpSp>
        <p:nvGrpSpPr>
          <p:cNvPr id="133" name="Group 132">
            <a:extLst>
              <a:ext uri="{FF2B5EF4-FFF2-40B4-BE49-F238E27FC236}">
                <a16:creationId xmlns:a16="http://schemas.microsoft.com/office/drawing/2014/main" id="{7F08172E-DBF4-0A9D-C742-BB956A466A39}"/>
              </a:ext>
            </a:extLst>
          </p:cNvPr>
          <p:cNvGrpSpPr/>
          <p:nvPr/>
        </p:nvGrpSpPr>
        <p:grpSpPr>
          <a:xfrm>
            <a:off x="2031049" y="4371946"/>
            <a:ext cx="1476000" cy="1616549"/>
            <a:chOff x="32512" y="4371945"/>
            <a:chExt cx="1476000" cy="1616549"/>
          </a:xfrm>
        </p:grpSpPr>
        <p:sp>
          <p:nvSpPr>
            <p:cNvPr id="129" name="Rectangle 128">
              <a:extLst>
                <a:ext uri="{FF2B5EF4-FFF2-40B4-BE49-F238E27FC236}">
                  <a16:creationId xmlns:a16="http://schemas.microsoft.com/office/drawing/2014/main" id="{7755502D-5E0D-1C99-E3D5-47EF8B4787D3}"/>
                </a:ext>
              </a:extLst>
            </p:cNvPr>
            <p:cNvSpPr/>
            <p:nvPr/>
          </p:nvSpPr>
          <p:spPr>
            <a:xfrm>
              <a:off x="32512" y="4371945"/>
              <a:ext cx="1476000" cy="16165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Data Storage &amp; Persistence</a:t>
              </a:r>
            </a:p>
          </p:txBody>
        </p:sp>
        <p:pic>
          <p:nvPicPr>
            <p:cNvPr id="132" name="Graphic 131">
              <a:extLst>
                <a:ext uri="{FF2B5EF4-FFF2-40B4-BE49-F238E27FC236}">
                  <a16:creationId xmlns:a16="http://schemas.microsoft.com/office/drawing/2014/main" id="{FD4E679B-2FB2-999D-AA26-5ADCF224619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10512" y="4497666"/>
              <a:ext cx="720000" cy="720000"/>
            </a:xfrm>
            <a:prstGeom prst="rect">
              <a:avLst/>
            </a:prstGeom>
          </p:spPr>
        </p:pic>
      </p:grpSp>
      <p:grpSp>
        <p:nvGrpSpPr>
          <p:cNvPr id="138" name="Group 137">
            <a:extLst>
              <a:ext uri="{FF2B5EF4-FFF2-40B4-BE49-F238E27FC236}">
                <a16:creationId xmlns:a16="http://schemas.microsoft.com/office/drawing/2014/main" id="{375536CE-6125-8053-741C-15080EAF6C6F}"/>
              </a:ext>
            </a:extLst>
          </p:cNvPr>
          <p:cNvGrpSpPr/>
          <p:nvPr/>
        </p:nvGrpSpPr>
        <p:grpSpPr>
          <a:xfrm>
            <a:off x="698415" y="4371946"/>
            <a:ext cx="1476000" cy="1616549"/>
            <a:chOff x="6824658" y="2616100"/>
            <a:chExt cx="1476000" cy="1616549"/>
          </a:xfrm>
        </p:grpSpPr>
        <p:sp>
          <p:nvSpPr>
            <p:cNvPr id="139" name="Rectangle 138">
              <a:extLst>
                <a:ext uri="{FF2B5EF4-FFF2-40B4-BE49-F238E27FC236}">
                  <a16:creationId xmlns:a16="http://schemas.microsoft.com/office/drawing/2014/main" id="{05DF3BBE-1AA4-E94C-D89D-327C7A9C5E45}"/>
                </a:ext>
              </a:extLst>
            </p:cNvPr>
            <p:cNvSpPr/>
            <p:nvPr/>
          </p:nvSpPr>
          <p:spPr>
            <a:xfrm>
              <a:off x="6824658" y="2616100"/>
              <a:ext cx="1476000" cy="16165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Interoperability</a:t>
              </a:r>
            </a:p>
          </p:txBody>
        </p:sp>
        <p:pic>
          <p:nvPicPr>
            <p:cNvPr id="140" name="Graphic 139">
              <a:extLst>
                <a:ext uri="{FF2B5EF4-FFF2-40B4-BE49-F238E27FC236}">
                  <a16:creationId xmlns:a16="http://schemas.microsoft.com/office/drawing/2014/main" id="{32422CA5-1D12-EADC-82C7-487569FEF481}"/>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7202658" y="2741821"/>
              <a:ext cx="720000" cy="720000"/>
            </a:xfrm>
            <a:prstGeom prst="rect">
              <a:avLst/>
            </a:prstGeom>
          </p:spPr>
        </p:pic>
      </p:grpSp>
      <p:grpSp>
        <p:nvGrpSpPr>
          <p:cNvPr id="141" name="Group 140">
            <a:extLst>
              <a:ext uri="{FF2B5EF4-FFF2-40B4-BE49-F238E27FC236}">
                <a16:creationId xmlns:a16="http://schemas.microsoft.com/office/drawing/2014/main" id="{5C3EE931-E02F-4F86-9109-3384E2312887}"/>
              </a:ext>
            </a:extLst>
          </p:cNvPr>
          <p:cNvGrpSpPr/>
          <p:nvPr/>
        </p:nvGrpSpPr>
        <p:grpSpPr>
          <a:xfrm>
            <a:off x="6028953" y="2561125"/>
            <a:ext cx="1476000" cy="1616549"/>
            <a:chOff x="3586204" y="4455084"/>
            <a:chExt cx="1476000" cy="1616549"/>
          </a:xfrm>
        </p:grpSpPr>
        <p:sp>
          <p:nvSpPr>
            <p:cNvPr id="142" name="Rectangle 141">
              <a:extLst>
                <a:ext uri="{FF2B5EF4-FFF2-40B4-BE49-F238E27FC236}">
                  <a16:creationId xmlns:a16="http://schemas.microsoft.com/office/drawing/2014/main" id="{E84E8333-01E5-5B56-EA5B-CB3C7907D102}"/>
                </a:ext>
              </a:extLst>
            </p:cNvPr>
            <p:cNvSpPr/>
            <p:nvPr/>
          </p:nvSpPr>
          <p:spPr>
            <a:xfrm>
              <a:off x="3586204" y="4455084"/>
              <a:ext cx="1476000" cy="16165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DPP Web Portal</a:t>
              </a:r>
            </a:p>
          </p:txBody>
        </p:sp>
        <p:pic>
          <p:nvPicPr>
            <p:cNvPr id="143" name="Graphic 142">
              <a:extLst>
                <a:ext uri="{FF2B5EF4-FFF2-40B4-BE49-F238E27FC236}">
                  <a16:creationId xmlns:a16="http://schemas.microsoft.com/office/drawing/2014/main" id="{1098AC63-11E9-9FF0-DDAC-9AEA313C5862}"/>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3964204" y="4580806"/>
              <a:ext cx="720000" cy="720000"/>
            </a:xfrm>
            <a:prstGeom prst="rect">
              <a:avLst/>
            </a:prstGeom>
          </p:spPr>
        </p:pic>
      </p:grpSp>
      <p:sp>
        <p:nvSpPr>
          <p:cNvPr id="144" name="Fußzeilenplatzhalter 3">
            <a:extLst>
              <a:ext uri="{FF2B5EF4-FFF2-40B4-BE49-F238E27FC236}">
                <a16:creationId xmlns:a16="http://schemas.microsoft.com/office/drawing/2014/main" id="{A0DCF383-7AC2-2BFE-132C-3301EE6A5BEE}"/>
              </a:ext>
            </a:extLst>
          </p:cNvPr>
          <p:cNvSpPr txBox="1">
            <a:spLocks/>
          </p:cNvSpPr>
          <p:nvPr/>
        </p:nvSpPr>
        <p:spPr>
          <a:xfrm>
            <a:off x="1225303" y="6516000"/>
            <a:ext cx="10188000" cy="167933"/>
          </a:xfrm>
          <a:prstGeom prst="rect">
            <a:avLst/>
          </a:prstGeom>
        </p:spPr>
        <p:txBody>
          <a:bodyPr lIns="0" tIns="0" rIns="0" bIns="0"/>
          <a:lstStyle>
            <a:defPPr lvl="0">
              <a:defRPr lang="de-DE"/>
            </a:defPPr>
            <a:lvl1pPr>
              <a:defRPr sz="900">
                <a:latin typeface="Arial" panose="020B0604020202020204"/>
                <a:cs typeface="Arial"/>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ym typeface="Calibri" panose="020F0502020204030204" pitchFamily="34" charset="0"/>
              </a:rPr>
              <a:t>Source: </a:t>
            </a:r>
            <a:r>
              <a:rPr lang="en-US">
                <a:latin typeface="+mj-lt"/>
                <a:cs typeface="Calibri" panose="020F0502020204030204" pitchFamily="34" charset="0"/>
                <a:sym typeface="Calibri" panose="020F0502020204030204" pitchFamily="34" charset="0"/>
                <a:hlinkClick r:id="rId22">
                  <a:extLst>
                    <a:ext uri="{A12FA001-AC4F-418D-AE19-62706E023703}">
                      <ahyp:hlinkClr xmlns:ahyp="http://schemas.microsoft.com/office/drawing/2018/hyperlinkcolor" val="tx"/>
                    </a:ext>
                  </a:extLst>
                </a:hlinkClick>
              </a:rPr>
              <a:t>https://ec.europa.eu/growth/tools-databases/enorm/mandate/604_en</a:t>
            </a:r>
            <a:r>
              <a:rPr lang="en-US">
                <a:latin typeface="+mj-lt"/>
                <a:cs typeface="Calibri" panose="020F0502020204030204" pitchFamily="34" charset="0"/>
                <a:sym typeface="Calibri" panose="020F0502020204030204" pitchFamily="34" charset="0"/>
              </a:rPr>
              <a:t> </a:t>
            </a:r>
          </a:p>
        </p:txBody>
      </p:sp>
      <p:sp>
        <p:nvSpPr>
          <p:cNvPr id="145" name="Rounded Rectangle 144">
            <a:extLst>
              <a:ext uri="{FF2B5EF4-FFF2-40B4-BE49-F238E27FC236}">
                <a16:creationId xmlns:a16="http://schemas.microsoft.com/office/drawing/2014/main" id="{5B646D88-9AA9-7A0A-A1A7-90014C179231}"/>
              </a:ext>
            </a:extLst>
          </p:cNvPr>
          <p:cNvSpPr/>
          <p:nvPr/>
        </p:nvSpPr>
        <p:spPr>
          <a:xfrm>
            <a:off x="771526" y="2457450"/>
            <a:ext cx="5333999" cy="3705225"/>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TextBox 145">
            <a:extLst>
              <a:ext uri="{FF2B5EF4-FFF2-40B4-BE49-F238E27FC236}">
                <a16:creationId xmlns:a16="http://schemas.microsoft.com/office/drawing/2014/main" id="{FBEFA3C5-BDAF-DCD4-6659-5F8AC351168A}"/>
              </a:ext>
            </a:extLst>
          </p:cNvPr>
          <p:cNvSpPr txBox="1"/>
          <p:nvPr/>
        </p:nvSpPr>
        <p:spPr>
          <a:xfrm>
            <a:off x="1761624" y="2271945"/>
            <a:ext cx="3353803" cy="338554"/>
          </a:xfrm>
          <a:prstGeom prst="rect">
            <a:avLst/>
          </a:prstGeom>
          <a:solidFill>
            <a:schemeClr val="bg1"/>
          </a:solidFill>
        </p:spPr>
        <p:txBody>
          <a:bodyPr wrap="none" rtlCol="0">
            <a:spAutoFit/>
          </a:bodyPr>
          <a:lstStyle>
            <a:defPPr lvl="0">
              <a:defRPr lang="de-DE"/>
            </a:defPPr>
            <a:lvl1pPr indent="0">
              <a:buClr>
                <a:schemeClr val="bg2"/>
              </a:buClr>
              <a:buSzPct val="80000"/>
              <a:buFont typeface="Arial" panose="020B0604020202020204" pitchFamily="34" charset="0"/>
              <a:buNone/>
              <a:defRPr sz="1600" b="1" i="0" u="none" strike="noStrike" cap="none">
                <a:solidFill>
                  <a:schemeClr val="tx1">
                    <a:lumMod val="65000"/>
                    <a:lumOff val="35000"/>
                  </a:schemeClr>
                </a:solidFill>
                <a:latin typeface="Arial" panose="020B0604020202020204" pitchFamily="34" charset="0"/>
                <a:cs typeface="Arial" panose="020B0604020202020204" pitchFamily="34" charset="0"/>
              </a:defRPr>
            </a:lvl1pPr>
          </a:lstStyle>
          <a:p>
            <a:r>
              <a:rPr lang="en-US">
                <a:solidFill>
                  <a:schemeClr val="accent1"/>
                </a:solidFill>
              </a:rPr>
              <a:t>Standardization Request (SREQ)</a:t>
            </a:r>
          </a:p>
        </p:txBody>
      </p:sp>
      <p:grpSp>
        <p:nvGrpSpPr>
          <p:cNvPr id="174" name="Group 173">
            <a:extLst>
              <a:ext uri="{FF2B5EF4-FFF2-40B4-BE49-F238E27FC236}">
                <a16:creationId xmlns:a16="http://schemas.microsoft.com/office/drawing/2014/main" id="{68F64053-C2DD-9162-4BA5-496E0E75283A}"/>
              </a:ext>
            </a:extLst>
          </p:cNvPr>
          <p:cNvGrpSpPr/>
          <p:nvPr/>
        </p:nvGrpSpPr>
        <p:grpSpPr>
          <a:xfrm>
            <a:off x="8417878" y="2561125"/>
            <a:ext cx="1476000" cy="1616549"/>
            <a:chOff x="8896753" y="4359861"/>
            <a:chExt cx="1476000" cy="1616549"/>
          </a:xfrm>
        </p:grpSpPr>
        <p:sp>
          <p:nvSpPr>
            <p:cNvPr id="156" name="Rectangle 155">
              <a:extLst>
                <a:ext uri="{FF2B5EF4-FFF2-40B4-BE49-F238E27FC236}">
                  <a16:creationId xmlns:a16="http://schemas.microsoft.com/office/drawing/2014/main" id="{072C8684-F236-CF70-3884-F3C579E1CB89}"/>
                </a:ext>
              </a:extLst>
            </p:cNvPr>
            <p:cNvSpPr/>
            <p:nvPr/>
          </p:nvSpPr>
          <p:spPr>
            <a:xfrm>
              <a:off x="8896753" y="4359861"/>
              <a:ext cx="1476000" cy="16165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Delegated Act</a:t>
              </a:r>
            </a:p>
          </p:txBody>
        </p:sp>
        <p:pic>
          <p:nvPicPr>
            <p:cNvPr id="157" name="Graphic 156">
              <a:extLst>
                <a:ext uri="{FF2B5EF4-FFF2-40B4-BE49-F238E27FC236}">
                  <a16:creationId xmlns:a16="http://schemas.microsoft.com/office/drawing/2014/main" id="{9EC31C39-7C60-9BCD-DEA7-2B02EECF9C2C}"/>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9274753" y="4485583"/>
              <a:ext cx="720000" cy="720000"/>
            </a:xfrm>
            <a:prstGeom prst="rect">
              <a:avLst/>
            </a:prstGeom>
          </p:spPr>
        </p:pic>
      </p:grpSp>
      <p:cxnSp>
        <p:nvCxnSpPr>
          <p:cNvPr id="164" name="Straight Connector 163">
            <a:extLst>
              <a:ext uri="{FF2B5EF4-FFF2-40B4-BE49-F238E27FC236}">
                <a16:creationId xmlns:a16="http://schemas.microsoft.com/office/drawing/2014/main" id="{39733A27-A060-E5BB-7545-C11B278B2EB4}"/>
              </a:ext>
            </a:extLst>
          </p:cNvPr>
          <p:cNvCxnSpPr>
            <a:cxnSpLocks/>
          </p:cNvCxnSpPr>
          <p:nvPr/>
        </p:nvCxnSpPr>
        <p:spPr>
          <a:xfrm>
            <a:off x="7912686" y="2143125"/>
            <a:ext cx="0" cy="3963807"/>
          </a:xfrm>
          <a:prstGeom prst="line">
            <a:avLst/>
          </a:prstGeom>
          <a:ln w="12700">
            <a:solidFill>
              <a:srgbClr val="D6D6D6"/>
            </a:solidFill>
          </a:ln>
        </p:spPr>
        <p:style>
          <a:lnRef idx="1">
            <a:schemeClr val="accent1"/>
          </a:lnRef>
          <a:fillRef idx="0">
            <a:schemeClr val="accent1"/>
          </a:fillRef>
          <a:effectRef idx="0">
            <a:schemeClr val="accent1"/>
          </a:effectRef>
          <a:fontRef idx="minor">
            <a:schemeClr val="tx1"/>
          </a:fontRef>
        </p:style>
      </p:cxnSp>
      <p:grpSp>
        <p:nvGrpSpPr>
          <p:cNvPr id="173" name="Group 172">
            <a:extLst>
              <a:ext uri="{FF2B5EF4-FFF2-40B4-BE49-F238E27FC236}">
                <a16:creationId xmlns:a16="http://schemas.microsoft.com/office/drawing/2014/main" id="{40A2AD8A-F5A9-67F0-BF0B-DB5A18193E58}"/>
              </a:ext>
            </a:extLst>
          </p:cNvPr>
          <p:cNvGrpSpPr/>
          <p:nvPr/>
        </p:nvGrpSpPr>
        <p:grpSpPr>
          <a:xfrm>
            <a:off x="8417878" y="4359861"/>
            <a:ext cx="1476000" cy="1616549"/>
            <a:chOff x="7576989" y="4359861"/>
            <a:chExt cx="1476000" cy="1616549"/>
          </a:xfrm>
        </p:grpSpPr>
        <p:sp>
          <p:nvSpPr>
            <p:cNvPr id="171" name="Rectangle 170">
              <a:extLst>
                <a:ext uri="{FF2B5EF4-FFF2-40B4-BE49-F238E27FC236}">
                  <a16:creationId xmlns:a16="http://schemas.microsoft.com/office/drawing/2014/main" id="{8AD291CE-9306-FAD6-39EA-70435F55461A}"/>
                </a:ext>
              </a:extLst>
            </p:cNvPr>
            <p:cNvSpPr/>
            <p:nvPr/>
          </p:nvSpPr>
          <p:spPr>
            <a:xfrm>
              <a:off x="7576989" y="4359861"/>
              <a:ext cx="1476000" cy="16165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b="1">
                  <a:solidFill>
                    <a:schemeClr val="tx1">
                      <a:lumMod val="65000"/>
                      <a:lumOff val="35000"/>
                    </a:schemeClr>
                  </a:solidFill>
                  <a:latin typeface="Arial Narrow" panose="020B0604020202020204" pitchFamily="34" charset="0"/>
                  <a:cs typeface="Arial Narrow" panose="020B0604020202020204" pitchFamily="34" charset="0"/>
                </a:rPr>
                <a:t>Ecodesign Specifications</a:t>
              </a:r>
            </a:p>
          </p:txBody>
        </p:sp>
        <p:pic>
          <p:nvPicPr>
            <p:cNvPr id="172" name="Graphic 171">
              <a:extLst>
                <a:ext uri="{FF2B5EF4-FFF2-40B4-BE49-F238E27FC236}">
                  <a16:creationId xmlns:a16="http://schemas.microsoft.com/office/drawing/2014/main" id="{2FF0D4BC-616B-4DEC-5BA3-AFC65A7253AC}"/>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7954989" y="4485583"/>
              <a:ext cx="720000" cy="761405"/>
            </a:xfrm>
            <a:prstGeom prst="rect">
              <a:avLst/>
            </a:prstGeom>
          </p:spPr>
        </p:pic>
      </p:grpSp>
    </p:spTree>
    <p:extLst>
      <p:ext uri="{BB962C8B-B14F-4D97-AF65-F5344CB8AC3E}">
        <p14:creationId xmlns:p14="http://schemas.microsoft.com/office/powerpoint/2010/main" val="9921357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46"/>
                                        </p:tgtEl>
                                        <p:attrNameLst>
                                          <p:attrName>style.visibility</p:attrName>
                                        </p:attrNameLst>
                                      </p:cBhvr>
                                      <p:to>
                                        <p:strVal val="visible"/>
                                      </p:to>
                                    </p:set>
                                    <p:animEffect transition="in" filter="blinds(horizontal)">
                                      <p:cBhvr>
                                        <p:cTn id="7" dur="500"/>
                                        <p:tgtEl>
                                          <p:spTgt spid="146"/>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45"/>
                                        </p:tgtEl>
                                        <p:attrNameLst>
                                          <p:attrName>style.visibility</p:attrName>
                                        </p:attrNameLst>
                                      </p:cBhvr>
                                      <p:to>
                                        <p:strVal val="visible"/>
                                      </p:to>
                                    </p:set>
                                    <p:animEffect transition="in" filter="blinds(horizontal)">
                                      <p:cBhvr>
                                        <p:cTn id="10" dur="500"/>
                                        <p:tgtEl>
                                          <p:spTgt spid="1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5" grpId="0" animBg="1"/>
      <p:bldP spid="146"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E3656E-ED0A-778F-25E0-C62908A4CC24}"/>
              </a:ext>
            </a:extLst>
          </p:cNvPr>
          <p:cNvSpPr>
            <a:spLocks noGrp="1"/>
          </p:cNvSpPr>
          <p:nvPr>
            <p:ph type="title"/>
          </p:nvPr>
        </p:nvSpPr>
        <p:spPr/>
        <p:txBody>
          <a:bodyPr/>
          <a:lstStyle/>
          <a:p>
            <a:r>
              <a:rPr lang="en-US"/>
              <a:t>DPP Vision / Battery Passport</a:t>
            </a:r>
          </a:p>
        </p:txBody>
      </p:sp>
      <p:sp>
        <p:nvSpPr>
          <p:cNvPr id="4" name="Date Placeholder 3">
            <a:extLst>
              <a:ext uri="{FF2B5EF4-FFF2-40B4-BE49-F238E27FC236}">
                <a16:creationId xmlns:a16="http://schemas.microsoft.com/office/drawing/2014/main" id="{65481F08-DC58-D4BB-48A9-7FB5F948A1B0}"/>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368FC967-E25B-4DC7-87C0-1C454DF70C3D}"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5" name="Slide Number Placeholder 4">
            <a:extLst>
              <a:ext uri="{FF2B5EF4-FFF2-40B4-BE49-F238E27FC236}">
                <a16:creationId xmlns:a16="http://schemas.microsoft.com/office/drawing/2014/main" id="{8FA07666-2FE3-5D50-EAAB-C234B66FF6CF}"/>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21</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grpSp>
        <p:nvGrpSpPr>
          <p:cNvPr id="6" name="object 27">
            <a:extLst>
              <a:ext uri="{FF2B5EF4-FFF2-40B4-BE49-F238E27FC236}">
                <a16:creationId xmlns:a16="http://schemas.microsoft.com/office/drawing/2014/main" id="{20D436FB-2020-D21A-F6CA-057CAD486DB7}"/>
              </a:ext>
            </a:extLst>
          </p:cNvPr>
          <p:cNvGrpSpPr/>
          <p:nvPr/>
        </p:nvGrpSpPr>
        <p:grpSpPr>
          <a:xfrm>
            <a:off x="6780663" y="1033198"/>
            <a:ext cx="2274102" cy="4979972"/>
            <a:chOff x="9159620" y="2629280"/>
            <a:chExt cx="1578610" cy="3456940"/>
          </a:xfrm>
        </p:grpSpPr>
        <p:pic>
          <p:nvPicPr>
            <p:cNvPr id="7" name="object 28">
              <a:extLst>
                <a:ext uri="{FF2B5EF4-FFF2-40B4-BE49-F238E27FC236}">
                  <a16:creationId xmlns:a16="http://schemas.microsoft.com/office/drawing/2014/main" id="{BD16DE82-6C80-A322-1325-7DF767FFD12B}"/>
                </a:ext>
              </a:extLst>
            </p:cNvPr>
            <p:cNvPicPr/>
            <p:nvPr/>
          </p:nvPicPr>
          <p:blipFill>
            <a:blip r:embed="rId2" cstate="print"/>
            <a:stretch>
              <a:fillRect/>
            </a:stretch>
          </p:blipFill>
          <p:spPr>
            <a:xfrm>
              <a:off x="9220143" y="2903190"/>
              <a:ext cx="1425394" cy="3182865"/>
            </a:xfrm>
            <a:prstGeom prst="rect">
              <a:avLst/>
            </a:prstGeom>
          </p:spPr>
        </p:pic>
        <p:sp>
          <p:nvSpPr>
            <p:cNvPr id="8" name="object 29">
              <a:extLst>
                <a:ext uri="{FF2B5EF4-FFF2-40B4-BE49-F238E27FC236}">
                  <a16:creationId xmlns:a16="http://schemas.microsoft.com/office/drawing/2014/main" id="{20F11A53-B314-CF69-7299-4B0E98A45358}"/>
                </a:ext>
              </a:extLst>
            </p:cNvPr>
            <p:cNvSpPr/>
            <p:nvPr/>
          </p:nvSpPr>
          <p:spPr>
            <a:xfrm>
              <a:off x="9188195" y="2657855"/>
              <a:ext cx="1521460" cy="3395979"/>
            </a:xfrm>
            <a:custGeom>
              <a:avLst/>
              <a:gdLst/>
              <a:ahLst/>
              <a:cxnLst/>
              <a:rect l="l" t="t" r="r" b="b"/>
              <a:pathLst>
                <a:path w="1521459" h="3395979">
                  <a:moveTo>
                    <a:pt x="0" y="161036"/>
                  </a:moveTo>
                  <a:lnTo>
                    <a:pt x="5754" y="118239"/>
                  </a:lnTo>
                  <a:lnTo>
                    <a:pt x="21994" y="79774"/>
                  </a:lnTo>
                  <a:lnTo>
                    <a:pt x="47180" y="47180"/>
                  </a:lnTo>
                  <a:lnTo>
                    <a:pt x="79774" y="21994"/>
                  </a:lnTo>
                  <a:lnTo>
                    <a:pt x="118239" y="5754"/>
                  </a:lnTo>
                  <a:lnTo>
                    <a:pt x="161035" y="0"/>
                  </a:lnTo>
                  <a:lnTo>
                    <a:pt x="1359915" y="0"/>
                  </a:lnTo>
                  <a:lnTo>
                    <a:pt x="1402712" y="5754"/>
                  </a:lnTo>
                  <a:lnTo>
                    <a:pt x="1441177" y="21994"/>
                  </a:lnTo>
                  <a:lnTo>
                    <a:pt x="1473771" y="47180"/>
                  </a:lnTo>
                  <a:lnTo>
                    <a:pt x="1498957" y="79774"/>
                  </a:lnTo>
                  <a:lnTo>
                    <a:pt x="1515197" y="118239"/>
                  </a:lnTo>
                  <a:lnTo>
                    <a:pt x="1520952" y="161036"/>
                  </a:lnTo>
                  <a:lnTo>
                    <a:pt x="1520952" y="3234397"/>
                  </a:lnTo>
                  <a:lnTo>
                    <a:pt x="1515197" y="3277219"/>
                  </a:lnTo>
                  <a:lnTo>
                    <a:pt x="1498957" y="3315697"/>
                  </a:lnTo>
                  <a:lnTo>
                    <a:pt x="1473771" y="3348296"/>
                  </a:lnTo>
                  <a:lnTo>
                    <a:pt x="1441177" y="3373481"/>
                  </a:lnTo>
                  <a:lnTo>
                    <a:pt x="1402712" y="3389718"/>
                  </a:lnTo>
                  <a:lnTo>
                    <a:pt x="1359915" y="3395472"/>
                  </a:lnTo>
                  <a:lnTo>
                    <a:pt x="161035" y="3395472"/>
                  </a:lnTo>
                  <a:lnTo>
                    <a:pt x="118239" y="3389718"/>
                  </a:lnTo>
                  <a:lnTo>
                    <a:pt x="79774" y="3373481"/>
                  </a:lnTo>
                  <a:lnTo>
                    <a:pt x="47180" y="3348296"/>
                  </a:lnTo>
                  <a:lnTo>
                    <a:pt x="21994" y="3315697"/>
                  </a:lnTo>
                  <a:lnTo>
                    <a:pt x="5754" y="3277219"/>
                  </a:lnTo>
                  <a:lnTo>
                    <a:pt x="0" y="3234397"/>
                  </a:lnTo>
                  <a:lnTo>
                    <a:pt x="0" y="161036"/>
                  </a:lnTo>
                  <a:close/>
                </a:path>
              </a:pathLst>
            </a:custGeom>
            <a:ln w="57150">
              <a:solidFill>
                <a:srgbClr val="000000"/>
              </a:solidFill>
            </a:ln>
          </p:spPr>
          <p:txBody>
            <a:bodyPr wrap="square" lIns="0" tIns="0" rIns="0" bIns="0" rtlCol="0"/>
            <a:lstStyle/>
            <a:p>
              <a:endParaRPr/>
            </a:p>
          </p:txBody>
        </p:sp>
        <p:sp>
          <p:nvSpPr>
            <p:cNvPr id="9" name="object 30">
              <a:extLst>
                <a:ext uri="{FF2B5EF4-FFF2-40B4-BE49-F238E27FC236}">
                  <a16:creationId xmlns:a16="http://schemas.microsoft.com/office/drawing/2014/main" id="{6CA1F01B-CC4C-D5C7-A2EA-36C47403D1E2}"/>
                </a:ext>
              </a:extLst>
            </p:cNvPr>
            <p:cNvSpPr/>
            <p:nvPr/>
          </p:nvSpPr>
          <p:spPr>
            <a:xfrm>
              <a:off x="9703307" y="2749295"/>
              <a:ext cx="490855" cy="131445"/>
            </a:xfrm>
            <a:custGeom>
              <a:avLst/>
              <a:gdLst/>
              <a:ahLst/>
              <a:cxnLst/>
              <a:rect l="l" t="t" r="r" b="b"/>
              <a:pathLst>
                <a:path w="490854" h="131444">
                  <a:moveTo>
                    <a:pt x="425196" y="0"/>
                  </a:moveTo>
                  <a:lnTo>
                    <a:pt x="65532" y="0"/>
                  </a:lnTo>
                  <a:lnTo>
                    <a:pt x="40022" y="5149"/>
                  </a:lnTo>
                  <a:lnTo>
                    <a:pt x="19192" y="19192"/>
                  </a:lnTo>
                  <a:lnTo>
                    <a:pt x="5149" y="40022"/>
                  </a:lnTo>
                  <a:lnTo>
                    <a:pt x="0" y="65531"/>
                  </a:lnTo>
                  <a:lnTo>
                    <a:pt x="5149" y="91041"/>
                  </a:lnTo>
                  <a:lnTo>
                    <a:pt x="19192" y="111871"/>
                  </a:lnTo>
                  <a:lnTo>
                    <a:pt x="40022" y="125914"/>
                  </a:lnTo>
                  <a:lnTo>
                    <a:pt x="65532" y="131063"/>
                  </a:lnTo>
                  <a:lnTo>
                    <a:pt x="425196" y="131063"/>
                  </a:lnTo>
                  <a:lnTo>
                    <a:pt x="450705" y="125914"/>
                  </a:lnTo>
                  <a:lnTo>
                    <a:pt x="471535" y="111871"/>
                  </a:lnTo>
                  <a:lnTo>
                    <a:pt x="485578" y="91041"/>
                  </a:lnTo>
                  <a:lnTo>
                    <a:pt x="490727" y="65531"/>
                  </a:lnTo>
                  <a:lnTo>
                    <a:pt x="485578" y="40022"/>
                  </a:lnTo>
                  <a:lnTo>
                    <a:pt x="471535" y="19192"/>
                  </a:lnTo>
                  <a:lnTo>
                    <a:pt x="450705" y="5149"/>
                  </a:lnTo>
                  <a:lnTo>
                    <a:pt x="425196" y="0"/>
                  </a:lnTo>
                  <a:close/>
                </a:path>
              </a:pathLst>
            </a:custGeom>
            <a:solidFill>
              <a:srgbClr val="000000"/>
            </a:solidFill>
          </p:spPr>
          <p:txBody>
            <a:bodyPr wrap="square" lIns="0" tIns="0" rIns="0" bIns="0" rtlCol="0"/>
            <a:lstStyle/>
            <a:p>
              <a:endParaRPr/>
            </a:p>
          </p:txBody>
        </p:sp>
      </p:grpSp>
      <p:pic>
        <p:nvPicPr>
          <p:cNvPr id="10" name="object 8">
            <a:extLst>
              <a:ext uri="{FF2B5EF4-FFF2-40B4-BE49-F238E27FC236}">
                <a16:creationId xmlns:a16="http://schemas.microsoft.com/office/drawing/2014/main" id="{51A1D002-A5A1-7F7F-99F0-700C6766FAEC}"/>
              </a:ext>
            </a:extLst>
          </p:cNvPr>
          <p:cNvPicPr/>
          <p:nvPr/>
        </p:nvPicPr>
        <p:blipFill>
          <a:blip r:embed="rId3" cstate="print"/>
          <a:stretch>
            <a:fillRect/>
          </a:stretch>
        </p:blipFill>
        <p:spPr>
          <a:xfrm>
            <a:off x="226800" y="6013170"/>
            <a:ext cx="863921" cy="283182"/>
          </a:xfrm>
          <a:prstGeom prst="rect">
            <a:avLst/>
          </a:prstGeom>
        </p:spPr>
      </p:pic>
      <p:pic>
        <p:nvPicPr>
          <p:cNvPr id="11" name="object 14">
            <a:extLst>
              <a:ext uri="{FF2B5EF4-FFF2-40B4-BE49-F238E27FC236}">
                <a16:creationId xmlns:a16="http://schemas.microsoft.com/office/drawing/2014/main" id="{603504C9-8B43-30C9-91E6-FDC3DB2305BB}"/>
              </a:ext>
            </a:extLst>
          </p:cNvPr>
          <p:cNvPicPr/>
          <p:nvPr/>
        </p:nvPicPr>
        <p:blipFill>
          <a:blip r:embed="rId4" cstate="print"/>
          <a:stretch>
            <a:fillRect/>
          </a:stretch>
        </p:blipFill>
        <p:spPr>
          <a:xfrm>
            <a:off x="2402541" y="2364907"/>
            <a:ext cx="2009970" cy="2128186"/>
          </a:xfrm>
          <a:prstGeom prst="rect">
            <a:avLst/>
          </a:prstGeom>
        </p:spPr>
      </p:pic>
      <p:sp>
        <p:nvSpPr>
          <p:cNvPr id="12" name="Fußzeilenplatzhalter 3">
            <a:extLst>
              <a:ext uri="{FF2B5EF4-FFF2-40B4-BE49-F238E27FC236}">
                <a16:creationId xmlns:a16="http://schemas.microsoft.com/office/drawing/2014/main" id="{16DAC79B-F3D2-ABF1-9619-27C1CC58201C}"/>
              </a:ext>
            </a:extLst>
          </p:cNvPr>
          <p:cNvSpPr txBox="1">
            <a:spLocks/>
          </p:cNvSpPr>
          <p:nvPr/>
        </p:nvSpPr>
        <p:spPr>
          <a:xfrm>
            <a:off x="1368178" y="6516000"/>
            <a:ext cx="5616000" cy="167933"/>
          </a:xfrm>
          <a:prstGeom prst="rect">
            <a:avLst/>
          </a:prstGeom>
        </p:spPr>
        <p:txBody>
          <a:bodyPr lIns="0" tIns="0" rIns="0" bIns="0"/>
          <a:ls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900">
                <a:latin typeface="Arial" panose="020B0604020202020204"/>
                <a:cs typeface="Arial"/>
              </a:rPr>
              <a:t>|  </a:t>
            </a:r>
            <a:r>
              <a:rPr lang="en-US" sz="900">
                <a:latin typeface="+mj-lt"/>
                <a:cs typeface="Calibri" panose="020F0502020204030204" pitchFamily="34" charset="0"/>
                <a:sym typeface="Calibri" panose="020F0502020204030204" pitchFamily="34" charset="0"/>
              </a:rPr>
              <a:t>Source: </a:t>
            </a:r>
            <a:r>
              <a:rPr lang="en-US" sz="900">
                <a:latin typeface="+mj-lt"/>
                <a:cs typeface="Calibri" panose="020F0502020204030204" pitchFamily="34" charset="0"/>
                <a:sym typeface="Calibri" panose="020F0502020204030204" pitchFamily="34" charset="0"/>
                <a:hlinkClick r:id="rId5">
                  <a:extLst>
                    <a:ext uri="{A12FA001-AC4F-418D-AE19-62706E023703}">
                      <ahyp:hlinkClr xmlns:ahyp="http://schemas.microsoft.com/office/drawing/2018/hyperlinkcolor" val="tx"/>
                    </a:ext>
                  </a:extLst>
                </a:hlinkClick>
              </a:rPr>
              <a:t>https://thebatterypass.eu</a:t>
            </a:r>
            <a:r>
              <a:rPr lang="en-US" sz="900">
                <a:latin typeface="+mj-lt"/>
                <a:cs typeface="Calibri" panose="020F0502020204030204" pitchFamily="34" charset="0"/>
                <a:sym typeface="Calibri" panose="020F0502020204030204" pitchFamily="34" charset="0"/>
              </a:rPr>
              <a:t> </a:t>
            </a:r>
          </a:p>
        </p:txBody>
      </p:sp>
    </p:spTree>
    <p:extLst>
      <p:ext uri="{BB962C8B-B14F-4D97-AF65-F5344CB8AC3E}">
        <p14:creationId xmlns:p14="http://schemas.microsoft.com/office/powerpoint/2010/main" val="4319049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41FFFC-7902-5018-7F21-515DE63D97F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F0918C3-6C3A-288E-B83E-CE01C9FFE032}"/>
              </a:ext>
            </a:extLst>
          </p:cNvPr>
          <p:cNvSpPr>
            <a:spLocks noGrp="1"/>
          </p:cNvSpPr>
          <p:nvPr>
            <p:ph type="title"/>
          </p:nvPr>
        </p:nvSpPr>
        <p:spPr/>
        <p:txBody>
          <a:bodyPr/>
          <a:lstStyle/>
          <a:p>
            <a:r>
              <a:rPr lang="en-GB"/>
              <a:t>Lessons Learned from the Battery Pass</a:t>
            </a:r>
            <a:br>
              <a:rPr lang="en-GB"/>
            </a:br>
            <a:endParaRPr lang="en-CH" b="0"/>
          </a:p>
        </p:txBody>
      </p:sp>
      <p:sp>
        <p:nvSpPr>
          <p:cNvPr id="4" name="Date Placeholder 3">
            <a:extLst>
              <a:ext uri="{FF2B5EF4-FFF2-40B4-BE49-F238E27FC236}">
                <a16:creationId xmlns:a16="http://schemas.microsoft.com/office/drawing/2014/main" id="{A653D2CB-FE77-7CFB-4925-7F6C46E333DC}"/>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368FC967-E25B-4DC7-87C0-1C454DF70C3D}"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5" name="Slide Number Placeholder 4">
            <a:extLst>
              <a:ext uri="{FF2B5EF4-FFF2-40B4-BE49-F238E27FC236}">
                <a16:creationId xmlns:a16="http://schemas.microsoft.com/office/drawing/2014/main" id="{679FE0B6-D87F-1F15-B8F9-BEF60E3C2AB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22</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cxnSp>
        <p:nvCxnSpPr>
          <p:cNvPr id="7" name="Gerader Verbinder 34">
            <a:extLst>
              <a:ext uri="{FF2B5EF4-FFF2-40B4-BE49-F238E27FC236}">
                <a16:creationId xmlns:a16="http://schemas.microsoft.com/office/drawing/2014/main" id="{AAA873EB-ADB8-E0F4-0C17-2C3EF6F0E693}"/>
              </a:ext>
            </a:extLst>
          </p:cNvPr>
          <p:cNvCxnSpPr>
            <a:cxnSpLocks/>
          </p:cNvCxnSpPr>
          <p:nvPr/>
        </p:nvCxnSpPr>
        <p:spPr>
          <a:xfrm>
            <a:off x="336478" y="3436307"/>
            <a:ext cx="11448000" cy="0"/>
          </a:xfrm>
          <a:prstGeom prst="line">
            <a:avLst/>
          </a:pr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8" name="Verbinder: gekrümmt 52">
            <a:extLst>
              <a:ext uri="{FF2B5EF4-FFF2-40B4-BE49-F238E27FC236}">
                <a16:creationId xmlns:a16="http://schemas.microsoft.com/office/drawing/2014/main" id="{740A9F75-CA9E-5196-A4B4-B22215C56A19}"/>
              </a:ext>
            </a:extLst>
          </p:cNvPr>
          <p:cNvCxnSpPr>
            <a:cxnSpLocks/>
            <a:stCxn id="17" idx="0"/>
            <a:endCxn id="85" idx="1"/>
          </p:cNvCxnSpPr>
          <p:nvPr/>
        </p:nvCxnSpPr>
        <p:spPr>
          <a:xfrm rot="5400000" flipH="1" flipV="1">
            <a:off x="6337030" y="3458242"/>
            <a:ext cx="2762066" cy="1351124"/>
          </a:xfrm>
          <a:prstGeom prst="curvedConnector2">
            <a:avLst/>
          </a:prstGeom>
          <a:ln w="28575">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3" name="Arrow: Pentagon 16">
            <a:extLst>
              <a:ext uri="{FF2B5EF4-FFF2-40B4-BE49-F238E27FC236}">
                <a16:creationId xmlns:a16="http://schemas.microsoft.com/office/drawing/2014/main" id="{2D319A93-F92A-5ADA-49E7-7E77F4D5D48A}"/>
              </a:ext>
            </a:extLst>
          </p:cNvPr>
          <p:cNvSpPr/>
          <p:nvPr/>
        </p:nvSpPr>
        <p:spPr>
          <a:xfrm>
            <a:off x="1303764" y="5514837"/>
            <a:ext cx="1206452" cy="46800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Miner</a:t>
            </a:r>
          </a:p>
        </p:txBody>
      </p:sp>
      <p:sp>
        <p:nvSpPr>
          <p:cNvPr id="14" name="Arrow: Chevron 17">
            <a:extLst>
              <a:ext uri="{FF2B5EF4-FFF2-40B4-BE49-F238E27FC236}">
                <a16:creationId xmlns:a16="http://schemas.microsoft.com/office/drawing/2014/main" id="{D1ED1D1A-7D49-6242-96E1-53280EEA5758}"/>
              </a:ext>
            </a:extLst>
          </p:cNvPr>
          <p:cNvSpPr/>
          <p:nvPr/>
        </p:nvSpPr>
        <p:spPr>
          <a:xfrm>
            <a:off x="2355555" y="5514837"/>
            <a:ext cx="1206452" cy="46800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Refiner</a:t>
            </a:r>
          </a:p>
        </p:txBody>
      </p:sp>
      <p:sp>
        <p:nvSpPr>
          <p:cNvPr id="15" name="Arrow: Chevron 18">
            <a:extLst>
              <a:ext uri="{FF2B5EF4-FFF2-40B4-BE49-F238E27FC236}">
                <a16:creationId xmlns:a16="http://schemas.microsoft.com/office/drawing/2014/main" id="{C235C1C8-70A7-E3A6-6749-BEEDB0EA07FC}"/>
              </a:ext>
            </a:extLst>
          </p:cNvPr>
          <p:cNvSpPr/>
          <p:nvPr/>
        </p:nvSpPr>
        <p:spPr>
          <a:xfrm>
            <a:off x="3407346" y="5514837"/>
            <a:ext cx="1206452" cy="46800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Precursor and CAM producer</a:t>
            </a:r>
          </a:p>
        </p:txBody>
      </p:sp>
      <p:sp>
        <p:nvSpPr>
          <p:cNvPr id="16" name="Arrow: Chevron 21">
            <a:extLst>
              <a:ext uri="{FF2B5EF4-FFF2-40B4-BE49-F238E27FC236}">
                <a16:creationId xmlns:a16="http://schemas.microsoft.com/office/drawing/2014/main" id="{8E521FB1-B25D-0763-5DF0-D68FAB8A1305}"/>
              </a:ext>
            </a:extLst>
          </p:cNvPr>
          <p:cNvSpPr/>
          <p:nvPr/>
        </p:nvSpPr>
        <p:spPr>
          <a:xfrm>
            <a:off x="5504484" y="5514837"/>
            <a:ext cx="1206452" cy="46800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Pack producer</a:t>
            </a:r>
          </a:p>
        </p:txBody>
      </p:sp>
      <p:sp>
        <p:nvSpPr>
          <p:cNvPr id="17" name="Arrow: Chevron 22">
            <a:extLst>
              <a:ext uri="{FF2B5EF4-FFF2-40B4-BE49-F238E27FC236}">
                <a16:creationId xmlns:a16="http://schemas.microsoft.com/office/drawing/2014/main" id="{4597EEA6-A439-F34C-AF8E-096EA1D8B97D}"/>
              </a:ext>
            </a:extLst>
          </p:cNvPr>
          <p:cNvSpPr/>
          <p:nvPr/>
        </p:nvSpPr>
        <p:spPr>
          <a:xfrm>
            <a:off x="6556275" y="5514837"/>
            <a:ext cx="1206452" cy="468000"/>
          </a:xfrm>
          <a:prstGeom prst="chevron">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OEM</a:t>
            </a:r>
          </a:p>
        </p:txBody>
      </p:sp>
      <p:sp>
        <p:nvSpPr>
          <p:cNvPr id="18" name="Arrow: Chevron 23">
            <a:extLst>
              <a:ext uri="{FF2B5EF4-FFF2-40B4-BE49-F238E27FC236}">
                <a16:creationId xmlns:a16="http://schemas.microsoft.com/office/drawing/2014/main" id="{744016B2-C1DB-151A-4DCA-056F8EF929EB}"/>
              </a:ext>
            </a:extLst>
          </p:cNvPr>
          <p:cNvSpPr/>
          <p:nvPr/>
        </p:nvSpPr>
        <p:spPr>
          <a:xfrm>
            <a:off x="9687900" y="5514837"/>
            <a:ext cx="1206452" cy="468000"/>
          </a:xfrm>
          <a:prstGeom prst="chevr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Collect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Dismantler</a:t>
            </a:r>
          </a:p>
        </p:txBody>
      </p:sp>
      <p:sp>
        <p:nvSpPr>
          <p:cNvPr id="19" name="Arrow: Chevron 23">
            <a:extLst>
              <a:ext uri="{FF2B5EF4-FFF2-40B4-BE49-F238E27FC236}">
                <a16:creationId xmlns:a16="http://schemas.microsoft.com/office/drawing/2014/main" id="{1E727627-B896-FF59-D681-7A2215904CFE}"/>
              </a:ext>
            </a:extLst>
          </p:cNvPr>
          <p:cNvSpPr/>
          <p:nvPr/>
        </p:nvSpPr>
        <p:spPr>
          <a:xfrm>
            <a:off x="8643116" y="5514837"/>
            <a:ext cx="1206452" cy="468000"/>
          </a:xfrm>
          <a:prstGeom prst="chevr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u="none" strike="noStrike" kern="1200" cap="none" spc="0" normalizeH="0" baseline="0" noProof="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endParaRPr>
          </a:p>
        </p:txBody>
      </p:sp>
      <p:cxnSp>
        <p:nvCxnSpPr>
          <p:cNvPr id="20" name="Verbinder: gekrümmt 25">
            <a:extLst>
              <a:ext uri="{FF2B5EF4-FFF2-40B4-BE49-F238E27FC236}">
                <a16:creationId xmlns:a16="http://schemas.microsoft.com/office/drawing/2014/main" id="{2BB50EDB-14DB-D6D1-214C-476AE669FA1B}"/>
              </a:ext>
            </a:extLst>
          </p:cNvPr>
          <p:cNvCxnSpPr>
            <a:cxnSpLocks/>
          </p:cNvCxnSpPr>
          <p:nvPr/>
        </p:nvCxnSpPr>
        <p:spPr>
          <a:xfrm rot="16200000" flipH="1">
            <a:off x="2344407" y="4931672"/>
            <a:ext cx="75" cy="1094857"/>
          </a:xfrm>
          <a:prstGeom prst="curvedConnector3">
            <a:avLst>
              <a:gd name="adj1" fmla="val -419246667"/>
            </a:avLst>
          </a:prstGeom>
          <a:ln w="28575">
            <a:solidFill>
              <a:schemeClr val="accent4">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1" name="Verbinder: gekrümmt 27">
            <a:extLst>
              <a:ext uri="{FF2B5EF4-FFF2-40B4-BE49-F238E27FC236}">
                <a16:creationId xmlns:a16="http://schemas.microsoft.com/office/drawing/2014/main" id="{FB16C745-5D22-9685-4A65-6CC2D32172E9}"/>
              </a:ext>
            </a:extLst>
          </p:cNvPr>
          <p:cNvCxnSpPr>
            <a:cxnSpLocks/>
          </p:cNvCxnSpPr>
          <p:nvPr/>
        </p:nvCxnSpPr>
        <p:spPr>
          <a:xfrm rot="5400000" flipH="1" flipV="1">
            <a:off x="3407834" y="4963178"/>
            <a:ext cx="75" cy="1031996"/>
          </a:xfrm>
          <a:prstGeom prst="curvedConnector3">
            <a:avLst>
              <a:gd name="adj1" fmla="val 419788000"/>
            </a:avLst>
          </a:prstGeom>
          <a:ln w="28575">
            <a:solidFill>
              <a:schemeClr val="accent4">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2" name="Verbinder: gekrümmt 32">
            <a:extLst>
              <a:ext uri="{FF2B5EF4-FFF2-40B4-BE49-F238E27FC236}">
                <a16:creationId xmlns:a16="http://schemas.microsoft.com/office/drawing/2014/main" id="{60CB1F57-8C3D-6212-5B42-AA36453D882B}"/>
              </a:ext>
            </a:extLst>
          </p:cNvPr>
          <p:cNvCxnSpPr>
            <a:cxnSpLocks/>
          </p:cNvCxnSpPr>
          <p:nvPr/>
        </p:nvCxnSpPr>
        <p:spPr>
          <a:xfrm rot="5400000" flipH="1" flipV="1">
            <a:off x="4452938" y="4950068"/>
            <a:ext cx="12700" cy="1058140"/>
          </a:xfrm>
          <a:prstGeom prst="curvedConnector3">
            <a:avLst>
              <a:gd name="adj1" fmla="val 2619764"/>
            </a:avLst>
          </a:prstGeom>
          <a:ln w="28575">
            <a:solidFill>
              <a:schemeClr val="accent4">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3" name="Verbinder: gekrümmt 35">
            <a:extLst>
              <a:ext uri="{FF2B5EF4-FFF2-40B4-BE49-F238E27FC236}">
                <a16:creationId xmlns:a16="http://schemas.microsoft.com/office/drawing/2014/main" id="{FB3F282C-5AB6-89E8-F579-68DB8B776AB0}"/>
              </a:ext>
            </a:extLst>
          </p:cNvPr>
          <p:cNvCxnSpPr>
            <a:cxnSpLocks/>
          </p:cNvCxnSpPr>
          <p:nvPr/>
        </p:nvCxnSpPr>
        <p:spPr>
          <a:xfrm rot="5400000" flipH="1" flipV="1">
            <a:off x="5505562" y="4955584"/>
            <a:ext cx="12700" cy="1047108"/>
          </a:xfrm>
          <a:prstGeom prst="curvedConnector3">
            <a:avLst>
              <a:gd name="adj1" fmla="val 2579654"/>
            </a:avLst>
          </a:prstGeom>
          <a:ln w="28575">
            <a:solidFill>
              <a:schemeClr val="accent4">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4" name="Verbinder: gekrümmt 49">
            <a:extLst>
              <a:ext uri="{FF2B5EF4-FFF2-40B4-BE49-F238E27FC236}">
                <a16:creationId xmlns:a16="http://schemas.microsoft.com/office/drawing/2014/main" id="{31367CDE-37E2-9F76-7F48-BD99685615E6}"/>
              </a:ext>
            </a:extLst>
          </p:cNvPr>
          <p:cNvCxnSpPr>
            <a:cxnSpLocks/>
          </p:cNvCxnSpPr>
          <p:nvPr/>
        </p:nvCxnSpPr>
        <p:spPr>
          <a:xfrm rot="16200000" flipH="1">
            <a:off x="6550017" y="4950643"/>
            <a:ext cx="6350" cy="1050640"/>
          </a:xfrm>
          <a:prstGeom prst="curvedConnector3">
            <a:avLst>
              <a:gd name="adj1" fmla="val -5061622"/>
            </a:avLst>
          </a:prstGeom>
          <a:ln w="28575">
            <a:solidFill>
              <a:schemeClr val="accent4">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5" name="Arrow: Chevron 23">
            <a:extLst>
              <a:ext uri="{FF2B5EF4-FFF2-40B4-BE49-F238E27FC236}">
                <a16:creationId xmlns:a16="http://schemas.microsoft.com/office/drawing/2014/main" id="{3D2D906D-3F37-8694-70A8-9EE48C8A73EF}"/>
              </a:ext>
            </a:extLst>
          </p:cNvPr>
          <p:cNvSpPr/>
          <p:nvPr/>
        </p:nvSpPr>
        <p:spPr>
          <a:xfrm>
            <a:off x="7601059" y="5514837"/>
            <a:ext cx="1206452" cy="468000"/>
          </a:xfrm>
          <a:prstGeom prst="chevr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End-user</a:t>
            </a:r>
          </a:p>
        </p:txBody>
      </p:sp>
      <p:sp>
        <p:nvSpPr>
          <p:cNvPr id="85" name="Rectangle 1">
            <a:extLst>
              <a:ext uri="{FF2B5EF4-FFF2-40B4-BE49-F238E27FC236}">
                <a16:creationId xmlns:a16="http://schemas.microsoft.com/office/drawing/2014/main" id="{F4DF752A-334C-C36C-000B-D2DBD383DFCB}"/>
              </a:ext>
            </a:extLst>
          </p:cNvPr>
          <p:cNvSpPr/>
          <p:nvPr/>
        </p:nvSpPr>
        <p:spPr>
          <a:xfrm>
            <a:off x="8393625" y="2465667"/>
            <a:ext cx="2892761" cy="574207"/>
          </a:xfrm>
          <a:prstGeom prst="rect">
            <a:avLst/>
          </a:prstGeom>
          <a:solidFill>
            <a:schemeClr val="bg1">
              <a:lumMod val="9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accent1"/>
                </a:solidFill>
                <a:effectLst/>
                <a:uLnTx/>
                <a:uFillTx/>
                <a:latin typeface="Arial" panose="020B0604020202020204"/>
                <a:ea typeface="+mn-ea"/>
                <a:cs typeface="Arial"/>
                <a:sym typeface="Arial"/>
              </a:rPr>
              <a:t>Economic operators’    back-end systems </a:t>
            </a:r>
            <a:br>
              <a:rPr kumimoji="0" lang="en-GB" sz="1600" b="0" i="0" u="none" strike="noStrike" kern="1200" cap="none" spc="0" normalizeH="0" baseline="0" noProof="0">
                <a:ln>
                  <a:noFill/>
                </a:ln>
                <a:solidFill>
                  <a:schemeClr val="accent1"/>
                </a:solidFill>
                <a:effectLst/>
                <a:uLnTx/>
                <a:uFillTx/>
                <a:latin typeface="Arial" panose="020B0604020202020204"/>
                <a:ea typeface="+mn-ea"/>
                <a:cs typeface="Arial"/>
                <a:sym typeface="Arial"/>
              </a:rPr>
            </a:br>
            <a:endParaRPr kumimoji="0" lang="en-GB" sz="1600" b="0" i="0" u="none" strike="noStrike" kern="1200" cap="none" spc="0" normalizeH="0" baseline="0" noProof="0">
              <a:ln>
                <a:noFill/>
              </a:ln>
              <a:solidFill>
                <a:schemeClr val="accent1"/>
              </a:solidFill>
              <a:effectLst/>
              <a:uLnTx/>
              <a:uFillTx/>
              <a:latin typeface="Arial" panose="020B0604020202020204"/>
              <a:ea typeface="+mn-ea"/>
              <a:cs typeface="Arial"/>
              <a:sym typeface="Arial"/>
            </a:endParaRPr>
          </a:p>
        </p:txBody>
      </p:sp>
      <p:sp>
        <p:nvSpPr>
          <p:cNvPr id="87" name="Arrow: Chevron 23">
            <a:extLst>
              <a:ext uri="{FF2B5EF4-FFF2-40B4-BE49-F238E27FC236}">
                <a16:creationId xmlns:a16="http://schemas.microsoft.com/office/drawing/2014/main" id="{65E44DC6-E6D6-9F0B-BFDE-D4A79D2AD084}"/>
              </a:ext>
            </a:extLst>
          </p:cNvPr>
          <p:cNvSpPr/>
          <p:nvPr/>
        </p:nvSpPr>
        <p:spPr>
          <a:xfrm>
            <a:off x="10729957" y="5514837"/>
            <a:ext cx="1206452" cy="468000"/>
          </a:xfrm>
          <a:prstGeom prst="chevr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Recycler</a:t>
            </a:r>
          </a:p>
        </p:txBody>
      </p:sp>
      <p:cxnSp>
        <p:nvCxnSpPr>
          <p:cNvPr id="92" name="Gerader Verbinder 34">
            <a:extLst>
              <a:ext uri="{FF2B5EF4-FFF2-40B4-BE49-F238E27FC236}">
                <a16:creationId xmlns:a16="http://schemas.microsoft.com/office/drawing/2014/main" id="{C74CB9B5-C135-B0EE-FD8B-C8AC5B065F57}"/>
              </a:ext>
            </a:extLst>
          </p:cNvPr>
          <p:cNvCxnSpPr>
            <a:cxnSpLocks/>
          </p:cNvCxnSpPr>
          <p:nvPr/>
        </p:nvCxnSpPr>
        <p:spPr>
          <a:xfrm>
            <a:off x="303872" y="4662112"/>
            <a:ext cx="11448000" cy="0"/>
          </a:xfrm>
          <a:prstGeom prst="line">
            <a:avLst/>
          </a:pr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93" name="Gerader Verbinder 34">
            <a:extLst>
              <a:ext uri="{FF2B5EF4-FFF2-40B4-BE49-F238E27FC236}">
                <a16:creationId xmlns:a16="http://schemas.microsoft.com/office/drawing/2014/main" id="{CD829A75-2AB2-065D-85E9-4AC399C67578}"/>
              </a:ext>
            </a:extLst>
          </p:cNvPr>
          <p:cNvCxnSpPr>
            <a:cxnSpLocks/>
          </p:cNvCxnSpPr>
          <p:nvPr/>
        </p:nvCxnSpPr>
        <p:spPr>
          <a:xfrm>
            <a:off x="306894" y="2292206"/>
            <a:ext cx="11448000" cy="0"/>
          </a:xfrm>
          <a:prstGeom prst="line">
            <a:avLst/>
          </a:pr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95" name="Verbinder: gekrümmt 98">
            <a:extLst>
              <a:ext uri="{FF2B5EF4-FFF2-40B4-BE49-F238E27FC236}">
                <a16:creationId xmlns:a16="http://schemas.microsoft.com/office/drawing/2014/main" id="{8BDEF51E-5D39-B0AD-6BB7-26F55E4E5AC7}"/>
              </a:ext>
            </a:extLst>
          </p:cNvPr>
          <p:cNvCxnSpPr>
            <a:cxnSpLocks/>
          </p:cNvCxnSpPr>
          <p:nvPr/>
        </p:nvCxnSpPr>
        <p:spPr>
          <a:xfrm rot="5400000" flipH="1" flipV="1">
            <a:off x="9638395" y="2377383"/>
            <a:ext cx="346070" cy="1"/>
          </a:xfrm>
          <a:prstGeom prst="curvedConnector3">
            <a:avLst>
              <a:gd name="adj1" fmla="val 50000"/>
            </a:avLst>
          </a:prstGeom>
          <a:ln w="28575">
            <a:solidFill>
              <a:schemeClr val="accent5"/>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7E3D7F45-3ACA-46EE-3E45-081A62EC7DFA}"/>
              </a:ext>
            </a:extLst>
          </p:cNvPr>
          <p:cNvSpPr txBox="1"/>
          <p:nvPr/>
        </p:nvSpPr>
        <p:spPr>
          <a:xfrm>
            <a:off x="7117369" y="1741180"/>
            <a:ext cx="2539328" cy="430887"/>
          </a:xfrm>
          <a:prstGeom prst="rect">
            <a:avLst/>
          </a:prstGeom>
          <a:solidFill>
            <a:schemeClr val="bg1"/>
          </a:solidFill>
        </p:spPr>
        <p:txBody>
          <a:bodyPr wrap="square" tIns="0" rIns="36000" bIns="0">
            <a:spAutoFit/>
          </a:bodyPr>
          <a:lstStyle/>
          <a:p>
            <a:pPr lvl="0" algn="r">
              <a:defRPr/>
            </a:pPr>
            <a:r>
              <a:rPr kumimoji="0" lang="en-GB" sz="1400" b="1" i="0" u="none" strike="noStrike" kern="1200" cap="none" spc="0" normalizeH="0" baseline="0" noProof="0">
                <a:ln>
                  <a:noFill/>
                </a:ln>
                <a:solidFill>
                  <a:schemeClr val="accent1"/>
                </a:solidFill>
                <a:effectLst/>
                <a:uLnTx/>
                <a:uFillTx/>
                <a:latin typeface="Arial" panose="020B0604020202020204"/>
                <a:ea typeface="+mn-ea"/>
                <a:cs typeface="Arial"/>
                <a:sym typeface="Arial"/>
              </a:rPr>
              <a:t>Battery Passport Systems </a:t>
            </a:r>
            <a:br>
              <a:rPr kumimoji="0" lang="en-GB" sz="1400" b="1" i="0" u="none" strike="noStrike" kern="1200" cap="none" spc="0" normalizeH="0" baseline="0" noProof="0">
                <a:ln>
                  <a:noFill/>
                </a:ln>
                <a:solidFill>
                  <a:schemeClr val="accent1"/>
                </a:solidFill>
                <a:effectLst/>
                <a:uLnTx/>
                <a:uFillTx/>
                <a:latin typeface="Arial" panose="020B0604020202020204"/>
                <a:ea typeface="+mn-ea"/>
                <a:cs typeface="Arial"/>
                <a:sym typeface="Arial"/>
              </a:rPr>
            </a:br>
            <a:endParaRPr kumimoji="0" lang="en-GB" sz="1400" b="0" i="0" u="none" strike="noStrike" kern="1200" cap="none" spc="0" normalizeH="0" baseline="0" noProof="0">
              <a:ln>
                <a:noFill/>
              </a:ln>
              <a:solidFill>
                <a:schemeClr val="accent1"/>
              </a:solidFill>
              <a:effectLst/>
              <a:uLnTx/>
              <a:uFillTx/>
              <a:latin typeface="Arial" panose="020B0604020202020204"/>
              <a:ea typeface="+mn-ea"/>
              <a:cs typeface="Arial"/>
              <a:sym typeface="Arial"/>
            </a:endParaRPr>
          </a:p>
        </p:txBody>
      </p:sp>
      <p:grpSp>
        <p:nvGrpSpPr>
          <p:cNvPr id="101" name="Group 100">
            <a:extLst>
              <a:ext uri="{FF2B5EF4-FFF2-40B4-BE49-F238E27FC236}">
                <a16:creationId xmlns:a16="http://schemas.microsoft.com/office/drawing/2014/main" id="{8D66AD5D-2070-9299-4133-955CCA161BD9}"/>
              </a:ext>
            </a:extLst>
          </p:cNvPr>
          <p:cNvGrpSpPr/>
          <p:nvPr/>
        </p:nvGrpSpPr>
        <p:grpSpPr>
          <a:xfrm>
            <a:off x="8258175" y="1165708"/>
            <a:ext cx="507316" cy="507316"/>
            <a:chOff x="8156575" y="1264599"/>
            <a:chExt cx="507316" cy="507316"/>
          </a:xfrm>
          <a:solidFill>
            <a:schemeClr val="accent1"/>
          </a:solidFill>
        </p:grpSpPr>
        <p:pic>
          <p:nvPicPr>
            <p:cNvPr id="102" name="Graphic 101" descr="Smart Phone with solid fill">
              <a:extLst>
                <a:ext uri="{FF2B5EF4-FFF2-40B4-BE49-F238E27FC236}">
                  <a16:creationId xmlns:a16="http://schemas.microsoft.com/office/drawing/2014/main" id="{A37720C7-8EF4-AA63-45B3-5FE2DE9E3F7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56575" y="1264599"/>
              <a:ext cx="507316" cy="507316"/>
            </a:xfrm>
            <a:prstGeom prst="rect">
              <a:avLst/>
            </a:prstGeom>
          </p:spPr>
        </p:pic>
        <p:pic>
          <p:nvPicPr>
            <p:cNvPr id="103" name="Graphic 102" descr="Qr Code with solid fill">
              <a:extLst>
                <a:ext uri="{FF2B5EF4-FFF2-40B4-BE49-F238E27FC236}">
                  <a16:creationId xmlns:a16="http://schemas.microsoft.com/office/drawing/2014/main" id="{A44D12CD-6255-7F51-8080-94EC8165785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19941" y="1442688"/>
              <a:ext cx="189413" cy="189413"/>
            </a:xfrm>
            <a:prstGeom prst="rect">
              <a:avLst/>
            </a:prstGeom>
          </p:spPr>
        </p:pic>
      </p:grpSp>
      <p:sp>
        <p:nvSpPr>
          <p:cNvPr id="104" name="Arrow: Chevron 18">
            <a:extLst>
              <a:ext uri="{FF2B5EF4-FFF2-40B4-BE49-F238E27FC236}">
                <a16:creationId xmlns:a16="http://schemas.microsoft.com/office/drawing/2014/main" id="{3CEAA17A-C954-EE08-9FAB-5B5E49388D55}"/>
              </a:ext>
            </a:extLst>
          </p:cNvPr>
          <p:cNvSpPr/>
          <p:nvPr/>
        </p:nvSpPr>
        <p:spPr>
          <a:xfrm>
            <a:off x="4465116" y="5504009"/>
            <a:ext cx="1206452" cy="46800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Cells and modules manufacturer</a:t>
            </a:r>
          </a:p>
        </p:txBody>
      </p:sp>
      <p:sp>
        <p:nvSpPr>
          <p:cNvPr id="105" name="Subtitle 23">
            <a:extLst>
              <a:ext uri="{FF2B5EF4-FFF2-40B4-BE49-F238E27FC236}">
                <a16:creationId xmlns:a16="http://schemas.microsoft.com/office/drawing/2014/main" id="{44156755-72E4-1E74-FC91-EE7D2838A3A9}"/>
              </a:ext>
            </a:extLst>
          </p:cNvPr>
          <p:cNvSpPr txBox="1">
            <a:spLocks/>
          </p:cNvSpPr>
          <p:nvPr/>
        </p:nvSpPr>
        <p:spPr>
          <a:xfrm>
            <a:off x="3427307" y="6267928"/>
            <a:ext cx="5979441" cy="298800"/>
          </a:xfrm>
          <a:prstGeom prst="rect">
            <a:avLst/>
          </a:prstGeom>
        </p:spPr>
        <p:txBody>
          <a:bodyPr vert="horz" lIns="0" tIns="0" rIns="0" bIns="0" rtlCol="0">
            <a:noAutofit/>
          </a:bodyPr>
          <a:lstStyle>
            <a:lvl1pPr marL="342900" marR="0" indent="-342900" algn="l" defTabSz="914400" rtl="0" eaLnBrk="1" fontAlgn="auto" latinLnBrk="0" hangingPunct="1">
              <a:lnSpc>
                <a:spcPct val="110000"/>
              </a:lnSpc>
              <a:spcBef>
                <a:spcPts val="0"/>
              </a:spcBef>
              <a:spcAft>
                <a:spcPts val="0"/>
              </a:spcAft>
              <a:buClr>
                <a:schemeClr val="accent1"/>
              </a:buClr>
              <a:buSzTx/>
              <a:buFont typeface="Wingdings" panose="05000000000000000000" pitchFamily="2" charset="2"/>
              <a:buChar char="n"/>
              <a:tabLst/>
              <a:defRPr sz="2000" b="0" i="0" kern="1200" baseline="0">
                <a:solidFill>
                  <a:schemeClr val="tx1"/>
                </a:solidFill>
                <a:latin typeface="Arial" panose="020B0604020202020204" pitchFamily="34" charset="0"/>
                <a:ea typeface="+mn-ea"/>
                <a:cs typeface="+mn-cs"/>
              </a:defRPr>
            </a:lvl1pPr>
            <a:lvl2pPr marL="719138" marR="0" indent="-361950" algn="l" defTabSz="914400" rtl="0" eaLnBrk="1" fontAlgn="auto" latinLnBrk="0" hangingPunct="1">
              <a:lnSpc>
                <a:spcPct val="110000"/>
              </a:lnSpc>
              <a:spcBef>
                <a:spcPts val="600"/>
              </a:spcBef>
              <a:spcAft>
                <a:spcPts val="0"/>
              </a:spcAft>
              <a:buClr>
                <a:srgbClr val="004A96"/>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4738" marR="0" indent="-355600" algn="l" defTabSz="914400" rtl="0" eaLnBrk="1" fontAlgn="auto" latinLnBrk="0" hangingPunct="1">
              <a:lnSpc>
                <a:spcPct val="110000"/>
              </a:lnSpc>
              <a:spcBef>
                <a:spcPts val="300"/>
              </a:spcBef>
              <a:spcAft>
                <a:spcPts val="0"/>
              </a:spcAft>
              <a:buClr>
                <a:srgbClr val="004A96"/>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61950" algn="l" defTabSz="914400" rtl="0" eaLnBrk="1" fontAlgn="auto" latinLnBrk="0" hangingPunct="1">
              <a:lnSpc>
                <a:spcPct val="110000"/>
              </a:lnSpc>
              <a:spcBef>
                <a:spcPts val="0"/>
              </a:spcBef>
              <a:spcAft>
                <a:spcPct val="50000"/>
              </a:spcAft>
              <a:buClr>
                <a:srgbClr val="004A96"/>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marL="0" marR="0" lvl="0" indent="0" algn="l" defTabSz="914400" rtl="0" eaLnBrk="1" fontAlgn="auto" latinLnBrk="0" hangingPunct="1">
              <a:lnSpc>
                <a:spcPct val="110000"/>
              </a:lnSpc>
              <a:spcBef>
                <a:spcPts val="0"/>
              </a:spcBef>
              <a:spcAft>
                <a:spcPts val="0"/>
              </a:spcAft>
              <a:buClr>
                <a:srgbClr val="004A96"/>
              </a:buClr>
              <a:buSzTx/>
              <a:buFont typeface="Wingdings" panose="05000000000000000000" pitchFamily="2" charset="2"/>
              <a:buNone/>
              <a:tabLst/>
              <a:defRPr/>
            </a:pPr>
            <a:r>
              <a:rPr kumimoji="0" lang="en-GB" sz="1000" b="0" i="0" u="none" strike="noStrike" kern="1200" cap="none" spc="0" normalizeH="0" baseline="0" noProof="0">
                <a:ln>
                  <a:noFill/>
                </a:ln>
                <a:solidFill>
                  <a:srgbClr val="000000">
                    <a:lumMod val="100000"/>
                  </a:srgbClr>
                </a:solidFill>
                <a:effectLst/>
                <a:uLnTx/>
                <a:uFillTx/>
                <a:latin typeface="+mn-lt"/>
                <a:ea typeface="Work Sans"/>
                <a:cs typeface="Work Sans"/>
                <a:sym typeface="Work Sans"/>
              </a:rPr>
              <a:t>This project receives funding from the </a:t>
            </a:r>
            <a:r>
              <a:rPr kumimoji="0" lang="en-GB" sz="1000" b="0" i="0" u="sng" strike="noStrike" kern="1200" cap="none" spc="0" normalizeH="0" baseline="0" noProof="0">
                <a:ln>
                  <a:noFill/>
                </a:ln>
                <a:solidFill>
                  <a:srgbClr val="004A96"/>
                </a:solidFill>
                <a:effectLst/>
                <a:uLnTx/>
                <a:uFillTx/>
                <a:latin typeface="+mn-lt"/>
                <a:ea typeface="Work Sans"/>
                <a:cs typeface="Work Sans"/>
                <a:sym typeface="Work Sans"/>
                <a:hlinkClick r:id="rId7">
                  <a:extLst>
                    <a:ext uri="{A12FA001-AC4F-418D-AE19-62706E023703}">
                      <ahyp:hlinkClr xmlns:ahyp="http://schemas.microsoft.com/office/drawing/2018/hyperlinkcolor" val="tx"/>
                    </a:ext>
                  </a:extLst>
                </a:hlinkClick>
              </a:rPr>
              <a:t>German Federal Ministry for Economic Affairs and Climate Action</a:t>
            </a:r>
            <a:r>
              <a:rPr kumimoji="0" lang="en-GB" sz="1000" b="0" i="0" u="none" strike="noStrike" kern="1200" cap="none" spc="0" normalizeH="0" baseline="0" noProof="0">
                <a:ln>
                  <a:noFill/>
                </a:ln>
                <a:solidFill>
                  <a:srgbClr val="000000">
                    <a:lumMod val="100000"/>
                  </a:srgbClr>
                </a:solidFill>
                <a:effectLst/>
                <a:uLnTx/>
                <a:uFillTx/>
                <a:latin typeface="+mn-lt"/>
                <a:ea typeface="Work Sans"/>
                <a:cs typeface="Work Sans"/>
                <a:sym typeface="Work Sans"/>
              </a:rPr>
              <a:t> by resolution of the German Bundestag under grant agreement No 16BZF335.</a:t>
            </a:r>
          </a:p>
        </p:txBody>
      </p:sp>
      <p:grpSp>
        <p:nvGrpSpPr>
          <p:cNvPr id="106" name="Group 11">
            <a:extLst>
              <a:ext uri="{FF2B5EF4-FFF2-40B4-BE49-F238E27FC236}">
                <a16:creationId xmlns:a16="http://schemas.microsoft.com/office/drawing/2014/main" id="{9DD1BB8B-2294-115E-34D9-0604DFDEB9EA}"/>
              </a:ext>
            </a:extLst>
          </p:cNvPr>
          <p:cNvGrpSpPr/>
          <p:nvPr/>
        </p:nvGrpSpPr>
        <p:grpSpPr>
          <a:xfrm>
            <a:off x="3711378" y="4912081"/>
            <a:ext cx="507316" cy="507316"/>
            <a:chOff x="8156575" y="1264599"/>
            <a:chExt cx="507316" cy="507316"/>
          </a:xfrm>
          <a:solidFill>
            <a:schemeClr val="accent1"/>
          </a:solidFill>
        </p:grpSpPr>
        <p:pic>
          <p:nvPicPr>
            <p:cNvPr id="107" name="Graphic 160" descr="Smart Phone with solid fill">
              <a:extLst>
                <a:ext uri="{FF2B5EF4-FFF2-40B4-BE49-F238E27FC236}">
                  <a16:creationId xmlns:a16="http://schemas.microsoft.com/office/drawing/2014/main" id="{7EA45AF0-1D41-8C32-3307-7E692384213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56575" y="1264599"/>
              <a:ext cx="507316" cy="507316"/>
            </a:xfrm>
            <a:prstGeom prst="rect">
              <a:avLst/>
            </a:prstGeom>
          </p:spPr>
        </p:pic>
        <p:pic>
          <p:nvPicPr>
            <p:cNvPr id="108" name="Graphic 161" descr="Qr Code with solid fill">
              <a:extLst>
                <a:ext uri="{FF2B5EF4-FFF2-40B4-BE49-F238E27FC236}">
                  <a16:creationId xmlns:a16="http://schemas.microsoft.com/office/drawing/2014/main" id="{E9953C2A-B95B-07D4-320B-DE35B289E78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19941" y="1442688"/>
              <a:ext cx="189413" cy="189413"/>
            </a:xfrm>
            <a:prstGeom prst="rect">
              <a:avLst/>
            </a:prstGeom>
          </p:spPr>
        </p:pic>
      </p:grpSp>
      <p:grpSp>
        <p:nvGrpSpPr>
          <p:cNvPr id="109" name="Group 11">
            <a:extLst>
              <a:ext uri="{FF2B5EF4-FFF2-40B4-BE49-F238E27FC236}">
                <a16:creationId xmlns:a16="http://schemas.microsoft.com/office/drawing/2014/main" id="{C58C2797-B132-EE73-F4E4-1BD3C2C4522C}"/>
              </a:ext>
            </a:extLst>
          </p:cNvPr>
          <p:cNvGrpSpPr/>
          <p:nvPr/>
        </p:nvGrpSpPr>
        <p:grpSpPr>
          <a:xfrm>
            <a:off x="6813167" y="4959792"/>
            <a:ext cx="507316" cy="507316"/>
            <a:chOff x="8156575" y="1264599"/>
            <a:chExt cx="507316" cy="507316"/>
          </a:xfrm>
          <a:solidFill>
            <a:schemeClr val="accent1"/>
          </a:solidFill>
        </p:grpSpPr>
        <p:pic>
          <p:nvPicPr>
            <p:cNvPr id="110" name="Graphic 160" descr="Smart Phone with solid fill">
              <a:extLst>
                <a:ext uri="{FF2B5EF4-FFF2-40B4-BE49-F238E27FC236}">
                  <a16:creationId xmlns:a16="http://schemas.microsoft.com/office/drawing/2014/main" id="{A483067B-6BC5-23FC-BB11-7BF14853955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56575" y="1264599"/>
              <a:ext cx="507316" cy="507316"/>
            </a:xfrm>
            <a:prstGeom prst="rect">
              <a:avLst/>
            </a:prstGeom>
          </p:spPr>
        </p:pic>
        <p:pic>
          <p:nvPicPr>
            <p:cNvPr id="111" name="Graphic 161" descr="Qr Code with solid fill">
              <a:extLst>
                <a:ext uri="{FF2B5EF4-FFF2-40B4-BE49-F238E27FC236}">
                  <a16:creationId xmlns:a16="http://schemas.microsoft.com/office/drawing/2014/main" id="{AE3C87B7-D4FD-2B60-D86E-6DE6707625F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19941" y="1442688"/>
              <a:ext cx="189413" cy="189413"/>
            </a:xfrm>
            <a:prstGeom prst="rect">
              <a:avLst/>
            </a:prstGeom>
          </p:spPr>
        </p:pic>
      </p:grpSp>
      <p:sp>
        <p:nvSpPr>
          <p:cNvPr id="116" name="TextBox 115">
            <a:extLst>
              <a:ext uri="{FF2B5EF4-FFF2-40B4-BE49-F238E27FC236}">
                <a16:creationId xmlns:a16="http://schemas.microsoft.com/office/drawing/2014/main" id="{1DFB74BA-6FFC-54D9-CF08-F204D9C64E55}"/>
              </a:ext>
            </a:extLst>
          </p:cNvPr>
          <p:cNvSpPr txBox="1"/>
          <p:nvPr/>
        </p:nvSpPr>
        <p:spPr>
          <a:xfrm>
            <a:off x="8834280" y="5509485"/>
            <a:ext cx="955904" cy="45704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u="none" strike="noStrike" kern="1200" cap="none" spc="0" normalizeH="0" baseline="0">
                <a:ln>
                  <a:noFill/>
                </a:ln>
                <a:solidFill>
                  <a:schemeClr val="bg1"/>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Reuser</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u="none" strike="noStrike" kern="1200" cap="none" spc="0" normalizeH="0" baseline="0">
                <a:ln>
                  <a:noFill/>
                </a:ln>
                <a:solidFill>
                  <a:schemeClr val="bg1"/>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Remanufacturer</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u="none" strike="noStrike" kern="1200" cap="none" spc="0" normalizeH="0" baseline="0">
                <a:ln>
                  <a:noFill/>
                </a:ln>
                <a:solidFill>
                  <a:schemeClr val="bg1"/>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Repurposer</a:t>
            </a:r>
          </a:p>
        </p:txBody>
      </p:sp>
      <p:sp>
        <p:nvSpPr>
          <p:cNvPr id="133" name="TextBox 132">
            <a:extLst>
              <a:ext uri="{FF2B5EF4-FFF2-40B4-BE49-F238E27FC236}">
                <a16:creationId xmlns:a16="http://schemas.microsoft.com/office/drawing/2014/main" id="{BEA47B49-FDF3-3DC5-8891-F596AC9B73DB}"/>
              </a:ext>
            </a:extLst>
          </p:cNvPr>
          <p:cNvSpPr txBox="1"/>
          <p:nvPr/>
        </p:nvSpPr>
        <p:spPr>
          <a:xfrm>
            <a:off x="1634614" y="5151696"/>
            <a:ext cx="2285705"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chemeClr val="accent1"/>
                </a:solidFill>
                <a:effectLst/>
                <a:uLnTx/>
                <a:uFillTx/>
                <a:latin typeface="Arial" panose="020B0604020202020204"/>
                <a:ea typeface="+mn-ea"/>
                <a:cs typeface="Arial"/>
                <a:sym typeface="Arial"/>
              </a:rPr>
              <a:t>Data Collection </a:t>
            </a:r>
            <a:endParaRPr kumimoji="0" lang="en-GB" sz="1800" b="0" i="0" u="none" strike="noStrike" kern="1200" cap="none" spc="0" normalizeH="0" baseline="0" noProof="0">
              <a:ln>
                <a:noFill/>
              </a:ln>
              <a:solidFill>
                <a:schemeClr val="accent1"/>
              </a:solidFill>
              <a:effectLst/>
              <a:uLnTx/>
              <a:uFillTx/>
              <a:latin typeface="Arial" panose="020B0604020202020204"/>
              <a:ea typeface="+mn-ea"/>
              <a:cs typeface="Arial"/>
              <a:sym typeface="Arial"/>
            </a:endParaRPr>
          </a:p>
        </p:txBody>
      </p:sp>
      <p:pic>
        <p:nvPicPr>
          <p:cNvPr id="3" name="Graphic 2">
            <a:extLst>
              <a:ext uri="{FF2B5EF4-FFF2-40B4-BE49-F238E27FC236}">
                <a16:creationId xmlns:a16="http://schemas.microsoft.com/office/drawing/2014/main" id="{5E3F7EE5-132E-8D60-327B-C775CD2D304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45785" y="4862144"/>
            <a:ext cx="856102" cy="856102"/>
          </a:xfrm>
          <a:prstGeom prst="rect">
            <a:avLst/>
          </a:prstGeom>
        </p:spPr>
      </p:pic>
      <p:grpSp>
        <p:nvGrpSpPr>
          <p:cNvPr id="6" name="Group 5">
            <a:extLst>
              <a:ext uri="{FF2B5EF4-FFF2-40B4-BE49-F238E27FC236}">
                <a16:creationId xmlns:a16="http://schemas.microsoft.com/office/drawing/2014/main" id="{3A36976B-F0F6-6AD3-7FA7-AA0F6ADBC3B2}"/>
              </a:ext>
            </a:extLst>
          </p:cNvPr>
          <p:cNvGrpSpPr/>
          <p:nvPr/>
        </p:nvGrpSpPr>
        <p:grpSpPr>
          <a:xfrm>
            <a:off x="8977745" y="875116"/>
            <a:ext cx="676521" cy="806861"/>
            <a:chOff x="8977745" y="875116"/>
            <a:chExt cx="676521" cy="806861"/>
          </a:xfrm>
        </p:grpSpPr>
        <p:sp>
          <p:nvSpPr>
            <p:cNvPr id="9" name="Rectangle: Rounded Corners 33">
              <a:extLst>
                <a:ext uri="{FF2B5EF4-FFF2-40B4-BE49-F238E27FC236}">
                  <a16:creationId xmlns:a16="http://schemas.microsoft.com/office/drawing/2014/main" id="{81CACAC0-C9D9-448C-3DA4-FC951FEFE3BA}"/>
                </a:ext>
              </a:extLst>
            </p:cNvPr>
            <p:cNvSpPr/>
            <p:nvPr/>
          </p:nvSpPr>
          <p:spPr>
            <a:xfrm>
              <a:off x="9000694" y="927856"/>
              <a:ext cx="623077" cy="754121"/>
            </a:xfrm>
            <a:prstGeom prst="roundRect">
              <a:avLst>
                <a:gd name="adj" fmla="val 5786"/>
              </a:avLst>
            </a:prstGeom>
            <a:solidFill>
              <a:schemeClr val="bg1">
                <a:lumMod val="95000"/>
              </a:schemeClr>
            </a:solidFill>
            <a:ln w="63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sp>
          <p:nvSpPr>
            <p:cNvPr id="10" name="Forma libre 156">
              <a:extLst>
                <a:ext uri="{FF2B5EF4-FFF2-40B4-BE49-F238E27FC236}">
                  <a16:creationId xmlns:a16="http://schemas.microsoft.com/office/drawing/2014/main" id="{24EFF17B-EDF5-F994-97D4-20B349619C8C}"/>
                </a:ext>
              </a:extLst>
            </p:cNvPr>
            <p:cNvSpPr/>
            <p:nvPr/>
          </p:nvSpPr>
          <p:spPr>
            <a:xfrm>
              <a:off x="9035967" y="952169"/>
              <a:ext cx="26432" cy="34246"/>
            </a:xfrm>
            <a:custGeom>
              <a:avLst/>
              <a:gdLst>
                <a:gd name="connsiteX0" fmla="*/ 35201 w 70401"/>
                <a:gd name="connsiteY0" fmla="*/ 95138 h 95138"/>
                <a:gd name="connsiteX1" fmla="*/ 70402 w 70401"/>
                <a:gd name="connsiteY1" fmla="*/ 0 h 95138"/>
                <a:gd name="connsiteX2" fmla="*/ 0 w 70401"/>
                <a:gd name="connsiteY2" fmla="*/ 0 h 95138"/>
                <a:gd name="connsiteX3" fmla="*/ 35201 w 70401"/>
                <a:gd name="connsiteY3" fmla="*/ 95138 h 95138"/>
              </a:gdLst>
              <a:ahLst/>
              <a:cxnLst>
                <a:cxn ang="0">
                  <a:pos x="connsiteX0" y="connsiteY0"/>
                </a:cxn>
                <a:cxn ang="0">
                  <a:pos x="connsiteX1" y="connsiteY1"/>
                </a:cxn>
                <a:cxn ang="0">
                  <a:pos x="connsiteX2" y="connsiteY2"/>
                </a:cxn>
                <a:cxn ang="0">
                  <a:pos x="connsiteX3" y="connsiteY3"/>
                </a:cxn>
              </a:cxnLst>
              <a:rect l="l" t="t" r="r" b="b"/>
              <a:pathLst>
                <a:path w="70401" h="95138">
                  <a:moveTo>
                    <a:pt x="35201" y="95138"/>
                  </a:moveTo>
                  <a:cubicBezTo>
                    <a:pt x="48826" y="95138"/>
                    <a:pt x="67989" y="58294"/>
                    <a:pt x="70402" y="0"/>
                  </a:cubicBezTo>
                  <a:lnTo>
                    <a:pt x="0" y="0"/>
                  </a:lnTo>
                  <a:cubicBezTo>
                    <a:pt x="2413" y="58294"/>
                    <a:pt x="21576" y="95138"/>
                    <a:pt x="35201" y="95138"/>
                  </a:cubicBezTo>
                  <a:close/>
                </a:path>
              </a:pathLst>
            </a:custGeom>
            <a:solidFill>
              <a:schemeClr val="accent1"/>
            </a:solid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1" name="Forma libre 157">
              <a:extLst>
                <a:ext uri="{FF2B5EF4-FFF2-40B4-BE49-F238E27FC236}">
                  <a16:creationId xmlns:a16="http://schemas.microsoft.com/office/drawing/2014/main" id="{5059DE5A-4DDE-99D6-96CE-801C013D5EFD}"/>
                </a:ext>
              </a:extLst>
            </p:cNvPr>
            <p:cNvSpPr/>
            <p:nvPr/>
          </p:nvSpPr>
          <p:spPr>
            <a:xfrm>
              <a:off x="9009450" y="912168"/>
              <a:ext cx="24866" cy="31440"/>
            </a:xfrm>
            <a:custGeom>
              <a:avLst/>
              <a:gdLst>
                <a:gd name="connsiteX0" fmla="*/ 0 w 66231"/>
                <a:gd name="connsiteY0" fmla="*/ 87344 h 87343"/>
                <a:gd name="connsiteX1" fmla="*/ 46611 w 66231"/>
                <a:gd name="connsiteY1" fmla="*/ 87344 h 87343"/>
                <a:gd name="connsiteX2" fmla="*/ 66232 w 66231"/>
                <a:gd name="connsiteY2" fmla="*/ 0 h 87343"/>
                <a:gd name="connsiteX3" fmla="*/ 0 w 66231"/>
                <a:gd name="connsiteY3" fmla="*/ 87344 h 87343"/>
              </a:gdLst>
              <a:ahLst/>
              <a:cxnLst>
                <a:cxn ang="0">
                  <a:pos x="connsiteX0" y="connsiteY0"/>
                </a:cxn>
                <a:cxn ang="0">
                  <a:pos x="connsiteX1" y="connsiteY1"/>
                </a:cxn>
                <a:cxn ang="0">
                  <a:pos x="connsiteX2" y="connsiteY2"/>
                </a:cxn>
                <a:cxn ang="0">
                  <a:pos x="connsiteX3" y="connsiteY3"/>
                </a:cxn>
              </a:cxnLst>
              <a:rect l="l" t="t" r="r" b="b"/>
              <a:pathLst>
                <a:path w="66231" h="87343">
                  <a:moveTo>
                    <a:pt x="0" y="87344"/>
                  </a:moveTo>
                  <a:lnTo>
                    <a:pt x="46611" y="87344"/>
                  </a:lnTo>
                  <a:cubicBezTo>
                    <a:pt x="47927" y="54949"/>
                    <a:pt x="54618" y="22733"/>
                    <a:pt x="66232" y="0"/>
                  </a:cubicBezTo>
                  <a:cubicBezTo>
                    <a:pt x="30367" y="14363"/>
                    <a:pt x="4473" y="47583"/>
                    <a:pt x="0" y="87344"/>
                  </a:cubicBezTo>
                  <a:close/>
                </a:path>
              </a:pathLst>
            </a:custGeom>
            <a:solidFill>
              <a:schemeClr val="accent1"/>
            </a:solid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2" name="Forma libre 158">
              <a:extLst>
                <a:ext uri="{FF2B5EF4-FFF2-40B4-BE49-F238E27FC236}">
                  <a16:creationId xmlns:a16="http://schemas.microsoft.com/office/drawing/2014/main" id="{AF7697BC-5230-7D22-2CB8-78290FE33A2A}"/>
                </a:ext>
              </a:extLst>
            </p:cNvPr>
            <p:cNvSpPr/>
            <p:nvPr/>
          </p:nvSpPr>
          <p:spPr>
            <a:xfrm>
              <a:off x="9064049" y="912168"/>
              <a:ext cx="24866" cy="31440"/>
            </a:xfrm>
            <a:custGeom>
              <a:avLst/>
              <a:gdLst>
                <a:gd name="connsiteX0" fmla="*/ 66232 w 66231"/>
                <a:gd name="connsiteY0" fmla="*/ 87344 h 87343"/>
                <a:gd name="connsiteX1" fmla="*/ 0 w 66231"/>
                <a:gd name="connsiteY1" fmla="*/ 0 h 87343"/>
                <a:gd name="connsiteX2" fmla="*/ 19621 w 66231"/>
                <a:gd name="connsiteY2" fmla="*/ 87344 h 87343"/>
                <a:gd name="connsiteX3" fmla="*/ 66232 w 66231"/>
                <a:gd name="connsiteY3" fmla="*/ 87344 h 87343"/>
              </a:gdLst>
              <a:ahLst/>
              <a:cxnLst>
                <a:cxn ang="0">
                  <a:pos x="connsiteX0" y="connsiteY0"/>
                </a:cxn>
                <a:cxn ang="0">
                  <a:pos x="connsiteX1" y="connsiteY1"/>
                </a:cxn>
                <a:cxn ang="0">
                  <a:pos x="connsiteX2" y="connsiteY2"/>
                </a:cxn>
                <a:cxn ang="0">
                  <a:pos x="connsiteX3" y="connsiteY3"/>
                </a:cxn>
              </a:cxnLst>
              <a:rect l="l" t="t" r="r" b="b"/>
              <a:pathLst>
                <a:path w="66231" h="87343">
                  <a:moveTo>
                    <a:pt x="66232" y="87344"/>
                  </a:moveTo>
                  <a:cubicBezTo>
                    <a:pt x="61759" y="47583"/>
                    <a:pt x="35865" y="14364"/>
                    <a:pt x="0" y="0"/>
                  </a:cubicBezTo>
                  <a:cubicBezTo>
                    <a:pt x="11614" y="22734"/>
                    <a:pt x="18304" y="54949"/>
                    <a:pt x="19621" y="87344"/>
                  </a:cubicBezTo>
                  <a:lnTo>
                    <a:pt x="66232" y="87344"/>
                  </a:lnTo>
                  <a:close/>
                </a:path>
              </a:pathLst>
            </a:custGeom>
            <a:solidFill>
              <a:schemeClr val="accent1"/>
            </a:solid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26" name="Forma libre 159">
              <a:extLst>
                <a:ext uri="{FF2B5EF4-FFF2-40B4-BE49-F238E27FC236}">
                  <a16:creationId xmlns:a16="http://schemas.microsoft.com/office/drawing/2014/main" id="{F18D985F-3303-A475-AF02-E0CE6BA959A5}"/>
                </a:ext>
              </a:extLst>
            </p:cNvPr>
            <p:cNvSpPr/>
            <p:nvPr/>
          </p:nvSpPr>
          <p:spPr>
            <a:xfrm>
              <a:off x="9035967" y="909362"/>
              <a:ext cx="26432" cy="34246"/>
            </a:xfrm>
            <a:custGeom>
              <a:avLst/>
              <a:gdLst>
                <a:gd name="connsiteX0" fmla="*/ 35201 w 70401"/>
                <a:gd name="connsiteY0" fmla="*/ 0 h 95138"/>
                <a:gd name="connsiteX1" fmla="*/ 0 w 70401"/>
                <a:gd name="connsiteY1" fmla="*/ 95138 h 95138"/>
                <a:gd name="connsiteX2" fmla="*/ 70402 w 70401"/>
                <a:gd name="connsiteY2" fmla="*/ 95138 h 95138"/>
                <a:gd name="connsiteX3" fmla="*/ 35201 w 70401"/>
                <a:gd name="connsiteY3" fmla="*/ 0 h 95138"/>
              </a:gdLst>
              <a:ahLst/>
              <a:cxnLst>
                <a:cxn ang="0">
                  <a:pos x="connsiteX0" y="connsiteY0"/>
                </a:cxn>
                <a:cxn ang="0">
                  <a:pos x="connsiteX1" y="connsiteY1"/>
                </a:cxn>
                <a:cxn ang="0">
                  <a:pos x="connsiteX2" y="connsiteY2"/>
                </a:cxn>
                <a:cxn ang="0">
                  <a:pos x="connsiteX3" y="connsiteY3"/>
                </a:cxn>
              </a:cxnLst>
              <a:rect l="l" t="t" r="r" b="b"/>
              <a:pathLst>
                <a:path w="70401" h="95138">
                  <a:moveTo>
                    <a:pt x="35201" y="0"/>
                  </a:moveTo>
                  <a:cubicBezTo>
                    <a:pt x="21576" y="0"/>
                    <a:pt x="2413" y="36844"/>
                    <a:pt x="0" y="95138"/>
                  </a:cubicBezTo>
                  <a:lnTo>
                    <a:pt x="70402" y="95138"/>
                  </a:lnTo>
                  <a:cubicBezTo>
                    <a:pt x="67989" y="36844"/>
                    <a:pt x="48826" y="0"/>
                    <a:pt x="35201" y="0"/>
                  </a:cubicBezTo>
                  <a:close/>
                </a:path>
              </a:pathLst>
            </a:custGeom>
            <a:solidFill>
              <a:schemeClr val="accent1"/>
            </a:solid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27" name="Forma libre 161">
              <a:extLst>
                <a:ext uri="{FF2B5EF4-FFF2-40B4-BE49-F238E27FC236}">
                  <a16:creationId xmlns:a16="http://schemas.microsoft.com/office/drawing/2014/main" id="{728F25AB-DCA8-F97C-946A-D511E0A6393A}"/>
                </a:ext>
              </a:extLst>
            </p:cNvPr>
            <p:cNvSpPr/>
            <p:nvPr/>
          </p:nvSpPr>
          <p:spPr>
            <a:xfrm>
              <a:off x="9009450" y="952169"/>
              <a:ext cx="24866" cy="31440"/>
            </a:xfrm>
            <a:custGeom>
              <a:avLst/>
              <a:gdLst>
                <a:gd name="connsiteX0" fmla="*/ 0 w 66231"/>
                <a:gd name="connsiteY0" fmla="*/ 0 h 87343"/>
                <a:gd name="connsiteX1" fmla="*/ 66232 w 66231"/>
                <a:gd name="connsiteY1" fmla="*/ 87344 h 87343"/>
                <a:gd name="connsiteX2" fmla="*/ 46611 w 66231"/>
                <a:gd name="connsiteY2" fmla="*/ 0 h 87343"/>
                <a:gd name="connsiteX3" fmla="*/ 0 w 66231"/>
                <a:gd name="connsiteY3" fmla="*/ 0 h 87343"/>
              </a:gdLst>
              <a:ahLst/>
              <a:cxnLst>
                <a:cxn ang="0">
                  <a:pos x="connsiteX0" y="connsiteY0"/>
                </a:cxn>
                <a:cxn ang="0">
                  <a:pos x="connsiteX1" y="connsiteY1"/>
                </a:cxn>
                <a:cxn ang="0">
                  <a:pos x="connsiteX2" y="connsiteY2"/>
                </a:cxn>
                <a:cxn ang="0">
                  <a:pos x="connsiteX3" y="connsiteY3"/>
                </a:cxn>
              </a:cxnLst>
              <a:rect l="l" t="t" r="r" b="b"/>
              <a:pathLst>
                <a:path w="66231" h="87343">
                  <a:moveTo>
                    <a:pt x="0" y="0"/>
                  </a:moveTo>
                  <a:cubicBezTo>
                    <a:pt x="4473" y="39761"/>
                    <a:pt x="30367" y="72979"/>
                    <a:pt x="66232" y="87344"/>
                  </a:cubicBezTo>
                  <a:cubicBezTo>
                    <a:pt x="54618" y="64610"/>
                    <a:pt x="47927" y="32395"/>
                    <a:pt x="46611" y="0"/>
                  </a:cubicBezTo>
                  <a:lnTo>
                    <a:pt x="0" y="0"/>
                  </a:lnTo>
                  <a:close/>
                </a:path>
              </a:pathLst>
            </a:custGeom>
            <a:solidFill>
              <a:schemeClr val="accent1"/>
            </a:solid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28" name="Forma libre 162">
              <a:extLst>
                <a:ext uri="{FF2B5EF4-FFF2-40B4-BE49-F238E27FC236}">
                  <a16:creationId xmlns:a16="http://schemas.microsoft.com/office/drawing/2014/main" id="{8A1AC45F-2B8D-4CAD-ADEC-5C0FBE665978}"/>
                </a:ext>
              </a:extLst>
            </p:cNvPr>
            <p:cNvSpPr/>
            <p:nvPr/>
          </p:nvSpPr>
          <p:spPr>
            <a:xfrm>
              <a:off x="9064049" y="952169"/>
              <a:ext cx="24866" cy="31440"/>
            </a:xfrm>
            <a:custGeom>
              <a:avLst/>
              <a:gdLst>
                <a:gd name="connsiteX0" fmla="*/ 0 w 66231"/>
                <a:gd name="connsiteY0" fmla="*/ 87344 h 87343"/>
                <a:gd name="connsiteX1" fmla="*/ 66232 w 66231"/>
                <a:gd name="connsiteY1" fmla="*/ 0 h 87343"/>
                <a:gd name="connsiteX2" fmla="*/ 19621 w 66231"/>
                <a:gd name="connsiteY2" fmla="*/ 0 h 87343"/>
                <a:gd name="connsiteX3" fmla="*/ 0 w 66231"/>
                <a:gd name="connsiteY3" fmla="*/ 87344 h 87343"/>
              </a:gdLst>
              <a:ahLst/>
              <a:cxnLst>
                <a:cxn ang="0">
                  <a:pos x="connsiteX0" y="connsiteY0"/>
                </a:cxn>
                <a:cxn ang="0">
                  <a:pos x="connsiteX1" y="connsiteY1"/>
                </a:cxn>
                <a:cxn ang="0">
                  <a:pos x="connsiteX2" y="connsiteY2"/>
                </a:cxn>
                <a:cxn ang="0">
                  <a:pos x="connsiteX3" y="connsiteY3"/>
                </a:cxn>
              </a:cxnLst>
              <a:rect l="l" t="t" r="r" b="b"/>
              <a:pathLst>
                <a:path w="66231" h="87343">
                  <a:moveTo>
                    <a:pt x="0" y="87344"/>
                  </a:moveTo>
                  <a:cubicBezTo>
                    <a:pt x="35865" y="72979"/>
                    <a:pt x="61760" y="39760"/>
                    <a:pt x="66232" y="0"/>
                  </a:cubicBezTo>
                  <a:lnTo>
                    <a:pt x="19621" y="0"/>
                  </a:lnTo>
                  <a:cubicBezTo>
                    <a:pt x="18304" y="32395"/>
                    <a:pt x="11613" y="64611"/>
                    <a:pt x="0" y="87344"/>
                  </a:cubicBezTo>
                  <a:close/>
                </a:path>
              </a:pathLst>
            </a:custGeom>
            <a:solidFill>
              <a:schemeClr val="accent1"/>
            </a:solid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86" name="Gráfico 53">
              <a:extLst>
                <a:ext uri="{FF2B5EF4-FFF2-40B4-BE49-F238E27FC236}">
                  <a16:creationId xmlns:a16="http://schemas.microsoft.com/office/drawing/2014/main" id="{0E1DFA9B-26B3-D9B7-4B57-5329EDD80430}"/>
                </a:ext>
              </a:extLst>
            </p:cNvPr>
            <p:cNvSpPr/>
            <p:nvPr/>
          </p:nvSpPr>
          <p:spPr>
            <a:xfrm>
              <a:off x="9096844" y="1007674"/>
              <a:ext cx="55474" cy="70915"/>
            </a:xfrm>
            <a:custGeom>
              <a:avLst/>
              <a:gdLst>
                <a:gd name="connsiteX0" fmla="*/ 392446 w 428123"/>
                <a:gd name="connsiteY0" fmla="*/ 71354 h 570831"/>
                <a:gd name="connsiteX1" fmla="*/ 321092 w 428123"/>
                <a:gd name="connsiteY1" fmla="*/ 71354 h 570831"/>
                <a:gd name="connsiteX2" fmla="*/ 321092 w 428123"/>
                <a:gd name="connsiteY2" fmla="*/ 0 h 570831"/>
                <a:gd name="connsiteX3" fmla="*/ 107031 w 428123"/>
                <a:gd name="connsiteY3" fmla="*/ 0 h 570831"/>
                <a:gd name="connsiteX4" fmla="*/ 107031 w 428123"/>
                <a:gd name="connsiteY4" fmla="*/ 71354 h 570831"/>
                <a:gd name="connsiteX5" fmla="*/ 35677 w 428123"/>
                <a:gd name="connsiteY5" fmla="*/ 71354 h 570831"/>
                <a:gd name="connsiteX6" fmla="*/ 0 w 428123"/>
                <a:gd name="connsiteY6" fmla="*/ 107031 h 570831"/>
                <a:gd name="connsiteX7" fmla="*/ 0 w 428123"/>
                <a:gd name="connsiteY7" fmla="*/ 535154 h 570831"/>
                <a:gd name="connsiteX8" fmla="*/ 35677 w 428123"/>
                <a:gd name="connsiteY8" fmla="*/ 570831 h 570831"/>
                <a:gd name="connsiteX9" fmla="*/ 392446 w 428123"/>
                <a:gd name="connsiteY9" fmla="*/ 570831 h 570831"/>
                <a:gd name="connsiteX10" fmla="*/ 428123 w 428123"/>
                <a:gd name="connsiteY10" fmla="*/ 535154 h 570831"/>
                <a:gd name="connsiteX11" fmla="*/ 428123 w 428123"/>
                <a:gd name="connsiteY11" fmla="*/ 107031 h 570831"/>
                <a:gd name="connsiteX12" fmla="*/ 392446 w 428123"/>
                <a:gd name="connsiteY12" fmla="*/ 71354 h 570831"/>
                <a:gd name="connsiteX13" fmla="*/ 214062 w 428123"/>
                <a:gd name="connsiteY13" fmla="*/ 499477 h 570831"/>
                <a:gd name="connsiteX14" fmla="*/ 196223 w 428123"/>
                <a:gd name="connsiteY14" fmla="*/ 356769 h 570831"/>
                <a:gd name="connsiteX15" fmla="*/ 124869 w 428123"/>
                <a:gd name="connsiteY15" fmla="*/ 356769 h 570831"/>
                <a:gd name="connsiteX16" fmla="*/ 214062 w 428123"/>
                <a:gd name="connsiteY16" fmla="*/ 142708 h 570831"/>
                <a:gd name="connsiteX17" fmla="*/ 231900 w 428123"/>
                <a:gd name="connsiteY17" fmla="*/ 285416 h 570831"/>
                <a:gd name="connsiteX18" fmla="*/ 303253 w 428123"/>
                <a:gd name="connsiteY18" fmla="*/ 285416 h 570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8123" h="570831">
                  <a:moveTo>
                    <a:pt x="392446" y="71354"/>
                  </a:moveTo>
                  <a:lnTo>
                    <a:pt x="321092" y="71354"/>
                  </a:lnTo>
                  <a:lnTo>
                    <a:pt x="321092" y="0"/>
                  </a:lnTo>
                  <a:lnTo>
                    <a:pt x="107031" y="0"/>
                  </a:lnTo>
                  <a:lnTo>
                    <a:pt x="107031" y="71354"/>
                  </a:lnTo>
                  <a:lnTo>
                    <a:pt x="35677" y="71354"/>
                  </a:lnTo>
                  <a:cubicBezTo>
                    <a:pt x="15974" y="71354"/>
                    <a:pt x="0" y="87328"/>
                    <a:pt x="0" y="107031"/>
                  </a:cubicBezTo>
                  <a:lnTo>
                    <a:pt x="0" y="535154"/>
                  </a:lnTo>
                  <a:cubicBezTo>
                    <a:pt x="0" y="554857"/>
                    <a:pt x="15974" y="570831"/>
                    <a:pt x="35677" y="570831"/>
                  </a:cubicBezTo>
                  <a:lnTo>
                    <a:pt x="392446" y="570831"/>
                  </a:lnTo>
                  <a:cubicBezTo>
                    <a:pt x="412149" y="570831"/>
                    <a:pt x="428123" y="554857"/>
                    <a:pt x="428123" y="535154"/>
                  </a:cubicBezTo>
                  <a:lnTo>
                    <a:pt x="428123" y="107031"/>
                  </a:lnTo>
                  <a:cubicBezTo>
                    <a:pt x="428123" y="87328"/>
                    <a:pt x="412148" y="71354"/>
                    <a:pt x="392446" y="71354"/>
                  </a:cubicBezTo>
                  <a:close/>
                  <a:moveTo>
                    <a:pt x="214062" y="499477"/>
                  </a:moveTo>
                  <a:lnTo>
                    <a:pt x="196223" y="356769"/>
                  </a:lnTo>
                  <a:lnTo>
                    <a:pt x="124869" y="356769"/>
                  </a:lnTo>
                  <a:lnTo>
                    <a:pt x="214062" y="142708"/>
                  </a:lnTo>
                  <a:lnTo>
                    <a:pt x="231900" y="285416"/>
                  </a:lnTo>
                  <a:lnTo>
                    <a:pt x="303253" y="285416"/>
                  </a:lnTo>
                  <a:close/>
                </a:path>
              </a:pathLst>
            </a:custGeom>
            <a:solidFill>
              <a:schemeClr val="accent1"/>
            </a:solidFill>
            <a:ln w="10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88" name="Rectangle: Rounded Corners 42">
              <a:extLst>
                <a:ext uri="{FF2B5EF4-FFF2-40B4-BE49-F238E27FC236}">
                  <a16:creationId xmlns:a16="http://schemas.microsoft.com/office/drawing/2014/main" id="{0F283962-199F-DEE3-E5F8-5B5FB13E0B1A}"/>
                </a:ext>
              </a:extLst>
            </p:cNvPr>
            <p:cNvSpPr/>
            <p:nvPr/>
          </p:nvSpPr>
          <p:spPr>
            <a:xfrm>
              <a:off x="9231555" y="1110423"/>
              <a:ext cx="349890" cy="6003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sp>
          <p:nvSpPr>
            <p:cNvPr id="89" name="Rectangle: Rounded Corners 43">
              <a:extLst>
                <a:ext uri="{FF2B5EF4-FFF2-40B4-BE49-F238E27FC236}">
                  <a16:creationId xmlns:a16="http://schemas.microsoft.com/office/drawing/2014/main" id="{9E910ECE-87CA-21ED-BE20-22094D65142D}"/>
                </a:ext>
              </a:extLst>
            </p:cNvPr>
            <p:cNvSpPr/>
            <p:nvPr/>
          </p:nvSpPr>
          <p:spPr>
            <a:xfrm>
              <a:off x="9037320" y="1106219"/>
              <a:ext cx="174289" cy="21917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sp>
          <p:nvSpPr>
            <p:cNvPr id="90" name="Rectangle: Rounded Corners 44">
              <a:extLst>
                <a:ext uri="{FF2B5EF4-FFF2-40B4-BE49-F238E27FC236}">
                  <a16:creationId xmlns:a16="http://schemas.microsoft.com/office/drawing/2014/main" id="{5C270544-885A-D6EB-1B84-E2B9735564EF}"/>
                </a:ext>
              </a:extLst>
            </p:cNvPr>
            <p:cNvSpPr/>
            <p:nvPr/>
          </p:nvSpPr>
          <p:spPr>
            <a:xfrm>
              <a:off x="9041089" y="1353023"/>
              <a:ext cx="176551" cy="12691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sp>
          <p:nvSpPr>
            <p:cNvPr id="91" name="Rectangle: Rounded Corners 45">
              <a:extLst>
                <a:ext uri="{FF2B5EF4-FFF2-40B4-BE49-F238E27FC236}">
                  <a16:creationId xmlns:a16="http://schemas.microsoft.com/office/drawing/2014/main" id="{326A7B5F-79C5-EB8A-3A8B-58C4C6071619}"/>
                </a:ext>
              </a:extLst>
            </p:cNvPr>
            <p:cNvSpPr/>
            <p:nvPr/>
          </p:nvSpPr>
          <p:spPr>
            <a:xfrm>
              <a:off x="9231555" y="1186476"/>
              <a:ext cx="349890" cy="6003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sp>
          <p:nvSpPr>
            <p:cNvPr id="94" name="Forma libre 160">
              <a:extLst>
                <a:ext uri="{FF2B5EF4-FFF2-40B4-BE49-F238E27FC236}">
                  <a16:creationId xmlns:a16="http://schemas.microsoft.com/office/drawing/2014/main" id="{C93A1FB7-D308-7DC5-A085-6AA49563C74D}"/>
                </a:ext>
              </a:extLst>
            </p:cNvPr>
            <p:cNvSpPr/>
            <p:nvPr/>
          </p:nvSpPr>
          <p:spPr>
            <a:xfrm>
              <a:off x="8977745" y="875116"/>
              <a:ext cx="142874" cy="179791"/>
            </a:xfrm>
            <a:custGeom>
              <a:avLst/>
              <a:gdLst>
                <a:gd name="connsiteX0" fmla="*/ 285416 w 380553"/>
                <a:gd name="connsiteY0" fmla="*/ 440016 h 499477"/>
                <a:gd name="connsiteX1" fmla="*/ 371042 w 380553"/>
                <a:gd name="connsiteY1" fmla="*/ 335145 h 499477"/>
                <a:gd name="connsiteX2" fmla="*/ 380554 w 380553"/>
                <a:gd name="connsiteY2" fmla="*/ 323496 h 499477"/>
                <a:gd name="connsiteX3" fmla="*/ 380554 w 380553"/>
                <a:gd name="connsiteY3" fmla="*/ 47570 h 499477"/>
                <a:gd name="connsiteX4" fmla="*/ 332985 w 380553"/>
                <a:gd name="connsiteY4" fmla="*/ 0 h 499477"/>
                <a:gd name="connsiteX5" fmla="*/ 47570 w 380553"/>
                <a:gd name="connsiteY5" fmla="*/ 0 h 499477"/>
                <a:gd name="connsiteX6" fmla="*/ 0 w 380553"/>
                <a:gd name="connsiteY6" fmla="*/ 47570 h 499477"/>
                <a:gd name="connsiteX7" fmla="*/ 0 w 380553"/>
                <a:gd name="connsiteY7" fmla="*/ 451909 h 499477"/>
                <a:gd name="connsiteX8" fmla="*/ 47570 w 380553"/>
                <a:gd name="connsiteY8" fmla="*/ 499477 h 499477"/>
                <a:gd name="connsiteX9" fmla="*/ 283604 w 380553"/>
                <a:gd name="connsiteY9" fmla="*/ 499477 h 499477"/>
                <a:gd name="connsiteX10" fmla="*/ 293557 w 380553"/>
                <a:gd name="connsiteY10" fmla="*/ 494089 h 499477"/>
                <a:gd name="connsiteX11" fmla="*/ 294498 w 380553"/>
                <a:gd name="connsiteY11" fmla="*/ 482800 h 499477"/>
                <a:gd name="connsiteX12" fmla="*/ 285416 w 380553"/>
                <a:gd name="connsiteY12" fmla="*/ 440016 h 499477"/>
                <a:gd name="connsiteX13" fmla="*/ 225954 w 380553"/>
                <a:gd name="connsiteY13" fmla="*/ 428123 h 499477"/>
                <a:gd name="connsiteX14" fmla="*/ 154600 w 380553"/>
                <a:gd name="connsiteY14" fmla="*/ 428123 h 499477"/>
                <a:gd name="connsiteX15" fmla="*/ 142708 w 380553"/>
                <a:gd name="connsiteY15" fmla="*/ 416231 h 499477"/>
                <a:gd name="connsiteX16" fmla="*/ 154600 w 380553"/>
                <a:gd name="connsiteY16" fmla="*/ 404338 h 499477"/>
                <a:gd name="connsiteX17" fmla="*/ 225954 w 380553"/>
                <a:gd name="connsiteY17" fmla="*/ 404338 h 499477"/>
                <a:gd name="connsiteX18" fmla="*/ 237847 w 380553"/>
                <a:gd name="connsiteY18" fmla="*/ 416231 h 499477"/>
                <a:gd name="connsiteX19" fmla="*/ 225954 w 380553"/>
                <a:gd name="connsiteY19" fmla="*/ 428123 h 499477"/>
                <a:gd name="connsiteX20" fmla="*/ 261631 w 380553"/>
                <a:gd name="connsiteY20" fmla="*/ 380554 h 499477"/>
                <a:gd name="connsiteX21" fmla="*/ 83247 w 380553"/>
                <a:gd name="connsiteY21" fmla="*/ 380554 h 499477"/>
                <a:gd name="connsiteX22" fmla="*/ 71354 w 380553"/>
                <a:gd name="connsiteY22" fmla="*/ 368661 h 499477"/>
                <a:gd name="connsiteX23" fmla="*/ 83247 w 380553"/>
                <a:gd name="connsiteY23" fmla="*/ 356769 h 499477"/>
                <a:gd name="connsiteX24" fmla="*/ 261631 w 380553"/>
                <a:gd name="connsiteY24" fmla="*/ 356769 h 499477"/>
                <a:gd name="connsiteX25" fmla="*/ 273524 w 380553"/>
                <a:gd name="connsiteY25" fmla="*/ 368662 h 499477"/>
                <a:gd name="connsiteX26" fmla="*/ 261631 w 380553"/>
                <a:gd name="connsiteY26" fmla="*/ 380554 h 499477"/>
                <a:gd name="connsiteX27" fmla="*/ 190277 w 380553"/>
                <a:gd name="connsiteY27" fmla="*/ 332985 h 499477"/>
                <a:gd name="connsiteX28" fmla="*/ 59462 w 380553"/>
                <a:gd name="connsiteY28" fmla="*/ 202170 h 499477"/>
                <a:gd name="connsiteX29" fmla="*/ 190277 w 380553"/>
                <a:gd name="connsiteY29" fmla="*/ 71354 h 499477"/>
                <a:gd name="connsiteX30" fmla="*/ 321092 w 380553"/>
                <a:gd name="connsiteY30" fmla="*/ 202169 h 499477"/>
                <a:gd name="connsiteX31" fmla="*/ 190277 w 380553"/>
                <a:gd name="connsiteY31" fmla="*/ 332985 h 49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80553" h="499477">
                  <a:moveTo>
                    <a:pt x="285416" y="440016"/>
                  </a:moveTo>
                  <a:cubicBezTo>
                    <a:pt x="285416" y="389369"/>
                    <a:pt x="321429" y="345272"/>
                    <a:pt x="371042" y="335145"/>
                  </a:cubicBezTo>
                  <a:cubicBezTo>
                    <a:pt x="376570" y="334019"/>
                    <a:pt x="380554" y="329152"/>
                    <a:pt x="380554" y="323496"/>
                  </a:cubicBezTo>
                  <a:lnTo>
                    <a:pt x="380554" y="47570"/>
                  </a:lnTo>
                  <a:cubicBezTo>
                    <a:pt x="380555" y="21334"/>
                    <a:pt x="359220" y="0"/>
                    <a:pt x="332985" y="0"/>
                  </a:cubicBezTo>
                  <a:lnTo>
                    <a:pt x="47570" y="0"/>
                  </a:lnTo>
                  <a:cubicBezTo>
                    <a:pt x="21335" y="0"/>
                    <a:pt x="0" y="21334"/>
                    <a:pt x="0" y="47570"/>
                  </a:cubicBezTo>
                  <a:lnTo>
                    <a:pt x="0" y="451909"/>
                  </a:lnTo>
                  <a:cubicBezTo>
                    <a:pt x="0" y="478143"/>
                    <a:pt x="21335" y="499477"/>
                    <a:pt x="47570" y="499477"/>
                  </a:cubicBezTo>
                  <a:lnTo>
                    <a:pt x="283604" y="499477"/>
                  </a:lnTo>
                  <a:cubicBezTo>
                    <a:pt x="287622" y="499477"/>
                    <a:pt x="291361" y="497445"/>
                    <a:pt x="293557" y="494089"/>
                  </a:cubicBezTo>
                  <a:cubicBezTo>
                    <a:pt x="295752" y="490721"/>
                    <a:pt x="296112" y="486482"/>
                    <a:pt x="294498" y="482800"/>
                  </a:cubicBezTo>
                  <a:cubicBezTo>
                    <a:pt x="288470" y="469085"/>
                    <a:pt x="285416" y="454695"/>
                    <a:pt x="285416" y="440016"/>
                  </a:cubicBezTo>
                  <a:close/>
                  <a:moveTo>
                    <a:pt x="225954" y="428123"/>
                  </a:moveTo>
                  <a:lnTo>
                    <a:pt x="154600" y="428123"/>
                  </a:lnTo>
                  <a:cubicBezTo>
                    <a:pt x="148027" y="428123"/>
                    <a:pt x="142708" y="422804"/>
                    <a:pt x="142708" y="416231"/>
                  </a:cubicBezTo>
                  <a:cubicBezTo>
                    <a:pt x="142708" y="409657"/>
                    <a:pt x="148027" y="404338"/>
                    <a:pt x="154600" y="404338"/>
                  </a:cubicBezTo>
                  <a:lnTo>
                    <a:pt x="225954" y="404338"/>
                  </a:lnTo>
                  <a:cubicBezTo>
                    <a:pt x="232528" y="404338"/>
                    <a:pt x="237847" y="409657"/>
                    <a:pt x="237847" y="416231"/>
                  </a:cubicBezTo>
                  <a:cubicBezTo>
                    <a:pt x="237847" y="422804"/>
                    <a:pt x="232528" y="428123"/>
                    <a:pt x="225954" y="428123"/>
                  </a:cubicBezTo>
                  <a:close/>
                  <a:moveTo>
                    <a:pt x="261631" y="380554"/>
                  </a:moveTo>
                  <a:lnTo>
                    <a:pt x="83247" y="380554"/>
                  </a:lnTo>
                  <a:cubicBezTo>
                    <a:pt x="76673" y="380554"/>
                    <a:pt x="71354" y="375234"/>
                    <a:pt x="71354" y="368661"/>
                  </a:cubicBezTo>
                  <a:cubicBezTo>
                    <a:pt x="71354" y="362089"/>
                    <a:pt x="76673" y="356769"/>
                    <a:pt x="83247" y="356769"/>
                  </a:cubicBezTo>
                  <a:lnTo>
                    <a:pt x="261631" y="356769"/>
                  </a:lnTo>
                  <a:cubicBezTo>
                    <a:pt x="268205" y="356769"/>
                    <a:pt x="273524" y="362089"/>
                    <a:pt x="273524" y="368662"/>
                  </a:cubicBezTo>
                  <a:cubicBezTo>
                    <a:pt x="273524" y="375236"/>
                    <a:pt x="268205" y="380554"/>
                    <a:pt x="261631" y="380554"/>
                  </a:cubicBezTo>
                  <a:close/>
                  <a:moveTo>
                    <a:pt x="190277" y="332985"/>
                  </a:moveTo>
                  <a:cubicBezTo>
                    <a:pt x="118145" y="332985"/>
                    <a:pt x="59462" y="274302"/>
                    <a:pt x="59462" y="202170"/>
                  </a:cubicBezTo>
                  <a:cubicBezTo>
                    <a:pt x="59462" y="130038"/>
                    <a:pt x="118145" y="71354"/>
                    <a:pt x="190277" y="71354"/>
                  </a:cubicBezTo>
                  <a:cubicBezTo>
                    <a:pt x="262409" y="71354"/>
                    <a:pt x="321092" y="130037"/>
                    <a:pt x="321092" y="202169"/>
                  </a:cubicBezTo>
                  <a:cubicBezTo>
                    <a:pt x="321092" y="274301"/>
                    <a:pt x="262409" y="332985"/>
                    <a:pt x="190277" y="332985"/>
                  </a:cubicBezTo>
                  <a:close/>
                </a:path>
              </a:pathLst>
            </a:custGeom>
            <a:solidFill>
              <a:schemeClr val="accent1"/>
            </a:solid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97" name="Rectangle: Rounded Corners 46">
              <a:extLst>
                <a:ext uri="{FF2B5EF4-FFF2-40B4-BE49-F238E27FC236}">
                  <a16:creationId xmlns:a16="http://schemas.microsoft.com/office/drawing/2014/main" id="{186F2E95-53CF-6D75-570F-0BBC2D00F760}"/>
                </a:ext>
              </a:extLst>
            </p:cNvPr>
            <p:cNvSpPr/>
            <p:nvPr/>
          </p:nvSpPr>
          <p:spPr>
            <a:xfrm>
              <a:off x="9230376" y="1263639"/>
              <a:ext cx="351069" cy="6003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sp>
          <p:nvSpPr>
            <p:cNvPr id="98" name="Rectangle: Rounded Corners 47">
              <a:extLst>
                <a:ext uri="{FF2B5EF4-FFF2-40B4-BE49-F238E27FC236}">
                  <a16:creationId xmlns:a16="http://schemas.microsoft.com/office/drawing/2014/main" id="{AB67FF4F-538A-DB5C-4DF8-BB84D19C78CF}"/>
                </a:ext>
              </a:extLst>
            </p:cNvPr>
            <p:cNvSpPr/>
            <p:nvPr/>
          </p:nvSpPr>
          <p:spPr>
            <a:xfrm>
              <a:off x="9039826" y="1503756"/>
              <a:ext cx="549219" cy="12691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grpSp>
          <p:nvGrpSpPr>
            <p:cNvPr id="99" name="Gráfico 77">
              <a:extLst>
                <a:ext uri="{FF2B5EF4-FFF2-40B4-BE49-F238E27FC236}">
                  <a16:creationId xmlns:a16="http://schemas.microsoft.com/office/drawing/2014/main" id="{C131207E-DB2D-B2A5-52DD-B2937EAEC665}"/>
                </a:ext>
              </a:extLst>
            </p:cNvPr>
            <p:cNvGrpSpPr/>
            <p:nvPr/>
          </p:nvGrpSpPr>
          <p:grpSpPr>
            <a:xfrm>
              <a:off x="9055634" y="1533211"/>
              <a:ext cx="78520" cy="75282"/>
              <a:chOff x="7427271" y="2932309"/>
              <a:chExt cx="570829" cy="570830"/>
            </a:xfrm>
            <a:solidFill>
              <a:schemeClr val="bg1"/>
            </a:solidFill>
          </p:grpSpPr>
          <p:sp>
            <p:nvSpPr>
              <p:cNvPr id="149" name="Forma libre 199">
                <a:extLst>
                  <a:ext uri="{FF2B5EF4-FFF2-40B4-BE49-F238E27FC236}">
                    <a16:creationId xmlns:a16="http://schemas.microsoft.com/office/drawing/2014/main" id="{BC43EEAD-F895-CEFF-4886-3A6CFCB964A0}"/>
                  </a:ext>
                </a:extLst>
              </p:cNvPr>
              <p:cNvSpPr/>
              <p:nvPr/>
            </p:nvSpPr>
            <p:spPr>
              <a:xfrm>
                <a:off x="7427271" y="2932309"/>
                <a:ext cx="523262" cy="237845"/>
              </a:xfrm>
              <a:custGeom>
                <a:avLst/>
                <a:gdLst>
                  <a:gd name="connsiteX0" fmla="*/ 261631 w 523262"/>
                  <a:gd name="connsiteY0" fmla="*/ 237846 h 237845"/>
                  <a:gd name="connsiteX1" fmla="*/ 523263 w 523262"/>
                  <a:gd name="connsiteY1" fmla="*/ 154599 h 237845"/>
                  <a:gd name="connsiteX2" fmla="*/ 523263 w 523262"/>
                  <a:gd name="connsiteY2" fmla="*/ 71354 h 237845"/>
                  <a:gd name="connsiteX3" fmla="*/ 261631 w 523262"/>
                  <a:gd name="connsiteY3" fmla="*/ 0 h 237845"/>
                  <a:gd name="connsiteX4" fmla="*/ 0 w 523262"/>
                  <a:gd name="connsiteY4" fmla="*/ 71354 h 237845"/>
                  <a:gd name="connsiteX5" fmla="*/ 0 w 523262"/>
                  <a:gd name="connsiteY5" fmla="*/ 154600 h 237845"/>
                  <a:gd name="connsiteX6" fmla="*/ 261631 w 523262"/>
                  <a:gd name="connsiteY6" fmla="*/ 237846 h 237845"/>
                  <a:gd name="connsiteX7" fmla="*/ 261631 w 523262"/>
                  <a:gd name="connsiteY7" fmla="*/ 23784 h 237845"/>
                  <a:gd name="connsiteX8" fmla="*/ 475693 w 523262"/>
                  <a:gd name="connsiteY8" fmla="*/ 71354 h 237845"/>
                  <a:gd name="connsiteX9" fmla="*/ 261631 w 523262"/>
                  <a:gd name="connsiteY9" fmla="*/ 118924 h 237845"/>
                  <a:gd name="connsiteX10" fmla="*/ 47570 w 523262"/>
                  <a:gd name="connsiteY10" fmla="*/ 71354 h 237845"/>
                  <a:gd name="connsiteX11" fmla="*/ 261631 w 523262"/>
                  <a:gd name="connsiteY11" fmla="*/ 23784 h 237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3262" h="237845">
                    <a:moveTo>
                      <a:pt x="261631" y="237846"/>
                    </a:moveTo>
                    <a:cubicBezTo>
                      <a:pt x="391634" y="237846"/>
                      <a:pt x="523263" y="209253"/>
                      <a:pt x="523263" y="154599"/>
                    </a:cubicBezTo>
                    <a:lnTo>
                      <a:pt x="523263" y="71354"/>
                    </a:lnTo>
                    <a:cubicBezTo>
                      <a:pt x="523263" y="22333"/>
                      <a:pt x="387639" y="0"/>
                      <a:pt x="261631" y="0"/>
                    </a:cubicBezTo>
                    <a:cubicBezTo>
                      <a:pt x="135624" y="0"/>
                      <a:pt x="0" y="22333"/>
                      <a:pt x="0" y="71354"/>
                    </a:cubicBezTo>
                    <a:lnTo>
                      <a:pt x="0" y="154600"/>
                    </a:lnTo>
                    <a:cubicBezTo>
                      <a:pt x="0" y="209254"/>
                      <a:pt x="131629" y="237846"/>
                      <a:pt x="261631" y="237846"/>
                    </a:cubicBezTo>
                    <a:close/>
                    <a:moveTo>
                      <a:pt x="261631" y="23784"/>
                    </a:moveTo>
                    <a:cubicBezTo>
                      <a:pt x="400135" y="23784"/>
                      <a:pt x="475693" y="55211"/>
                      <a:pt x="475693" y="71354"/>
                    </a:cubicBezTo>
                    <a:cubicBezTo>
                      <a:pt x="475693" y="87497"/>
                      <a:pt x="400135" y="118924"/>
                      <a:pt x="261631" y="118924"/>
                    </a:cubicBezTo>
                    <a:cubicBezTo>
                      <a:pt x="123128" y="118924"/>
                      <a:pt x="47570" y="87497"/>
                      <a:pt x="47570" y="71354"/>
                    </a:cubicBezTo>
                    <a:cubicBezTo>
                      <a:pt x="47570" y="55211"/>
                      <a:pt x="123128" y="23784"/>
                      <a:pt x="261631" y="23784"/>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50" name="Forma libre 200">
                <a:extLst>
                  <a:ext uri="{FF2B5EF4-FFF2-40B4-BE49-F238E27FC236}">
                    <a16:creationId xmlns:a16="http://schemas.microsoft.com/office/drawing/2014/main" id="{E0D2B6B6-C4C5-6B23-7D5A-71B1F235CACE}"/>
                  </a:ext>
                </a:extLst>
              </p:cNvPr>
              <p:cNvSpPr/>
              <p:nvPr/>
            </p:nvSpPr>
            <p:spPr>
              <a:xfrm>
                <a:off x="7427271" y="3146452"/>
                <a:ext cx="523261" cy="166410"/>
              </a:xfrm>
              <a:custGeom>
                <a:avLst/>
                <a:gdLst>
                  <a:gd name="connsiteX0" fmla="*/ 360881 w 523261"/>
                  <a:gd name="connsiteY0" fmla="*/ 152741 h 166410"/>
                  <a:gd name="connsiteX1" fmla="*/ 463800 w 523261"/>
                  <a:gd name="connsiteY1" fmla="*/ 71272 h 166410"/>
                  <a:gd name="connsiteX2" fmla="*/ 506538 w 523261"/>
                  <a:gd name="connsiteY2" fmla="*/ 80632 h 166410"/>
                  <a:gd name="connsiteX3" fmla="*/ 517850 w 523261"/>
                  <a:gd name="connsiteY3" fmla="*/ 79738 h 166410"/>
                  <a:gd name="connsiteX4" fmla="*/ 523261 w 523261"/>
                  <a:gd name="connsiteY4" fmla="*/ 69762 h 166410"/>
                  <a:gd name="connsiteX5" fmla="*/ 523261 w 523261"/>
                  <a:gd name="connsiteY5" fmla="*/ 11903 h 166410"/>
                  <a:gd name="connsiteX6" fmla="*/ 517245 w 523261"/>
                  <a:gd name="connsiteY6" fmla="*/ 1555 h 166410"/>
                  <a:gd name="connsiteX7" fmla="*/ 505284 w 523261"/>
                  <a:gd name="connsiteY7" fmla="*/ 1695 h 166410"/>
                  <a:gd name="connsiteX8" fmla="*/ 261630 w 523261"/>
                  <a:gd name="connsiteY8" fmla="*/ 47487 h 166410"/>
                  <a:gd name="connsiteX9" fmla="*/ 17977 w 523261"/>
                  <a:gd name="connsiteY9" fmla="*/ 1695 h 166410"/>
                  <a:gd name="connsiteX10" fmla="*/ 6015 w 523261"/>
                  <a:gd name="connsiteY10" fmla="*/ 1555 h 166410"/>
                  <a:gd name="connsiteX11" fmla="*/ 0 w 523261"/>
                  <a:gd name="connsiteY11" fmla="*/ 11903 h 166410"/>
                  <a:gd name="connsiteX12" fmla="*/ 0 w 523261"/>
                  <a:gd name="connsiteY12" fmla="*/ 83164 h 166410"/>
                  <a:gd name="connsiteX13" fmla="*/ 261631 w 523261"/>
                  <a:gd name="connsiteY13" fmla="*/ 166411 h 166410"/>
                  <a:gd name="connsiteX14" fmla="*/ 350615 w 523261"/>
                  <a:gd name="connsiteY14" fmla="*/ 161707 h 166410"/>
                  <a:gd name="connsiteX15" fmla="*/ 360881 w 523261"/>
                  <a:gd name="connsiteY15" fmla="*/ 152741 h 166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3261" h="166410">
                    <a:moveTo>
                      <a:pt x="360881" y="152741"/>
                    </a:moveTo>
                    <a:cubicBezTo>
                      <a:pt x="372749" y="104777"/>
                      <a:pt x="415070" y="71272"/>
                      <a:pt x="463800" y="71272"/>
                    </a:cubicBezTo>
                    <a:cubicBezTo>
                      <a:pt x="478178" y="71272"/>
                      <a:pt x="492556" y="74419"/>
                      <a:pt x="506538" y="80632"/>
                    </a:cubicBezTo>
                    <a:cubicBezTo>
                      <a:pt x="510254" y="82270"/>
                      <a:pt x="514482" y="81921"/>
                      <a:pt x="517850" y="79738"/>
                    </a:cubicBezTo>
                    <a:cubicBezTo>
                      <a:pt x="521218" y="77543"/>
                      <a:pt x="523261" y="73792"/>
                      <a:pt x="523261" y="69762"/>
                    </a:cubicBezTo>
                    <a:lnTo>
                      <a:pt x="523261" y="11903"/>
                    </a:lnTo>
                    <a:cubicBezTo>
                      <a:pt x="523261" y="7617"/>
                      <a:pt x="520961" y="3669"/>
                      <a:pt x="517245" y="1555"/>
                    </a:cubicBezTo>
                    <a:cubicBezTo>
                      <a:pt x="513483" y="-570"/>
                      <a:pt x="508907" y="-512"/>
                      <a:pt x="505284" y="1695"/>
                    </a:cubicBezTo>
                    <a:cubicBezTo>
                      <a:pt x="432257" y="45281"/>
                      <a:pt x="289503" y="47487"/>
                      <a:pt x="261630" y="47487"/>
                    </a:cubicBezTo>
                    <a:cubicBezTo>
                      <a:pt x="233758" y="47487"/>
                      <a:pt x="91003" y="45281"/>
                      <a:pt x="17977" y="1695"/>
                    </a:cubicBezTo>
                    <a:cubicBezTo>
                      <a:pt x="14353" y="-512"/>
                      <a:pt x="9778" y="-570"/>
                      <a:pt x="6015" y="1555"/>
                    </a:cubicBezTo>
                    <a:cubicBezTo>
                      <a:pt x="2300" y="3669"/>
                      <a:pt x="0" y="7617"/>
                      <a:pt x="0" y="11903"/>
                    </a:cubicBezTo>
                    <a:lnTo>
                      <a:pt x="0" y="83164"/>
                    </a:lnTo>
                    <a:cubicBezTo>
                      <a:pt x="0" y="137818"/>
                      <a:pt x="131629" y="166411"/>
                      <a:pt x="261631" y="166411"/>
                    </a:cubicBezTo>
                    <a:cubicBezTo>
                      <a:pt x="291781" y="166411"/>
                      <a:pt x="321720" y="164831"/>
                      <a:pt x="350615" y="161707"/>
                    </a:cubicBezTo>
                    <a:cubicBezTo>
                      <a:pt x="355585" y="161172"/>
                      <a:pt x="359673" y="157584"/>
                      <a:pt x="360881" y="152741"/>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51" name="Forma libre 201">
                <a:extLst>
                  <a:ext uri="{FF2B5EF4-FFF2-40B4-BE49-F238E27FC236}">
                    <a16:creationId xmlns:a16="http://schemas.microsoft.com/office/drawing/2014/main" id="{E008C6B0-22C1-BE64-15B7-5C2523EB1A5C}"/>
                  </a:ext>
                </a:extLst>
              </p:cNvPr>
              <p:cNvSpPr/>
              <p:nvPr/>
            </p:nvSpPr>
            <p:spPr>
              <a:xfrm>
                <a:off x="7427271" y="3289164"/>
                <a:ext cx="334723" cy="166406"/>
              </a:xfrm>
              <a:custGeom>
                <a:avLst/>
                <a:gdLst>
                  <a:gd name="connsiteX0" fmla="*/ 322021 w 334723"/>
                  <a:gd name="connsiteY0" fmla="*/ 45277 h 166406"/>
                  <a:gd name="connsiteX1" fmla="*/ 261630 w 334723"/>
                  <a:gd name="connsiteY1" fmla="*/ 47483 h 166406"/>
                  <a:gd name="connsiteX2" fmla="*/ 17977 w 334723"/>
                  <a:gd name="connsiteY2" fmla="*/ 1691 h 166406"/>
                  <a:gd name="connsiteX3" fmla="*/ 6015 w 334723"/>
                  <a:gd name="connsiteY3" fmla="*/ 1551 h 166406"/>
                  <a:gd name="connsiteX4" fmla="*/ 0 w 334723"/>
                  <a:gd name="connsiteY4" fmla="*/ 11899 h 166406"/>
                  <a:gd name="connsiteX5" fmla="*/ 0 w 334723"/>
                  <a:gd name="connsiteY5" fmla="*/ 83160 h 166406"/>
                  <a:gd name="connsiteX6" fmla="*/ 261631 w 334723"/>
                  <a:gd name="connsiteY6" fmla="*/ 166407 h 166406"/>
                  <a:gd name="connsiteX7" fmla="*/ 321929 w 334723"/>
                  <a:gd name="connsiteY7" fmla="*/ 164246 h 166406"/>
                  <a:gd name="connsiteX8" fmla="*/ 332985 w 334723"/>
                  <a:gd name="connsiteY8" fmla="*/ 152389 h 166406"/>
                  <a:gd name="connsiteX9" fmla="*/ 332985 w 334723"/>
                  <a:gd name="connsiteY9" fmla="*/ 71267 h 166406"/>
                  <a:gd name="connsiteX10" fmla="*/ 334379 w 334723"/>
                  <a:gd name="connsiteY10" fmla="*/ 59990 h 166406"/>
                  <a:gd name="connsiteX11" fmla="*/ 331939 w 334723"/>
                  <a:gd name="connsiteY11" fmla="*/ 49491 h 166406"/>
                  <a:gd name="connsiteX12" fmla="*/ 322021 w 334723"/>
                  <a:gd name="connsiteY12" fmla="*/ 45277 h 166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4723" h="166406">
                    <a:moveTo>
                      <a:pt x="322021" y="45277"/>
                    </a:moveTo>
                    <a:cubicBezTo>
                      <a:pt x="294357" y="47193"/>
                      <a:pt x="272315" y="47483"/>
                      <a:pt x="261630" y="47483"/>
                    </a:cubicBezTo>
                    <a:cubicBezTo>
                      <a:pt x="233758" y="47483"/>
                      <a:pt x="91003" y="45277"/>
                      <a:pt x="17977" y="1691"/>
                    </a:cubicBezTo>
                    <a:cubicBezTo>
                      <a:pt x="14353" y="-516"/>
                      <a:pt x="9778" y="-563"/>
                      <a:pt x="6015" y="1551"/>
                    </a:cubicBezTo>
                    <a:cubicBezTo>
                      <a:pt x="2300" y="3665"/>
                      <a:pt x="0" y="7613"/>
                      <a:pt x="0" y="11899"/>
                    </a:cubicBezTo>
                    <a:lnTo>
                      <a:pt x="0" y="83160"/>
                    </a:lnTo>
                    <a:cubicBezTo>
                      <a:pt x="0" y="137814"/>
                      <a:pt x="131629" y="166407"/>
                      <a:pt x="261631" y="166407"/>
                    </a:cubicBezTo>
                    <a:cubicBezTo>
                      <a:pt x="281212" y="166407"/>
                      <a:pt x="301489" y="165686"/>
                      <a:pt x="321929" y="164246"/>
                    </a:cubicBezTo>
                    <a:cubicBezTo>
                      <a:pt x="328153" y="163817"/>
                      <a:pt x="332985" y="158637"/>
                      <a:pt x="332985" y="152389"/>
                    </a:cubicBezTo>
                    <a:lnTo>
                      <a:pt x="332985" y="71267"/>
                    </a:lnTo>
                    <a:cubicBezTo>
                      <a:pt x="332985" y="67551"/>
                      <a:pt x="333450" y="63753"/>
                      <a:pt x="334379" y="59990"/>
                    </a:cubicBezTo>
                    <a:cubicBezTo>
                      <a:pt x="335285" y="56296"/>
                      <a:pt x="334379" y="52394"/>
                      <a:pt x="331939" y="49491"/>
                    </a:cubicBezTo>
                    <a:cubicBezTo>
                      <a:pt x="329478" y="46577"/>
                      <a:pt x="325413" y="45114"/>
                      <a:pt x="322021" y="45277"/>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52" name="Forma libre 202">
                <a:extLst>
                  <a:ext uri="{FF2B5EF4-FFF2-40B4-BE49-F238E27FC236}">
                    <a16:creationId xmlns:a16="http://schemas.microsoft.com/office/drawing/2014/main" id="{A1B34CE8-13C6-FBD4-28B6-D462DBA8EBE6}"/>
                  </a:ext>
                </a:extLst>
              </p:cNvPr>
              <p:cNvSpPr/>
              <p:nvPr/>
            </p:nvSpPr>
            <p:spPr>
              <a:xfrm>
                <a:off x="7784040" y="3241508"/>
                <a:ext cx="214060" cy="261631"/>
              </a:xfrm>
              <a:custGeom>
                <a:avLst/>
                <a:gdLst>
                  <a:gd name="connsiteX0" fmla="*/ 190277 w 214060"/>
                  <a:gd name="connsiteY0" fmla="*/ 95139 h 261631"/>
                  <a:gd name="connsiteX1" fmla="*/ 190277 w 214060"/>
                  <a:gd name="connsiteY1" fmla="*/ 83247 h 261631"/>
                  <a:gd name="connsiteX2" fmla="*/ 107031 w 214060"/>
                  <a:gd name="connsiteY2" fmla="*/ 0 h 261631"/>
                  <a:gd name="connsiteX3" fmla="*/ 23784 w 214060"/>
                  <a:gd name="connsiteY3" fmla="*/ 83247 h 261631"/>
                  <a:gd name="connsiteX4" fmla="*/ 23784 w 214060"/>
                  <a:gd name="connsiteY4" fmla="*/ 95139 h 261631"/>
                  <a:gd name="connsiteX5" fmla="*/ 0 w 214060"/>
                  <a:gd name="connsiteY5" fmla="*/ 118923 h 261631"/>
                  <a:gd name="connsiteX6" fmla="*/ 0 w 214060"/>
                  <a:gd name="connsiteY6" fmla="*/ 237847 h 261631"/>
                  <a:gd name="connsiteX7" fmla="*/ 23784 w 214060"/>
                  <a:gd name="connsiteY7" fmla="*/ 261631 h 261631"/>
                  <a:gd name="connsiteX8" fmla="*/ 190276 w 214060"/>
                  <a:gd name="connsiteY8" fmla="*/ 261631 h 261631"/>
                  <a:gd name="connsiteX9" fmla="*/ 214061 w 214060"/>
                  <a:gd name="connsiteY9" fmla="*/ 237847 h 261631"/>
                  <a:gd name="connsiteX10" fmla="*/ 214061 w 214060"/>
                  <a:gd name="connsiteY10" fmla="*/ 118923 h 261631"/>
                  <a:gd name="connsiteX11" fmla="*/ 190277 w 214060"/>
                  <a:gd name="connsiteY11" fmla="*/ 95139 h 261631"/>
                  <a:gd name="connsiteX12" fmla="*/ 118923 w 214060"/>
                  <a:gd name="connsiteY12" fmla="*/ 186620 h 261631"/>
                  <a:gd name="connsiteX13" fmla="*/ 118923 w 214060"/>
                  <a:gd name="connsiteY13" fmla="*/ 202170 h 261631"/>
                  <a:gd name="connsiteX14" fmla="*/ 107031 w 214060"/>
                  <a:gd name="connsiteY14" fmla="*/ 214063 h 261631"/>
                  <a:gd name="connsiteX15" fmla="*/ 95138 w 214060"/>
                  <a:gd name="connsiteY15" fmla="*/ 202170 h 261631"/>
                  <a:gd name="connsiteX16" fmla="*/ 95138 w 214060"/>
                  <a:gd name="connsiteY16" fmla="*/ 186620 h 261631"/>
                  <a:gd name="connsiteX17" fmla="*/ 83245 w 214060"/>
                  <a:gd name="connsiteY17" fmla="*/ 166493 h 261631"/>
                  <a:gd name="connsiteX18" fmla="*/ 107030 w 214060"/>
                  <a:gd name="connsiteY18" fmla="*/ 142709 h 261631"/>
                  <a:gd name="connsiteX19" fmla="*/ 130814 w 214060"/>
                  <a:gd name="connsiteY19" fmla="*/ 166493 h 261631"/>
                  <a:gd name="connsiteX20" fmla="*/ 118923 w 214060"/>
                  <a:gd name="connsiteY20" fmla="*/ 186620 h 261631"/>
                  <a:gd name="connsiteX21" fmla="*/ 142708 w 214060"/>
                  <a:gd name="connsiteY21" fmla="*/ 95139 h 261631"/>
                  <a:gd name="connsiteX22" fmla="*/ 71354 w 214060"/>
                  <a:gd name="connsiteY22" fmla="*/ 95139 h 261631"/>
                  <a:gd name="connsiteX23" fmla="*/ 71354 w 214060"/>
                  <a:gd name="connsiteY23" fmla="*/ 83247 h 261631"/>
                  <a:gd name="connsiteX24" fmla="*/ 107031 w 214060"/>
                  <a:gd name="connsiteY24" fmla="*/ 47570 h 261631"/>
                  <a:gd name="connsiteX25" fmla="*/ 142708 w 214060"/>
                  <a:gd name="connsiteY25" fmla="*/ 83247 h 261631"/>
                  <a:gd name="connsiteX26" fmla="*/ 142708 w 214060"/>
                  <a:gd name="connsiteY26" fmla="*/ 95139 h 261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14060" h="261631">
                    <a:moveTo>
                      <a:pt x="190277" y="95139"/>
                    </a:moveTo>
                    <a:lnTo>
                      <a:pt x="190277" y="83247"/>
                    </a:lnTo>
                    <a:cubicBezTo>
                      <a:pt x="190277" y="37349"/>
                      <a:pt x="152928" y="0"/>
                      <a:pt x="107031" y="0"/>
                    </a:cubicBezTo>
                    <a:cubicBezTo>
                      <a:pt x="61134" y="0"/>
                      <a:pt x="23784" y="37349"/>
                      <a:pt x="23784" y="83247"/>
                    </a:cubicBezTo>
                    <a:lnTo>
                      <a:pt x="23784" y="95139"/>
                    </a:lnTo>
                    <a:cubicBezTo>
                      <a:pt x="10673" y="95139"/>
                      <a:pt x="0" y="105812"/>
                      <a:pt x="0" y="118923"/>
                    </a:cubicBezTo>
                    <a:lnTo>
                      <a:pt x="0" y="237847"/>
                    </a:lnTo>
                    <a:cubicBezTo>
                      <a:pt x="0" y="250958"/>
                      <a:pt x="10673" y="261631"/>
                      <a:pt x="23784" y="261631"/>
                    </a:cubicBezTo>
                    <a:lnTo>
                      <a:pt x="190276" y="261631"/>
                    </a:lnTo>
                    <a:cubicBezTo>
                      <a:pt x="203388" y="261631"/>
                      <a:pt x="214061" y="250958"/>
                      <a:pt x="214061" y="237847"/>
                    </a:cubicBezTo>
                    <a:lnTo>
                      <a:pt x="214061" y="118923"/>
                    </a:lnTo>
                    <a:cubicBezTo>
                      <a:pt x="214062" y="105812"/>
                      <a:pt x="203389" y="95139"/>
                      <a:pt x="190277" y="95139"/>
                    </a:cubicBezTo>
                    <a:close/>
                    <a:moveTo>
                      <a:pt x="118923" y="186620"/>
                    </a:moveTo>
                    <a:lnTo>
                      <a:pt x="118923" y="202170"/>
                    </a:lnTo>
                    <a:cubicBezTo>
                      <a:pt x="118923" y="208744"/>
                      <a:pt x="113604" y="214063"/>
                      <a:pt x="107031" y="214063"/>
                    </a:cubicBezTo>
                    <a:cubicBezTo>
                      <a:pt x="100457" y="214063"/>
                      <a:pt x="95138" y="208744"/>
                      <a:pt x="95138" y="202170"/>
                    </a:cubicBezTo>
                    <a:lnTo>
                      <a:pt x="95138" y="186620"/>
                    </a:lnTo>
                    <a:cubicBezTo>
                      <a:pt x="88161" y="182469"/>
                      <a:pt x="83245" y="175179"/>
                      <a:pt x="83245" y="166493"/>
                    </a:cubicBezTo>
                    <a:cubicBezTo>
                      <a:pt x="83245" y="153382"/>
                      <a:pt x="93918" y="142709"/>
                      <a:pt x="107030" y="142709"/>
                    </a:cubicBezTo>
                    <a:cubicBezTo>
                      <a:pt x="120141" y="142709"/>
                      <a:pt x="130814" y="153382"/>
                      <a:pt x="130814" y="166493"/>
                    </a:cubicBezTo>
                    <a:cubicBezTo>
                      <a:pt x="130815" y="175179"/>
                      <a:pt x="125899" y="182469"/>
                      <a:pt x="118923" y="186620"/>
                    </a:cubicBezTo>
                    <a:close/>
                    <a:moveTo>
                      <a:pt x="142708" y="95139"/>
                    </a:moveTo>
                    <a:lnTo>
                      <a:pt x="71354" y="95139"/>
                    </a:lnTo>
                    <a:lnTo>
                      <a:pt x="71354" y="83247"/>
                    </a:lnTo>
                    <a:cubicBezTo>
                      <a:pt x="71354" y="63573"/>
                      <a:pt x="87357" y="47570"/>
                      <a:pt x="107031" y="47570"/>
                    </a:cubicBezTo>
                    <a:cubicBezTo>
                      <a:pt x="126704" y="47570"/>
                      <a:pt x="142708" y="63573"/>
                      <a:pt x="142708" y="83247"/>
                    </a:cubicBezTo>
                    <a:lnTo>
                      <a:pt x="142708" y="95139"/>
                    </a:ln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grpSp>
        <p:grpSp>
          <p:nvGrpSpPr>
            <p:cNvPr id="100" name="Gráfico 232">
              <a:extLst>
                <a:ext uri="{FF2B5EF4-FFF2-40B4-BE49-F238E27FC236}">
                  <a16:creationId xmlns:a16="http://schemas.microsoft.com/office/drawing/2014/main" id="{CB2F16FF-7706-08C9-9156-E32BF66B26DB}"/>
                </a:ext>
              </a:extLst>
            </p:cNvPr>
            <p:cNvGrpSpPr/>
            <p:nvPr/>
          </p:nvGrpSpPr>
          <p:grpSpPr>
            <a:xfrm>
              <a:off x="9055853" y="1138925"/>
              <a:ext cx="132804" cy="138902"/>
              <a:chOff x="4023312" y="4118557"/>
              <a:chExt cx="523265" cy="570831"/>
            </a:xfrm>
            <a:solidFill>
              <a:schemeClr val="tx2"/>
            </a:solidFill>
          </p:grpSpPr>
          <p:sp>
            <p:nvSpPr>
              <p:cNvPr id="144" name="Forma libre 292">
                <a:extLst>
                  <a:ext uri="{FF2B5EF4-FFF2-40B4-BE49-F238E27FC236}">
                    <a16:creationId xmlns:a16="http://schemas.microsoft.com/office/drawing/2014/main" id="{A5D706FC-294C-10C8-654A-AE353BF27A54}"/>
                  </a:ext>
                </a:extLst>
              </p:cNvPr>
              <p:cNvSpPr/>
              <p:nvPr/>
            </p:nvSpPr>
            <p:spPr>
              <a:xfrm>
                <a:off x="4273051" y="4474990"/>
                <a:ext cx="202170" cy="178665"/>
              </a:xfrm>
              <a:custGeom>
                <a:avLst/>
                <a:gdLst>
                  <a:gd name="connsiteX0" fmla="*/ 190277 w 202170"/>
                  <a:gd name="connsiteY0" fmla="*/ 154844 h 178665"/>
                  <a:gd name="connsiteX1" fmla="*/ 23785 w 202170"/>
                  <a:gd name="connsiteY1" fmla="*/ 11911 h 178665"/>
                  <a:gd name="connsiteX2" fmla="*/ 11893 w 202170"/>
                  <a:gd name="connsiteY2" fmla="*/ 0 h 178665"/>
                  <a:gd name="connsiteX3" fmla="*/ 0 w 202170"/>
                  <a:gd name="connsiteY3" fmla="*/ 11911 h 178665"/>
                  <a:gd name="connsiteX4" fmla="*/ 190277 w 202170"/>
                  <a:gd name="connsiteY4" fmla="*/ 178666 h 178665"/>
                  <a:gd name="connsiteX5" fmla="*/ 202170 w 202170"/>
                  <a:gd name="connsiteY5" fmla="*/ 166755 h 178665"/>
                  <a:gd name="connsiteX6" fmla="*/ 190277 w 202170"/>
                  <a:gd name="connsiteY6" fmla="*/ 154844 h 178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2170" h="178665">
                    <a:moveTo>
                      <a:pt x="190277" y="154844"/>
                    </a:moveTo>
                    <a:cubicBezTo>
                      <a:pt x="101596" y="154844"/>
                      <a:pt x="23785" y="88053"/>
                      <a:pt x="23785" y="11911"/>
                    </a:cubicBezTo>
                    <a:cubicBezTo>
                      <a:pt x="23785" y="5327"/>
                      <a:pt x="18466" y="0"/>
                      <a:pt x="11893" y="0"/>
                    </a:cubicBezTo>
                    <a:cubicBezTo>
                      <a:pt x="5319" y="0"/>
                      <a:pt x="0" y="5327"/>
                      <a:pt x="0" y="11911"/>
                    </a:cubicBezTo>
                    <a:cubicBezTo>
                      <a:pt x="0" y="100743"/>
                      <a:pt x="88914" y="178666"/>
                      <a:pt x="190277" y="178666"/>
                    </a:cubicBezTo>
                    <a:cubicBezTo>
                      <a:pt x="196851" y="178666"/>
                      <a:pt x="202170" y="173339"/>
                      <a:pt x="202170" y="166755"/>
                    </a:cubicBezTo>
                    <a:cubicBezTo>
                      <a:pt x="202170" y="160172"/>
                      <a:pt x="196851" y="154844"/>
                      <a:pt x="190277" y="154844"/>
                    </a:cubicBezTo>
                    <a:close/>
                  </a:path>
                </a:pathLst>
              </a:custGeom>
              <a:solidFill>
                <a:schemeClr val="bg1"/>
              </a:solidFill>
              <a:ln w="10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45" name="Forma libre 293">
                <a:extLst>
                  <a:ext uri="{FF2B5EF4-FFF2-40B4-BE49-F238E27FC236}">
                    <a16:creationId xmlns:a16="http://schemas.microsoft.com/office/drawing/2014/main" id="{DB2F13E6-3560-7358-71E2-EF92B170BB09}"/>
                  </a:ext>
                </a:extLst>
              </p:cNvPr>
              <p:cNvSpPr/>
              <p:nvPr/>
            </p:nvSpPr>
            <p:spPr>
              <a:xfrm>
                <a:off x="4094670" y="4118557"/>
                <a:ext cx="368660" cy="73125"/>
              </a:xfrm>
              <a:custGeom>
                <a:avLst/>
                <a:gdLst>
                  <a:gd name="connsiteX0" fmla="*/ 11889 w 368660"/>
                  <a:gd name="connsiteY0" fmla="*/ 73126 h 73125"/>
                  <a:gd name="connsiteX1" fmla="*/ 18068 w 368660"/>
                  <a:gd name="connsiteY1" fmla="*/ 71404 h 73125"/>
                  <a:gd name="connsiteX2" fmla="*/ 351006 w 368660"/>
                  <a:gd name="connsiteY2" fmla="*/ 64402 h 73125"/>
                  <a:gd name="connsiteX3" fmla="*/ 367173 w 368660"/>
                  <a:gd name="connsiteY3" fmla="*/ 59737 h 73125"/>
                  <a:gd name="connsiteX4" fmla="*/ 362528 w 368660"/>
                  <a:gd name="connsiteY4" fmla="*/ 43557 h 73125"/>
                  <a:gd name="connsiteX5" fmla="*/ 5712 w 368660"/>
                  <a:gd name="connsiteY5" fmla="*/ 51025 h 73125"/>
                  <a:gd name="connsiteX6" fmla="*/ 1717 w 368660"/>
                  <a:gd name="connsiteY6" fmla="*/ 67391 h 73125"/>
                  <a:gd name="connsiteX7" fmla="*/ 11889 w 368660"/>
                  <a:gd name="connsiteY7" fmla="*/ 73126 h 7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8660" h="73125">
                    <a:moveTo>
                      <a:pt x="11889" y="73126"/>
                    </a:moveTo>
                    <a:cubicBezTo>
                      <a:pt x="14003" y="73126"/>
                      <a:pt x="16140" y="72567"/>
                      <a:pt x="18068" y="71404"/>
                    </a:cubicBezTo>
                    <a:cubicBezTo>
                      <a:pt x="118688" y="10244"/>
                      <a:pt x="249155" y="8022"/>
                      <a:pt x="351006" y="64402"/>
                    </a:cubicBezTo>
                    <a:cubicBezTo>
                      <a:pt x="356767" y="67600"/>
                      <a:pt x="363991" y="65506"/>
                      <a:pt x="367173" y="59737"/>
                    </a:cubicBezTo>
                    <a:cubicBezTo>
                      <a:pt x="370355" y="53979"/>
                      <a:pt x="368264" y="46733"/>
                      <a:pt x="362528" y="43557"/>
                    </a:cubicBezTo>
                    <a:cubicBezTo>
                      <a:pt x="253291" y="-16882"/>
                      <a:pt x="113510" y="-14451"/>
                      <a:pt x="5712" y="51025"/>
                    </a:cubicBezTo>
                    <a:cubicBezTo>
                      <a:pt x="114" y="54444"/>
                      <a:pt x="-1675" y="61773"/>
                      <a:pt x="1717" y="67391"/>
                    </a:cubicBezTo>
                    <a:cubicBezTo>
                      <a:pt x="3969" y="71090"/>
                      <a:pt x="7871" y="73126"/>
                      <a:pt x="11889" y="73126"/>
                    </a:cubicBezTo>
                    <a:close/>
                  </a:path>
                </a:pathLst>
              </a:custGeom>
              <a:solidFill>
                <a:schemeClr val="bg1"/>
              </a:solidFill>
              <a:ln w="10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46" name="Forma libre 294">
                <a:extLst>
                  <a:ext uri="{FF2B5EF4-FFF2-40B4-BE49-F238E27FC236}">
                    <a16:creationId xmlns:a16="http://schemas.microsoft.com/office/drawing/2014/main" id="{4249B152-3759-5301-E442-55F79FCAE1A9}"/>
                  </a:ext>
                </a:extLst>
              </p:cNvPr>
              <p:cNvSpPr/>
              <p:nvPr/>
            </p:nvSpPr>
            <p:spPr>
              <a:xfrm>
                <a:off x="4023312" y="4189124"/>
                <a:ext cx="523265" cy="154844"/>
              </a:xfrm>
              <a:custGeom>
                <a:avLst/>
                <a:gdLst>
                  <a:gd name="connsiteX0" fmla="*/ 521776 w 523265"/>
                  <a:gd name="connsiteY0" fmla="*/ 137163 h 154844"/>
                  <a:gd name="connsiteX1" fmla="*/ 261632 w 523265"/>
                  <a:gd name="connsiteY1" fmla="*/ 0 h 154844"/>
                  <a:gd name="connsiteX2" fmla="*/ 1488 w 523265"/>
                  <a:gd name="connsiteY2" fmla="*/ 137163 h 154844"/>
                  <a:gd name="connsiteX3" fmla="*/ 6134 w 523265"/>
                  <a:gd name="connsiteY3" fmla="*/ 153355 h 154844"/>
                  <a:gd name="connsiteX4" fmla="*/ 22300 w 523265"/>
                  <a:gd name="connsiteY4" fmla="*/ 148703 h 154844"/>
                  <a:gd name="connsiteX5" fmla="*/ 261632 w 523265"/>
                  <a:gd name="connsiteY5" fmla="*/ 23822 h 154844"/>
                  <a:gd name="connsiteX6" fmla="*/ 500964 w 523265"/>
                  <a:gd name="connsiteY6" fmla="*/ 148703 h 154844"/>
                  <a:gd name="connsiteX7" fmla="*/ 511371 w 523265"/>
                  <a:gd name="connsiteY7" fmla="*/ 154845 h 154844"/>
                  <a:gd name="connsiteX8" fmla="*/ 517132 w 523265"/>
                  <a:gd name="connsiteY8" fmla="*/ 153356 h 154844"/>
                  <a:gd name="connsiteX9" fmla="*/ 521776 w 523265"/>
                  <a:gd name="connsiteY9" fmla="*/ 137163 h 1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3265" h="154844">
                    <a:moveTo>
                      <a:pt x="521776" y="137163"/>
                    </a:moveTo>
                    <a:cubicBezTo>
                      <a:pt x="475717" y="53844"/>
                      <a:pt x="373611" y="0"/>
                      <a:pt x="261632" y="0"/>
                    </a:cubicBezTo>
                    <a:cubicBezTo>
                      <a:pt x="149654" y="0"/>
                      <a:pt x="47547" y="53844"/>
                      <a:pt x="1488" y="137163"/>
                    </a:cubicBezTo>
                    <a:cubicBezTo>
                      <a:pt x="-1694" y="142921"/>
                      <a:pt x="397" y="150168"/>
                      <a:pt x="6134" y="153355"/>
                    </a:cubicBezTo>
                    <a:cubicBezTo>
                      <a:pt x="11895" y="156530"/>
                      <a:pt x="19095" y="154460"/>
                      <a:pt x="22300" y="148703"/>
                    </a:cubicBezTo>
                    <a:cubicBezTo>
                      <a:pt x="64225" y="72839"/>
                      <a:pt x="158178" y="23822"/>
                      <a:pt x="261632" y="23822"/>
                    </a:cubicBezTo>
                    <a:cubicBezTo>
                      <a:pt x="365087" y="23822"/>
                      <a:pt x="459041" y="72839"/>
                      <a:pt x="500964" y="148703"/>
                    </a:cubicBezTo>
                    <a:cubicBezTo>
                      <a:pt x="503148" y="152634"/>
                      <a:pt x="507190" y="154845"/>
                      <a:pt x="511371" y="154845"/>
                    </a:cubicBezTo>
                    <a:cubicBezTo>
                      <a:pt x="513322" y="154845"/>
                      <a:pt x="515296" y="154367"/>
                      <a:pt x="517132" y="153356"/>
                    </a:cubicBezTo>
                    <a:cubicBezTo>
                      <a:pt x="522869" y="150168"/>
                      <a:pt x="524959" y="142921"/>
                      <a:pt x="521776" y="137163"/>
                    </a:cubicBezTo>
                    <a:close/>
                  </a:path>
                </a:pathLst>
              </a:custGeom>
              <a:solidFill>
                <a:schemeClr val="bg1"/>
              </a:solidFill>
              <a:ln w="10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47" name="Forma libre 295">
                <a:extLst>
                  <a:ext uri="{FF2B5EF4-FFF2-40B4-BE49-F238E27FC236}">
                    <a16:creationId xmlns:a16="http://schemas.microsoft.com/office/drawing/2014/main" id="{B763F15B-1964-49D8-7B81-A3CF7A8D720D}"/>
                  </a:ext>
                </a:extLst>
              </p:cNvPr>
              <p:cNvSpPr/>
              <p:nvPr/>
            </p:nvSpPr>
            <p:spPr>
              <a:xfrm>
                <a:off x="4118453" y="4332056"/>
                <a:ext cx="332984" cy="357332"/>
              </a:xfrm>
              <a:custGeom>
                <a:avLst/>
                <a:gdLst>
                  <a:gd name="connsiteX0" fmla="*/ 23783 w 332984"/>
                  <a:gd name="connsiteY0" fmla="*/ 166755 h 357332"/>
                  <a:gd name="connsiteX1" fmla="*/ 166491 w 332984"/>
                  <a:gd name="connsiteY1" fmla="*/ 23822 h 357332"/>
                  <a:gd name="connsiteX2" fmla="*/ 309199 w 332984"/>
                  <a:gd name="connsiteY2" fmla="*/ 154844 h 357332"/>
                  <a:gd name="connsiteX3" fmla="*/ 321091 w 332984"/>
                  <a:gd name="connsiteY3" fmla="*/ 166754 h 357332"/>
                  <a:gd name="connsiteX4" fmla="*/ 332984 w 332984"/>
                  <a:gd name="connsiteY4" fmla="*/ 154844 h 357332"/>
                  <a:gd name="connsiteX5" fmla="*/ 166492 w 332984"/>
                  <a:gd name="connsiteY5" fmla="*/ 0 h 357332"/>
                  <a:gd name="connsiteX6" fmla="*/ 0 w 332984"/>
                  <a:gd name="connsiteY6" fmla="*/ 166755 h 357332"/>
                  <a:gd name="connsiteX7" fmla="*/ 80320 w 332984"/>
                  <a:gd name="connsiteY7" fmla="*/ 353552 h 357332"/>
                  <a:gd name="connsiteX8" fmla="*/ 89007 w 332984"/>
                  <a:gd name="connsiteY8" fmla="*/ 357332 h 357332"/>
                  <a:gd name="connsiteX9" fmla="*/ 97114 w 332984"/>
                  <a:gd name="connsiteY9" fmla="*/ 354121 h 357332"/>
                  <a:gd name="connsiteX10" fmla="*/ 97695 w 332984"/>
                  <a:gd name="connsiteY10" fmla="*/ 337290 h 357332"/>
                  <a:gd name="connsiteX11" fmla="*/ 23783 w 332984"/>
                  <a:gd name="connsiteY11" fmla="*/ 166755 h 35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2984" h="357332">
                    <a:moveTo>
                      <a:pt x="23783" y="166755"/>
                    </a:moveTo>
                    <a:cubicBezTo>
                      <a:pt x="23783" y="83936"/>
                      <a:pt x="83802" y="23822"/>
                      <a:pt x="166491" y="23822"/>
                    </a:cubicBezTo>
                    <a:cubicBezTo>
                      <a:pt x="253175" y="23822"/>
                      <a:pt x="309199" y="75247"/>
                      <a:pt x="309199" y="154844"/>
                    </a:cubicBezTo>
                    <a:cubicBezTo>
                      <a:pt x="309199" y="161427"/>
                      <a:pt x="314518" y="166754"/>
                      <a:pt x="321091" y="166754"/>
                    </a:cubicBezTo>
                    <a:cubicBezTo>
                      <a:pt x="327665" y="166754"/>
                      <a:pt x="332984" y="161427"/>
                      <a:pt x="332984" y="154844"/>
                    </a:cubicBezTo>
                    <a:cubicBezTo>
                      <a:pt x="332984" y="62231"/>
                      <a:pt x="266066" y="0"/>
                      <a:pt x="166492" y="0"/>
                    </a:cubicBezTo>
                    <a:cubicBezTo>
                      <a:pt x="71586" y="0"/>
                      <a:pt x="0" y="71687"/>
                      <a:pt x="0" y="166755"/>
                    </a:cubicBezTo>
                    <a:cubicBezTo>
                      <a:pt x="0" y="236361"/>
                      <a:pt x="24760" y="293974"/>
                      <a:pt x="80320" y="353552"/>
                    </a:cubicBezTo>
                    <a:cubicBezTo>
                      <a:pt x="82666" y="356065"/>
                      <a:pt x="85825" y="357332"/>
                      <a:pt x="89007" y="357332"/>
                    </a:cubicBezTo>
                    <a:cubicBezTo>
                      <a:pt x="91910" y="357332"/>
                      <a:pt x="94837" y="356274"/>
                      <a:pt x="97114" y="354121"/>
                    </a:cubicBezTo>
                    <a:cubicBezTo>
                      <a:pt x="101922" y="349632"/>
                      <a:pt x="102178" y="342094"/>
                      <a:pt x="97695" y="337290"/>
                    </a:cubicBezTo>
                    <a:cubicBezTo>
                      <a:pt x="46570" y="282458"/>
                      <a:pt x="23783" y="229870"/>
                      <a:pt x="23783" y="166755"/>
                    </a:cubicBezTo>
                    <a:close/>
                  </a:path>
                </a:pathLst>
              </a:custGeom>
              <a:solidFill>
                <a:schemeClr val="bg1"/>
              </a:solidFill>
              <a:ln w="10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48" name="Forma libre 296">
                <a:extLst>
                  <a:ext uri="{FF2B5EF4-FFF2-40B4-BE49-F238E27FC236}">
                    <a16:creationId xmlns:a16="http://schemas.microsoft.com/office/drawing/2014/main" id="{6FC22561-CE87-2CA4-F20D-74D254FA09EA}"/>
                  </a:ext>
                </a:extLst>
              </p:cNvPr>
              <p:cNvSpPr/>
              <p:nvPr/>
            </p:nvSpPr>
            <p:spPr>
              <a:xfrm>
                <a:off x="4047098" y="4260591"/>
                <a:ext cx="475692" cy="428797"/>
              </a:xfrm>
              <a:custGeom>
                <a:avLst/>
                <a:gdLst>
                  <a:gd name="connsiteX0" fmla="*/ 237846 w 475692"/>
                  <a:gd name="connsiteY0" fmla="*/ 0 h 428797"/>
                  <a:gd name="connsiteX1" fmla="*/ 0 w 475692"/>
                  <a:gd name="connsiteY1" fmla="*/ 226310 h 428797"/>
                  <a:gd name="connsiteX2" fmla="*/ 24691 w 475692"/>
                  <a:gd name="connsiteY2" fmla="*/ 326159 h 428797"/>
                  <a:gd name="connsiteX3" fmla="*/ 40230 w 475692"/>
                  <a:gd name="connsiteY3" fmla="*/ 332603 h 428797"/>
                  <a:gd name="connsiteX4" fmla="*/ 46664 w 475692"/>
                  <a:gd name="connsiteY4" fmla="*/ 317040 h 428797"/>
                  <a:gd name="connsiteX5" fmla="*/ 23784 w 475692"/>
                  <a:gd name="connsiteY5" fmla="*/ 226310 h 428797"/>
                  <a:gd name="connsiteX6" fmla="*/ 237846 w 475692"/>
                  <a:gd name="connsiteY6" fmla="*/ 23822 h 428797"/>
                  <a:gd name="connsiteX7" fmla="*/ 451908 w 475692"/>
                  <a:gd name="connsiteY7" fmla="*/ 238222 h 428797"/>
                  <a:gd name="connsiteX8" fmla="*/ 392446 w 475692"/>
                  <a:gd name="connsiteY8" fmla="*/ 297776 h 428797"/>
                  <a:gd name="connsiteX9" fmla="*/ 332985 w 475692"/>
                  <a:gd name="connsiteY9" fmla="*/ 238222 h 428797"/>
                  <a:gd name="connsiteX10" fmla="*/ 237847 w 475692"/>
                  <a:gd name="connsiteY10" fmla="*/ 142933 h 428797"/>
                  <a:gd name="connsiteX11" fmla="*/ 142709 w 475692"/>
                  <a:gd name="connsiteY11" fmla="*/ 238222 h 428797"/>
                  <a:gd name="connsiteX12" fmla="*/ 269645 w 475692"/>
                  <a:gd name="connsiteY12" fmla="*/ 427309 h 428797"/>
                  <a:gd name="connsiteX13" fmla="*/ 275406 w 475692"/>
                  <a:gd name="connsiteY13" fmla="*/ 428798 h 428797"/>
                  <a:gd name="connsiteX14" fmla="*/ 285811 w 475692"/>
                  <a:gd name="connsiteY14" fmla="*/ 422645 h 428797"/>
                  <a:gd name="connsiteX15" fmla="*/ 281166 w 475692"/>
                  <a:gd name="connsiteY15" fmla="*/ 406465 h 428797"/>
                  <a:gd name="connsiteX16" fmla="*/ 166492 w 475692"/>
                  <a:gd name="connsiteY16" fmla="*/ 238220 h 428797"/>
                  <a:gd name="connsiteX17" fmla="*/ 237846 w 475692"/>
                  <a:gd name="connsiteY17" fmla="*/ 166754 h 428797"/>
                  <a:gd name="connsiteX18" fmla="*/ 309200 w 475692"/>
                  <a:gd name="connsiteY18" fmla="*/ 238220 h 428797"/>
                  <a:gd name="connsiteX19" fmla="*/ 392446 w 475692"/>
                  <a:gd name="connsiteY19" fmla="*/ 321597 h 428797"/>
                  <a:gd name="connsiteX20" fmla="*/ 475693 w 475692"/>
                  <a:gd name="connsiteY20" fmla="*/ 238220 h 428797"/>
                  <a:gd name="connsiteX21" fmla="*/ 237846 w 475692"/>
                  <a:gd name="connsiteY21" fmla="*/ 0 h 428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75692" h="428797">
                    <a:moveTo>
                      <a:pt x="237846" y="0"/>
                    </a:moveTo>
                    <a:cubicBezTo>
                      <a:pt x="100039" y="0"/>
                      <a:pt x="0" y="95173"/>
                      <a:pt x="0" y="226310"/>
                    </a:cubicBezTo>
                    <a:cubicBezTo>
                      <a:pt x="0" y="261671"/>
                      <a:pt x="11869" y="295194"/>
                      <a:pt x="24691" y="326159"/>
                    </a:cubicBezTo>
                    <a:cubicBezTo>
                      <a:pt x="27199" y="332254"/>
                      <a:pt x="34214" y="335092"/>
                      <a:pt x="40230" y="332603"/>
                    </a:cubicBezTo>
                    <a:cubicBezTo>
                      <a:pt x="46293" y="330079"/>
                      <a:pt x="49173" y="323112"/>
                      <a:pt x="46664" y="317040"/>
                    </a:cubicBezTo>
                    <a:cubicBezTo>
                      <a:pt x="34771" y="288343"/>
                      <a:pt x="23784" y="257506"/>
                      <a:pt x="23784" y="226310"/>
                    </a:cubicBezTo>
                    <a:cubicBezTo>
                      <a:pt x="23784" y="107083"/>
                      <a:pt x="111815" y="23822"/>
                      <a:pt x="237846" y="23822"/>
                    </a:cubicBezTo>
                    <a:cubicBezTo>
                      <a:pt x="359881" y="23822"/>
                      <a:pt x="451908" y="115994"/>
                      <a:pt x="451908" y="238222"/>
                    </a:cubicBezTo>
                    <a:cubicBezTo>
                      <a:pt x="451908" y="271059"/>
                      <a:pt x="425242" y="297776"/>
                      <a:pt x="392446" y="297776"/>
                    </a:cubicBezTo>
                    <a:cubicBezTo>
                      <a:pt x="359649" y="297776"/>
                      <a:pt x="332985" y="271058"/>
                      <a:pt x="332985" y="238222"/>
                    </a:cubicBezTo>
                    <a:cubicBezTo>
                      <a:pt x="332985" y="182121"/>
                      <a:pt x="293871" y="142933"/>
                      <a:pt x="237847" y="142933"/>
                    </a:cubicBezTo>
                    <a:cubicBezTo>
                      <a:pt x="181823" y="142933"/>
                      <a:pt x="142709" y="182121"/>
                      <a:pt x="142709" y="238222"/>
                    </a:cubicBezTo>
                    <a:cubicBezTo>
                      <a:pt x="142709" y="315946"/>
                      <a:pt x="186608" y="381329"/>
                      <a:pt x="269645" y="427309"/>
                    </a:cubicBezTo>
                    <a:cubicBezTo>
                      <a:pt x="271480" y="428322"/>
                      <a:pt x="273455" y="428798"/>
                      <a:pt x="275406" y="428798"/>
                    </a:cubicBezTo>
                    <a:cubicBezTo>
                      <a:pt x="279587" y="428798"/>
                      <a:pt x="283652" y="426576"/>
                      <a:pt x="285811" y="422645"/>
                    </a:cubicBezTo>
                    <a:cubicBezTo>
                      <a:pt x="288993" y="416887"/>
                      <a:pt x="286903" y="409640"/>
                      <a:pt x="281166" y="406465"/>
                    </a:cubicBezTo>
                    <a:cubicBezTo>
                      <a:pt x="205072" y="364334"/>
                      <a:pt x="166492" y="307733"/>
                      <a:pt x="166492" y="238220"/>
                    </a:cubicBezTo>
                    <a:cubicBezTo>
                      <a:pt x="166492" y="188855"/>
                      <a:pt x="202332" y="166754"/>
                      <a:pt x="237846" y="166754"/>
                    </a:cubicBezTo>
                    <a:cubicBezTo>
                      <a:pt x="273360" y="166754"/>
                      <a:pt x="309200" y="188855"/>
                      <a:pt x="309200" y="238220"/>
                    </a:cubicBezTo>
                    <a:cubicBezTo>
                      <a:pt x="309200" y="284190"/>
                      <a:pt x="346549" y="321597"/>
                      <a:pt x="392446" y="321597"/>
                    </a:cubicBezTo>
                    <a:cubicBezTo>
                      <a:pt x="438344" y="321597"/>
                      <a:pt x="475693" y="284189"/>
                      <a:pt x="475693" y="238220"/>
                    </a:cubicBezTo>
                    <a:cubicBezTo>
                      <a:pt x="475692" y="102407"/>
                      <a:pt x="373446" y="0"/>
                      <a:pt x="237846" y="0"/>
                    </a:cubicBezTo>
                    <a:close/>
                  </a:path>
                </a:pathLst>
              </a:custGeom>
              <a:solidFill>
                <a:schemeClr val="bg1"/>
              </a:solidFill>
              <a:ln w="10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grpSp>
        <p:pic>
          <p:nvPicPr>
            <p:cNvPr id="114" name="Gráfico 211">
              <a:extLst>
                <a:ext uri="{FF2B5EF4-FFF2-40B4-BE49-F238E27FC236}">
                  <a16:creationId xmlns:a16="http://schemas.microsoft.com/office/drawing/2014/main" id="{9510C87C-CA89-11B3-F159-B79ED32C2F41}"/>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rcRect/>
            <a:stretch/>
          </p:blipFill>
          <p:spPr>
            <a:xfrm>
              <a:off x="9075817" y="1367599"/>
              <a:ext cx="107094" cy="102677"/>
            </a:xfrm>
            <a:prstGeom prst="rect">
              <a:avLst/>
            </a:prstGeom>
          </p:spPr>
        </p:pic>
        <p:sp>
          <p:nvSpPr>
            <p:cNvPr id="115" name="Rectangle: Rounded Corners 51">
              <a:extLst>
                <a:ext uri="{FF2B5EF4-FFF2-40B4-BE49-F238E27FC236}">
                  <a16:creationId xmlns:a16="http://schemas.microsoft.com/office/drawing/2014/main" id="{EB07F8A7-DA65-72D5-AFF1-03B8D6638E56}"/>
                </a:ext>
              </a:extLst>
            </p:cNvPr>
            <p:cNvSpPr/>
            <p:nvPr/>
          </p:nvSpPr>
          <p:spPr>
            <a:xfrm>
              <a:off x="9226159" y="1351305"/>
              <a:ext cx="176551" cy="12691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sp>
          <p:nvSpPr>
            <p:cNvPr id="117" name="Rectangle: Rounded Corners 52">
              <a:extLst>
                <a:ext uri="{FF2B5EF4-FFF2-40B4-BE49-F238E27FC236}">
                  <a16:creationId xmlns:a16="http://schemas.microsoft.com/office/drawing/2014/main" id="{2B263FD1-9F88-E746-0DC5-84BE0158FFA2}"/>
                </a:ext>
              </a:extLst>
            </p:cNvPr>
            <p:cNvSpPr/>
            <p:nvPr/>
          </p:nvSpPr>
          <p:spPr>
            <a:xfrm>
              <a:off x="9410717" y="1353012"/>
              <a:ext cx="176551" cy="12691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pic>
          <p:nvPicPr>
            <p:cNvPr id="118" name="Gráfico 220">
              <a:extLst>
                <a:ext uri="{FF2B5EF4-FFF2-40B4-BE49-F238E27FC236}">
                  <a16:creationId xmlns:a16="http://schemas.microsoft.com/office/drawing/2014/main" id="{A7921034-40F6-8DBD-8AD4-6D629E910748}"/>
                </a:ext>
              </a:extLst>
            </p:cNvPr>
            <p:cNvPicPr>
              <a:picLocks noChangeAspect="1"/>
            </p:cNvPicPr>
            <p:nvPr/>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rcRect/>
            <a:stretch/>
          </p:blipFill>
          <p:spPr>
            <a:xfrm>
              <a:off x="9261411" y="1365695"/>
              <a:ext cx="105163" cy="100826"/>
            </a:xfrm>
            <a:prstGeom prst="rect">
              <a:avLst/>
            </a:prstGeom>
          </p:spPr>
        </p:pic>
        <p:pic>
          <p:nvPicPr>
            <p:cNvPr id="119" name="Gráfico 234">
              <a:extLst>
                <a:ext uri="{FF2B5EF4-FFF2-40B4-BE49-F238E27FC236}">
                  <a16:creationId xmlns:a16="http://schemas.microsoft.com/office/drawing/2014/main" id="{35C4D574-C3CC-8839-B70D-B5A29C478B01}"/>
                </a:ext>
              </a:extLst>
            </p:cNvPr>
            <p:cNvPicPr>
              <a:picLocks noChangeAspect="1"/>
            </p:cNvPicPr>
            <p:nvPr/>
          </p:nvPicPr>
          <p:blipFill>
            <a:blip r:embed="rId14" cstate="print">
              <a:extLst>
                <a:ext uri="{28A0092B-C50C-407E-A947-70E740481C1C}">
                  <a14:useLocalDpi xmlns:a14="http://schemas.microsoft.com/office/drawing/2010/main"/>
                </a:ext>
                <a:ext uri="{96DAC541-7B7A-43D3-8B79-37D633B846F1}">
                  <asvg:svgBlip xmlns:asvg="http://schemas.microsoft.com/office/drawing/2016/SVG/main" r:embed="rId15"/>
                </a:ext>
              </a:extLst>
            </a:blip>
            <a:srcRect/>
            <a:stretch/>
          </p:blipFill>
          <p:spPr>
            <a:xfrm>
              <a:off x="9442604" y="1363270"/>
              <a:ext cx="106117" cy="101742"/>
            </a:xfrm>
            <a:prstGeom prst="rect">
              <a:avLst/>
            </a:prstGeom>
          </p:spPr>
        </p:pic>
        <p:grpSp>
          <p:nvGrpSpPr>
            <p:cNvPr id="120" name="Gráfico 93">
              <a:extLst>
                <a:ext uri="{FF2B5EF4-FFF2-40B4-BE49-F238E27FC236}">
                  <a16:creationId xmlns:a16="http://schemas.microsoft.com/office/drawing/2014/main" id="{9208CA6B-5CD5-5407-326A-F0AAAED7EA81}"/>
                </a:ext>
              </a:extLst>
            </p:cNvPr>
            <p:cNvGrpSpPr/>
            <p:nvPr/>
          </p:nvGrpSpPr>
          <p:grpSpPr>
            <a:xfrm>
              <a:off x="9240790" y="1117839"/>
              <a:ext cx="46178" cy="44274"/>
              <a:chOff x="2827562" y="5657036"/>
              <a:chExt cx="570830" cy="570830"/>
            </a:xfrm>
            <a:solidFill>
              <a:schemeClr val="bg1"/>
            </a:solidFill>
          </p:grpSpPr>
          <p:sp>
            <p:nvSpPr>
              <p:cNvPr id="132" name="Forma libre 277">
                <a:extLst>
                  <a:ext uri="{FF2B5EF4-FFF2-40B4-BE49-F238E27FC236}">
                    <a16:creationId xmlns:a16="http://schemas.microsoft.com/office/drawing/2014/main" id="{3729C211-90DD-FA31-34C3-8C22C6356141}"/>
                  </a:ext>
                </a:extLst>
              </p:cNvPr>
              <p:cNvSpPr/>
              <p:nvPr/>
            </p:nvSpPr>
            <p:spPr>
              <a:xfrm>
                <a:off x="2991448" y="6013805"/>
                <a:ext cx="195486" cy="166492"/>
              </a:xfrm>
              <a:custGeom>
                <a:avLst/>
                <a:gdLst>
                  <a:gd name="connsiteX0" fmla="*/ 192720 w 195486"/>
                  <a:gd name="connsiteY0" fmla="*/ 4273 h 166492"/>
                  <a:gd name="connsiteX1" fmla="*/ 183592 w 195486"/>
                  <a:gd name="connsiteY1" fmla="*/ 0 h 166492"/>
                  <a:gd name="connsiteX2" fmla="*/ 11896 w 195486"/>
                  <a:gd name="connsiteY2" fmla="*/ 0 h 166492"/>
                  <a:gd name="connsiteX3" fmla="*/ 2768 w 195486"/>
                  <a:gd name="connsiteY3" fmla="*/ 4273 h 166492"/>
                  <a:gd name="connsiteX4" fmla="*/ 189 w 195486"/>
                  <a:gd name="connsiteY4" fmla="*/ 14005 h 166492"/>
                  <a:gd name="connsiteX5" fmla="*/ 97743 w 195486"/>
                  <a:gd name="connsiteY5" fmla="*/ 166492 h 166492"/>
                  <a:gd name="connsiteX6" fmla="*/ 195297 w 195486"/>
                  <a:gd name="connsiteY6" fmla="*/ 14005 h 166492"/>
                  <a:gd name="connsiteX7" fmla="*/ 192720 w 195486"/>
                  <a:gd name="connsiteY7" fmla="*/ 4273 h 166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86" h="166492">
                    <a:moveTo>
                      <a:pt x="192720" y="4273"/>
                    </a:moveTo>
                    <a:cubicBezTo>
                      <a:pt x="190467" y="1555"/>
                      <a:pt x="187123" y="0"/>
                      <a:pt x="183592" y="0"/>
                    </a:cubicBezTo>
                    <a:lnTo>
                      <a:pt x="11896" y="0"/>
                    </a:lnTo>
                    <a:cubicBezTo>
                      <a:pt x="8365" y="0"/>
                      <a:pt x="5021" y="1556"/>
                      <a:pt x="2768" y="4273"/>
                    </a:cubicBezTo>
                    <a:cubicBezTo>
                      <a:pt x="514" y="6968"/>
                      <a:pt x="-438" y="10545"/>
                      <a:pt x="189" y="14005"/>
                    </a:cubicBezTo>
                    <a:cubicBezTo>
                      <a:pt x="17470" y="109493"/>
                      <a:pt x="53936" y="166492"/>
                      <a:pt x="97743" y="166492"/>
                    </a:cubicBezTo>
                    <a:cubicBezTo>
                      <a:pt x="141550" y="166492"/>
                      <a:pt x="178016" y="109493"/>
                      <a:pt x="195297" y="14005"/>
                    </a:cubicBezTo>
                    <a:cubicBezTo>
                      <a:pt x="195926" y="10545"/>
                      <a:pt x="194974" y="6968"/>
                      <a:pt x="192720" y="4273"/>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34" name="Forma libre 278">
                <a:extLst>
                  <a:ext uri="{FF2B5EF4-FFF2-40B4-BE49-F238E27FC236}">
                    <a16:creationId xmlns:a16="http://schemas.microsoft.com/office/drawing/2014/main" id="{7ACD0ED6-5895-DBAD-0BC9-C09CE7D0AB42}"/>
                  </a:ext>
                </a:extLst>
              </p:cNvPr>
              <p:cNvSpPr/>
              <p:nvPr/>
            </p:nvSpPr>
            <p:spPr>
              <a:xfrm>
                <a:off x="2982162" y="5847313"/>
                <a:ext cx="214060" cy="142707"/>
              </a:xfrm>
              <a:custGeom>
                <a:avLst/>
                <a:gdLst>
                  <a:gd name="connsiteX0" fmla="*/ 199335 w 214060"/>
                  <a:gd name="connsiteY0" fmla="*/ 0 h 142707"/>
                  <a:gd name="connsiteX1" fmla="*/ 14726 w 214060"/>
                  <a:gd name="connsiteY1" fmla="*/ 0 h 142707"/>
                  <a:gd name="connsiteX2" fmla="*/ 2880 w 214060"/>
                  <a:gd name="connsiteY2" fmla="*/ 10778 h 142707"/>
                  <a:gd name="connsiteX3" fmla="*/ 0 w 214060"/>
                  <a:gd name="connsiteY3" fmla="*/ 71354 h 142707"/>
                  <a:gd name="connsiteX4" fmla="*/ 2880 w 214060"/>
                  <a:gd name="connsiteY4" fmla="*/ 131930 h 142707"/>
                  <a:gd name="connsiteX5" fmla="*/ 14726 w 214060"/>
                  <a:gd name="connsiteY5" fmla="*/ 142708 h 142707"/>
                  <a:gd name="connsiteX6" fmla="*/ 199335 w 214060"/>
                  <a:gd name="connsiteY6" fmla="*/ 142708 h 142707"/>
                  <a:gd name="connsiteX7" fmla="*/ 211181 w 214060"/>
                  <a:gd name="connsiteY7" fmla="*/ 131930 h 142707"/>
                  <a:gd name="connsiteX8" fmla="*/ 214060 w 214060"/>
                  <a:gd name="connsiteY8" fmla="*/ 71354 h 142707"/>
                  <a:gd name="connsiteX9" fmla="*/ 211181 w 214060"/>
                  <a:gd name="connsiteY9" fmla="*/ 10778 h 142707"/>
                  <a:gd name="connsiteX10" fmla="*/ 199335 w 214060"/>
                  <a:gd name="connsiteY10" fmla="*/ 0 h 14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4060" h="142707">
                    <a:moveTo>
                      <a:pt x="199335" y="0"/>
                    </a:moveTo>
                    <a:lnTo>
                      <a:pt x="14726" y="0"/>
                    </a:lnTo>
                    <a:cubicBezTo>
                      <a:pt x="8594" y="0"/>
                      <a:pt x="3461" y="4669"/>
                      <a:pt x="2880" y="10778"/>
                    </a:cubicBezTo>
                    <a:cubicBezTo>
                      <a:pt x="976" y="31217"/>
                      <a:pt x="0" y="51611"/>
                      <a:pt x="0" y="71354"/>
                    </a:cubicBezTo>
                    <a:cubicBezTo>
                      <a:pt x="0" y="91097"/>
                      <a:pt x="976" y="111490"/>
                      <a:pt x="2880" y="131930"/>
                    </a:cubicBezTo>
                    <a:cubicBezTo>
                      <a:pt x="3461" y="138039"/>
                      <a:pt x="8594" y="142708"/>
                      <a:pt x="14726" y="142708"/>
                    </a:cubicBezTo>
                    <a:lnTo>
                      <a:pt x="199335" y="142708"/>
                    </a:lnTo>
                    <a:cubicBezTo>
                      <a:pt x="205467" y="142708"/>
                      <a:pt x="210600" y="138039"/>
                      <a:pt x="211181" y="131930"/>
                    </a:cubicBezTo>
                    <a:cubicBezTo>
                      <a:pt x="213085" y="111490"/>
                      <a:pt x="214060" y="91097"/>
                      <a:pt x="214060" y="71354"/>
                    </a:cubicBezTo>
                    <a:cubicBezTo>
                      <a:pt x="214060" y="51611"/>
                      <a:pt x="213085" y="31217"/>
                      <a:pt x="211181" y="10778"/>
                    </a:cubicBezTo>
                    <a:cubicBezTo>
                      <a:pt x="210601" y="4668"/>
                      <a:pt x="205467" y="0"/>
                      <a:pt x="199335" y="0"/>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35" name="Forma libre 279">
                <a:extLst>
                  <a:ext uri="{FF2B5EF4-FFF2-40B4-BE49-F238E27FC236}">
                    <a16:creationId xmlns:a16="http://schemas.microsoft.com/office/drawing/2014/main" id="{1059D63F-7359-40F3-4469-B2296E1C74D0}"/>
                  </a:ext>
                </a:extLst>
              </p:cNvPr>
              <p:cNvSpPr/>
              <p:nvPr/>
            </p:nvSpPr>
            <p:spPr>
              <a:xfrm>
                <a:off x="2991449" y="5657036"/>
                <a:ext cx="195487" cy="166491"/>
              </a:xfrm>
              <a:custGeom>
                <a:avLst/>
                <a:gdLst>
                  <a:gd name="connsiteX0" fmla="*/ 2767 w 195487"/>
                  <a:gd name="connsiteY0" fmla="*/ 162219 h 166491"/>
                  <a:gd name="connsiteX1" fmla="*/ 11896 w 195487"/>
                  <a:gd name="connsiteY1" fmla="*/ 166492 h 166491"/>
                  <a:gd name="connsiteX2" fmla="*/ 183591 w 195487"/>
                  <a:gd name="connsiteY2" fmla="*/ 166492 h 166491"/>
                  <a:gd name="connsiteX3" fmla="*/ 192720 w 195487"/>
                  <a:gd name="connsiteY3" fmla="*/ 162219 h 166491"/>
                  <a:gd name="connsiteX4" fmla="*/ 195299 w 195487"/>
                  <a:gd name="connsiteY4" fmla="*/ 152487 h 166491"/>
                  <a:gd name="connsiteX5" fmla="*/ 97743 w 195487"/>
                  <a:gd name="connsiteY5" fmla="*/ 0 h 166491"/>
                  <a:gd name="connsiteX6" fmla="*/ 189 w 195487"/>
                  <a:gd name="connsiteY6" fmla="*/ 152487 h 166491"/>
                  <a:gd name="connsiteX7" fmla="*/ 2767 w 195487"/>
                  <a:gd name="connsiteY7" fmla="*/ 162219 h 166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87" h="166491">
                    <a:moveTo>
                      <a:pt x="2767" y="162219"/>
                    </a:moveTo>
                    <a:cubicBezTo>
                      <a:pt x="5020" y="164937"/>
                      <a:pt x="8365" y="166492"/>
                      <a:pt x="11896" y="166492"/>
                    </a:cubicBezTo>
                    <a:lnTo>
                      <a:pt x="183591" y="166492"/>
                    </a:lnTo>
                    <a:cubicBezTo>
                      <a:pt x="187122" y="166492"/>
                      <a:pt x="190467" y="164936"/>
                      <a:pt x="192720" y="162219"/>
                    </a:cubicBezTo>
                    <a:cubicBezTo>
                      <a:pt x="194973" y="159524"/>
                      <a:pt x="195925" y="155947"/>
                      <a:pt x="195299" y="152487"/>
                    </a:cubicBezTo>
                    <a:cubicBezTo>
                      <a:pt x="178017" y="56999"/>
                      <a:pt x="141549" y="0"/>
                      <a:pt x="97743" y="0"/>
                    </a:cubicBezTo>
                    <a:cubicBezTo>
                      <a:pt x="53937" y="0"/>
                      <a:pt x="17470" y="56999"/>
                      <a:pt x="189" y="152487"/>
                    </a:cubicBezTo>
                    <a:cubicBezTo>
                      <a:pt x="-438" y="155947"/>
                      <a:pt x="514" y="159524"/>
                      <a:pt x="2767" y="162219"/>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36" name="Forma libre 280">
                <a:extLst>
                  <a:ext uri="{FF2B5EF4-FFF2-40B4-BE49-F238E27FC236}">
                    <a16:creationId xmlns:a16="http://schemas.microsoft.com/office/drawing/2014/main" id="{CD8563E3-0A4D-1C0D-A596-2DFFD7E59A91}"/>
                  </a:ext>
                </a:extLst>
              </p:cNvPr>
              <p:cNvSpPr/>
              <p:nvPr/>
            </p:nvSpPr>
            <p:spPr>
              <a:xfrm>
                <a:off x="3231899" y="5942451"/>
                <a:ext cx="166493" cy="166493"/>
              </a:xfrm>
              <a:custGeom>
                <a:avLst/>
                <a:gdLst>
                  <a:gd name="connsiteX0" fmla="*/ 166493 w 166493"/>
                  <a:gd name="connsiteY0" fmla="*/ 83247 h 166493"/>
                  <a:gd name="connsiteX1" fmla="*/ 83247 w 166493"/>
                  <a:gd name="connsiteY1" fmla="*/ 166493 h 166493"/>
                  <a:gd name="connsiteX2" fmla="*/ 0 w 166493"/>
                  <a:gd name="connsiteY2" fmla="*/ 83247 h 166493"/>
                  <a:gd name="connsiteX3" fmla="*/ 83247 w 166493"/>
                  <a:gd name="connsiteY3" fmla="*/ 0 h 166493"/>
                  <a:gd name="connsiteX4" fmla="*/ 166493 w 166493"/>
                  <a:gd name="connsiteY4" fmla="*/ 83247 h 1664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93" h="166493">
                    <a:moveTo>
                      <a:pt x="166493" y="83247"/>
                    </a:moveTo>
                    <a:cubicBezTo>
                      <a:pt x="166493" y="129222"/>
                      <a:pt x="129222" y="166493"/>
                      <a:pt x="83247" y="166493"/>
                    </a:cubicBezTo>
                    <a:cubicBezTo>
                      <a:pt x="37271" y="166493"/>
                      <a:pt x="0" y="129222"/>
                      <a:pt x="0" y="83247"/>
                    </a:cubicBezTo>
                    <a:cubicBezTo>
                      <a:pt x="0" y="37271"/>
                      <a:pt x="37271" y="0"/>
                      <a:pt x="83247" y="0"/>
                    </a:cubicBezTo>
                    <a:cubicBezTo>
                      <a:pt x="129222" y="0"/>
                      <a:pt x="166493" y="37271"/>
                      <a:pt x="166493" y="83247"/>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37" name="Forma libre 281">
                <a:extLst>
                  <a:ext uri="{FF2B5EF4-FFF2-40B4-BE49-F238E27FC236}">
                    <a16:creationId xmlns:a16="http://schemas.microsoft.com/office/drawing/2014/main" id="{35450DB9-6D2C-33F6-2B63-5B8B8EC77182}"/>
                  </a:ext>
                </a:extLst>
              </p:cNvPr>
              <p:cNvSpPr/>
              <p:nvPr/>
            </p:nvSpPr>
            <p:spPr>
              <a:xfrm>
                <a:off x="2827562" y="5847312"/>
                <a:ext cx="133489" cy="142708"/>
              </a:xfrm>
              <a:custGeom>
                <a:avLst/>
                <a:gdLst>
                  <a:gd name="connsiteX0" fmla="*/ 130375 w 133489"/>
                  <a:gd name="connsiteY0" fmla="*/ 138852 h 142708"/>
                  <a:gd name="connsiteX1" fmla="*/ 133441 w 133489"/>
                  <a:gd name="connsiteY1" fmla="*/ 129770 h 142708"/>
                  <a:gd name="connsiteX2" fmla="*/ 130816 w 133489"/>
                  <a:gd name="connsiteY2" fmla="*/ 71354 h 142708"/>
                  <a:gd name="connsiteX3" fmla="*/ 133441 w 133489"/>
                  <a:gd name="connsiteY3" fmla="*/ 12937 h 142708"/>
                  <a:gd name="connsiteX4" fmla="*/ 130375 w 133489"/>
                  <a:gd name="connsiteY4" fmla="*/ 3855 h 142708"/>
                  <a:gd name="connsiteX5" fmla="*/ 121595 w 133489"/>
                  <a:gd name="connsiteY5" fmla="*/ 0 h 142708"/>
                  <a:gd name="connsiteX6" fmla="*/ 19325 w 133489"/>
                  <a:gd name="connsiteY6" fmla="*/ 0 h 142708"/>
                  <a:gd name="connsiteX7" fmla="*/ 7781 w 133489"/>
                  <a:gd name="connsiteY7" fmla="*/ 9059 h 142708"/>
                  <a:gd name="connsiteX8" fmla="*/ 0 w 133489"/>
                  <a:gd name="connsiteY8" fmla="*/ 71355 h 142708"/>
                  <a:gd name="connsiteX9" fmla="*/ 7781 w 133489"/>
                  <a:gd name="connsiteY9" fmla="*/ 133650 h 142708"/>
                  <a:gd name="connsiteX10" fmla="*/ 19325 w 133489"/>
                  <a:gd name="connsiteY10" fmla="*/ 142709 h 142708"/>
                  <a:gd name="connsiteX11" fmla="*/ 121594 w 133489"/>
                  <a:gd name="connsiteY11" fmla="*/ 142709 h 142708"/>
                  <a:gd name="connsiteX12" fmla="*/ 130375 w 133489"/>
                  <a:gd name="connsiteY12" fmla="*/ 138852 h 142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3489" h="142708">
                    <a:moveTo>
                      <a:pt x="130375" y="138852"/>
                    </a:moveTo>
                    <a:cubicBezTo>
                      <a:pt x="132628" y="136391"/>
                      <a:pt x="133743" y="133092"/>
                      <a:pt x="133441" y="129770"/>
                    </a:cubicBezTo>
                    <a:cubicBezTo>
                      <a:pt x="131698" y="110028"/>
                      <a:pt x="130816" y="90377"/>
                      <a:pt x="130816" y="71354"/>
                    </a:cubicBezTo>
                    <a:cubicBezTo>
                      <a:pt x="130816" y="52330"/>
                      <a:pt x="131699" y="32680"/>
                      <a:pt x="133441" y="12937"/>
                    </a:cubicBezTo>
                    <a:cubicBezTo>
                      <a:pt x="133743" y="9616"/>
                      <a:pt x="132628" y="6317"/>
                      <a:pt x="130375" y="3855"/>
                    </a:cubicBezTo>
                    <a:cubicBezTo>
                      <a:pt x="128121" y="1394"/>
                      <a:pt x="124940" y="0"/>
                      <a:pt x="121595" y="0"/>
                    </a:cubicBezTo>
                    <a:lnTo>
                      <a:pt x="19325" y="0"/>
                    </a:lnTo>
                    <a:cubicBezTo>
                      <a:pt x="13844" y="0"/>
                      <a:pt x="9082" y="3739"/>
                      <a:pt x="7781" y="9059"/>
                    </a:cubicBezTo>
                    <a:cubicBezTo>
                      <a:pt x="2624" y="30057"/>
                      <a:pt x="0" y="51008"/>
                      <a:pt x="0" y="71355"/>
                    </a:cubicBezTo>
                    <a:cubicBezTo>
                      <a:pt x="0" y="91702"/>
                      <a:pt x="2624" y="112653"/>
                      <a:pt x="7781" y="133650"/>
                    </a:cubicBezTo>
                    <a:cubicBezTo>
                      <a:pt x="9082" y="138969"/>
                      <a:pt x="13844" y="142709"/>
                      <a:pt x="19325" y="142709"/>
                    </a:cubicBezTo>
                    <a:lnTo>
                      <a:pt x="121594" y="142709"/>
                    </a:lnTo>
                    <a:cubicBezTo>
                      <a:pt x="124940" y="142709"/>
                      <a:pt x="128121" y="141315"/>
                      <a:pt x="130375" y="138852"/>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38" name="Forma libre 282">
                <a:extLst>
                  <a:ext uri="{FF2B5EF4-FFF2-40B4-BE49-F238E27FC236}">
                    <a16:creationId xmlns:a16="http://schemas.microsoft.com/office/drawing/2014/main" id="{32B24687-18BB-43BC-29F4-2379E9B5BF08}"/>
                  </a:ext>
                </a:extLst>
              </p:cNvPr>
              <p:cNvSpPr/>
              <p:nvPr/>
            </p:nvSpPr>
            <p:spPr>
              <a:xfrm>
                <a:off x="3170995" y="5675310"/>
                <a:ext cx="155349" cy="148218"/>
              </a:xfrm>
              <a:custGeom>
                <a:avLst/>
                <a:gdLst>
                  <a:gd name="connsiteX0" fmla="*/ 40627 w 155349"/>
                  <a:gd name="connsiteY0" fmla="*/ 138277 h 148218"/>
                  <a:gd name="connsiteX1" fmla="*/ 52357 w 155349"/>
                  <a:gd name="connsiteY1" fmla="*/ 148218 h 148218"/>
                  <a:gd name="connsiteX2" fmla="*/ 143454 w 155349"/>
                  <a:gd name="connsiteY2" fmla="*/ 148218 h 148218"/>
                  <a:gd name="connsiteX3" fmla="*/ 153511 w 155349"/>
                  <a:gd name="connsiteY3" fmla="*/ 142690 h 148218"/>
                  <a:gd name="connsiteX4" fmla="*/ 154185 w 155349"/>
                  <a:gd name="connsiteY4" fmla="*/ 131216 h 148218"/>
                  <a:gd name="connsiteX5" fmla="*/ 16378 w 155349"/>
                  <a:gd name="connsiteY5" fmla="*/ 888 h 148218"/>
                  <a:gd name="connsiteX6" fmla="*/ 2953 w 155349"/>
                  <a:gd name="connsiteY6" fmla="*/ 4070 h 148218"/>
                  <a:gd name="connsiteX7" fmla="*/ 1559 w 155349"/>
                  <a:gd name="connsiteY7" fmla="*/ 17798 h 148218"/>
                  <a:gd name="connsiteX8" fmla="*/ 40627 w 155349"/>
                  <a:gd name="connsiteY8" fmla="*/ 138277 h 148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349" h="148218">
                    <a:moveTo>
                      <a:pt x="40627" y="138277"/>
                    </a:moveTo>
                    <a:cubicBezTo>
                      <a:pt x="41580" y="144014"/>
                      <a:pt x="46527" y="148218"/>
                      <a:pt x="52357" y="148218"/>
                    </a:cubicBezTo>
                    <a:lnTo>
                      <a:pt x="143454" y="148218"/>
                    </a:lnTo>
                    <a:cubicBezTo>
                      <a:pt x="147542" y="148218"/>
                      <a:pt x="151329" y="146128"/>
                      <a:pt x="153511" y="142690"/>
                    </a:cubicBezTo>
                    <a:cubicBezTo>
                      <a:pt x="155694" y="139230"/>
                      <a:pt x="155951" y="134910"/>
                      <a:pt x="154185" y="131216"/>
                    </a:cubicBezTo>
                    <a:cubicBezTo>
                      <a:pt x="125963" y="71777"/>
                      <a:pt x="77025" y="25508"/>
                      <a:pt x="16378" y="888"/>
                    </a:cubicBezTo>
                    <a:cubicBezTo>
                      <a:pt x="11663" y="-1040"/>
                      <a:pt x="6297" y="238"/>
                      <a:pt x="2953" y="4070"/>
                    </a:cubicBezTo>
                    <a:cubicBezTo>
                      <a:pt x="-392" y="7880"/>
                      <a:pt x="-950" y="13384"/>
                      <a:pt x="1559" y="17798"/>
                    </a:cubicBezTo>
                    <a:cubicBezTo>
                      <a:pt x="19189" y="48690"/>
                      <a:pt x="32707" y="90359"/>
                      <a:pt x="40627" y="138277"/>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39" name="Forma libre 283">
                <a:extLst>
                  <a:ext uri="{FF2B5EF4-FFF2-40B4-BE49-F238E27FC236}">
                    <a16:creationId xmlns:a16="http://schemas.microsoft.com/office/drawing/2014/main" id="{B179F944-C5E6-3669-9E1B-56734B70523D}"/>
                  </a:ext>
                </a:extLst>
              </p:cNvPr>
              <p:cNvSpPr/>
              <p:nvPr/>
            </p:nvSpPr>
            <p:spPr>
              <a:xfrm>
                <a:off x="2851924" y="5675353"/>
                <a:ext cx="155419" cy="148174"/>
              </a:xfrm>
              <a:custGeom>
                <a:avLst/>
                <a:gdLst>
                  <a:gd name="connsiteX0" fmla="*/ 11895 w 155419"/>
                  <a:gd name="connsiteY0" fmla="*/ 148174 h 148174"/>
                  <a:gd name="connsiteX1" fmla="*/ 103109 w 155419"/>
                  <a:gd name="connsiteY1" fmla="*/ 148174 h 148174"/>
                  <a:gd name="connsiteX2" fmla="*/ 114839 w 155419"/>
                  <a:gd name="connsiteY2" fmla="*/ 138233 h 148174"/>
                  <a:gd name="connsiteX3" fmla="*/ 153860 w 155419"/>
                  <a:gd name="connsiteY3" fmla="*/ 17800 h 148174"/>
                  <a:gd name="connsiteX4" fmla="*/ 152467 w 155419"/>
                  <a:gd name="connsiteY4" fmla="*/ 4095 h 148174"/>
                  <a:gd name="connsiteX5" fmla="*/ 139065 w 155419"/>
                  <a:gd name="connsiteY5" fmla="*/ 913 h 148174"/>
                  <a:gd name="connsiteX6" fmla="*/ 1164 w 155419"/>
                  <a:gd name="connsiteY6" fmla="*/ 131172 h 148174"/>
                  <a:gd name="connsiteX7" fmla="*/ 1838 w 155419"/>
                  <a:gd name="connsiteY7" fmla="*/ 142623 h 148174"/>
                  <a:gd name="connsiteX8" fmla="*/ 11895 w 155419"/>
                  <a:gd name="connsiteY8" fmla="*/ 148174 h 148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419" h="148174">
                    <a:moveTo>
                      <a:pt x="11895" y="148174"/>
                    </a:moveTo>
                    <a:lnTo>
                      <a:pt x="103109" y="148174"/>
                    </a:lnTo>
                    <a:cubicBezTo>
                      <a:pt x="108939" y="148174"/>
                      <a:pt x="113887" y="143970"/>
                      <a:pt x="114839" y="138233"/>
                    </a:cubicBezTo>
                    <a:cubicBezTo>
                      <a:pt x="122759" y="90339"/>
                      <a:pt x="136254" y="48692"/>
                      <a:pt x="153860" y="17800"/>
                    </a:cubicBezTo>
                    <a:cubicBezTo>
                      <a:pt x="156369" y="13409"/>
                      <a:pt x="155811" y="7905"/>
                      <a:pt x="152467" y="4095"/>
                    </a:cubicBezTo>
                    <a:cubicBezTo>
                      <a:pt x="149122" y="240"/>
                      <a:pt x="143687" y="-1061"/>
                      <a:pt x="139065" y="913"/>
                    </a:cubicBezTo>
                    <a:cubicBezTo>
                      <a:pt x="78371" y="25513"/>
                      <a:pt x="29408" y="71781"/>
                      <a:pt x="1164" y="131172"/>
                    </a:cubicBezTo>
                    <a:cubicBezTo>
                      <a:pt x="-601" y="134866"/>
                      <a:pt x="-345" y="139186"/>
                      <a:pt x="1838" y="142623"/>
                    </a:cubicBezTo>
                    <a:cubicBezTo>
                      <a:pt x="4021" y="146084"/>
                      <a:pt x="7807" y="148174"/>
                      <a:pt x="11895" y="148174"/>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40" name="Forma libre 284">
                <a:extLst>
                  <a:ext uri="{FF2B5EF4-FFF2-40B4-BE49-F238E27FC236}">
                    <a16:creationId xmlns:a16="http://schemas.microsoft.com/office/drawing/2014/main" id="{A0A9BE16-CC9F-652D-230E-AEC222B45045}"/>
                  </a:ext>
                </a:extLst>
              </p:cNvPr>
              <p:cNvSpPr/>
              <p:nvPr/>
            </p:nvSpPr>
            <p:spPr>
              <a:xfrm>
                <a:off x="3217335" y="5847313"/>
                <a:ext cx="133009" cy="105915"/>
              </a:xfrm>
              <a:custGeom>
                <a:avLst/>
                <a:gdLst>
                  <a:gd name="connsiteX0" fmla="*/ 3115 w 133009"/>
                  <a:gd name="connsiteY0" fmla="*/ 3855 h 105915"/>
                  <a:gd name="connsiteX1" fmla="*/ 49 w 133009"/>
                  <a:gd name="connsiteY1" fmla="*/ 12937 h 105915"/>
                  <a:gd name="connsiteX2" fmla="*/ 2673 w 133009"/>
                  <a:gd name="connsiteY2" fmla="*/ 71354 h 105915"/>
                  <a:gd name="connsiteX3" fmla="*/ 2232 w 133009"/>
                  <a:gd name="connsiteY3" fmla="*/ 93629 h 105915"/>
                  <a:gd name="connsiteX4" fmla="*/ 9363 w 133009"/>
                  <a:gd name="connsiteY4" fmla="*/ 104917 h 105915"/>
                  <a:gd name="connsiteX5" fmla="*/ 14124 w 133009"/>
                  <a:gd name="connsiteY5" fmla="*/ 105916 h 105915"/>
                  <a:gd name="connsiteX6" fmla="*/ 22486 w 133009"/>
                  <a:gd name="connsiteY6" fmla="*/ 102479 h 105915"/>
                  <a:gd name="connsiteX7" fmla="*/ 118809 w 133009"/>
                  <a:gd name="connsiteY7" fmla="*/ 73468 h 105915"/>
                  <a:gd name="connsiteX8" fmla="*/ 128844 w 133009"/>
                  <a:gd name="connsiteY8" fmla="*/ 70843 h 105915"/>
                  <a:gd name="connsiteX9" fmla="*/ 133001 w 133009"/>
                  <a:gd name="connsiteY9" fmla="*/ 61367 h 105915"/>
                  <a:gd name="connsiteX10" fmla="*/ 125662 w 133009"/>
                  <a:gd name="connsiteY10" fmla="*/ 9082 h 105915"/>
                  <a:gd name="connsiteX11" fmla="*/ 114118 w 133009"/>
                  <a:gd name="connsiteY11" fmla="*/ 0 h 105915"/>
                  <a:gd name="connsiteX12" fmla="*/ 11895 w 133009"/>
                  <a:gd name="connsiteY12" fmla="*/ 0 h 105915"/>
                  <a:gd name="connsiteX13" fmla="*/ 3115 w 133009"/>
                  <a:gd name="connsiteY13" fmla="*/ 3855 h 10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009" h="105915">
                    <a:moveTo>
                      <a:pt x="3115" y="3855"/>
                    </a:moveTo>
                    <a:cubicBezTo>
                      <a:pt x="861" y="6317"/>
                      <a:pt x="-253" y="9616"/>
                      <a:pt x="49" y="12937"/>
                    </a:cubicBezTo>
                    <a:cubicBezTo>
                      <a:pt x="1791" y="32680"/>
                      <a:pt x="2673" y="52330"/>
                      <a:pt x="2673" y="71354"/>
                    </a:cubicBezTo>
                    <a:cubicBezTo>
                      <a:pt x="2673" y="78740"/>
                      <a:pt x="2487" y="86173"/>
                      <a:pt x="2232" y="93629"/>
                    </a:cubicBezTo>
                    <a:cubicBezTo>
                      <a:pt x="2069" y="98483"/>
                      <a:pt x="4903" y="102966"/>
                      <a:pt x="9363" y="104917"/>
                    </a:cubicBezTo>
                    <a:cubicBezTo>
                      <a:pt x="10896" y="105590"/>
                      <a:pt x="12521" y="105916"/>
                      <a:pt x="14124" y="105916"/>
                    </a:cubicBezTo>
                    <a:cubicBezTo>
                      <a:pt x="17190" y="105916"/>
                      <a:pt x="20233" y="104731"/>
                      <a:pt x="22486" y="102479"/>
                    </a:cubicBezTo>
                    <a:cubicBezTo>
                      <a:pt x="47664" y="77556"/>
                      <a:pt x="81715" y="66268"/>
                      <a:pt x="118809" y="73468"/>
                    </a:cubicBezTo>
                    <a:cubicBezTo>
                      <a:pt x="122433" y="74257"/>
                      <a:pt x="126056" y="73212"/>
                      <a:pt x="128844" y="70843"/>
                    </a:cubicBezTo>
                    <a:cubicBezTo>
                      <a:pt x="131607" y="68497"/>
                      <a:pt x="133140" y="64990"/>
                      <a:pt x="133001" y="61367"/>
                    </a:cubicBezTo>
                    <a:cubicBezTo>
                      <a:pt x="132328" y="43876"/>
                      <a:pt x="129865" y="26270"/>
                      <a:pt x="125662" y="9082"/>
                    </a:cubicBezTo>
                    <a:cubicBezTo>
                      <a:pt x="124360" y="3739"/>
                      <a:pt x="119599" y="0"/>
                      <a:pt x="114118" y="0"/>
                    </a:cubicBezTo>
                    <a:lnTo>
                      <a:pt x="11895" y="0"/>
                    </a:lnTo>
                    <a:cubicBezTo>
                      <a:pt x="8550" y="0"/>
                      <a:pt x="5368" y="1394"/>
                      <a:pt x="3115" y="3855"/>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41" name="Forma libre 285">
                <a:extLst>
                  <a:ext uri="{FF2B5EF4-FFF2-40B4-BE49-F238E27FC236}">
                    <a16:creationId xmlns:a16="http://schemas.microsoft.com/office/drawing/2014/main" id="{C235BF5E-684A-3DAC-D502-70F0FAD9177D}"/>
                  </a:ext>
                </a:extLst>
              </p:cNvPr>
              <p:cNvSpPr/>
              <p:nvPr/>
            </p:nvSpPr>
            <p:spPr>
              <a:xfrm>
                <a:off x="2851924" y="6013805"/>
                <a:ext cx="155419" cy="148142"/>
              </a:xfrm>
              <a:custGeom>
                <a:avLst/>
                <a:gdLst>
                  <a:gd name="connsiteX0" fmla="*/ 114838 w 155419"/>
                  <a:gd name="connsiteY0" fmla="*/ 9942 h 148142"/>
                  <a:gd name="connsiteX1" fmla="*/ 103108 w 155419"/>
                  <a:gd name="connsiteY1" fmla="*/ 0 h 148142"/>
                  <a:gd name="connsiteX2" fmla="*/ 11896 w 155419"/>
                  <a:gd name="connsiteY2" fmla="*/ 0 h 148142"/>
                  <a:gd name="connsiteX3" fmla="*/ 1838 w 155419"/>
                  <a:gd name="connsiteY3" fmla="*/ 5551 h 148142"/>
                  <a:gd name="connsiteX4" fmla="*/ 1165 w 155419"/>
                  <a:gd name="connsiteY4" fmla="*/ 17002 h 148142"/>
                  <a:gd name="connsiteX5" fmla="*/ 139065 w 155419"/>
                  <a:gd name="connsiteY5" fmla="*/ 147260 h 148142"/>
                  <a:gd name="connsiteX6" fmla="*/ 143525 w 155419"/>
                  <a:gd name="connsiteY6" fmla="*/ 148143 h 148142"/>
                  <a:gd name="connsiteX7" fmla="*/ 152467 w 155419"/>
                  <a:gd name="connsiteY7" fmla="*/ 144078 h 148142"/>
                  <a:gd name="connsiteX8" fmla="*/ 153861 w 155419"/>
                  <a:gd name="connsiteY8" fmla="*/ 130374 h 148142"/>
                  <a:gd name="connsiteX9" fmla="*/ 114838 w 155419"/>
                  <a:gd name="connsiteY9" fmla="*/ 9942 h 14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5419" h="148142">
                    <a:moveTo>
                      <a:pt x="114838" y="9942"/>
                    </a:moveTo>
                    <a:cubicBezTo>
                      <a:pt x="113886" y="4204"/>
                      <a:pt x="108939" y="0"/>
                      <a:pt x="103108" y="0"/>
                    </a:cubicBezTo>
                    <a:lnTo>
                      <a:pt x="11896" y="0"/>
                    </a:lnTo>
                    <a:cubicBezTo>
                      <a:pt x="7807" y="0"/>
                      <a:pt x="4021" y="2090"/>
                      <a:pt x="1838" y="5551"/>
                    </a:cubicBezTo>
                    <a:cubicBezTo>
                      <a:pt x="-345" y="8988"/>
                      <a:pt x="-601" y="13309"/>
                      <a:pt x="1165" y="17002"/>
                    </a:cubicBezTo>
                    <a:cubicBezTo>
                      <a:pt x="29409" y="76394"/>
                      <a:pt x="78372" y="122663"/>
                      <a:pt x="139065" y="147260"/>
                    </a:cubicBezTo>
                    <a:cubicBezTo>
                      <a:pt x="140505" y="147864"/>
                      <a:pt x="142015" y="148143"/>
                      <a:pt x="143525" y="148143"/>
                    </a:cubicBezTo>
                    <a:cubicBezTo>
                      <a:pt x="146869" y="148143"/>
                      <a:pt x="150167" y="146726"/>
                      <a:pt x="152467" y="144078"/>
                    </a:cubicBezTo>
                    <a:cubicBezTo>
                      <a:pt x="155812" y="140268"/>
                      <a:pt x="156369" y="134764"/>
                      <a:pt x="153861" y="130374"/>
                    </a:cubicBezTo>
                    <a:cubicBezTo>
                      <a:pt x="136254" y="99482"/>
                      <a:pt x="122758" y="57836"/>
                      <a:pt x="114838" y="9942"/>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42" name="Forma libre 286">
                <a:extLst>
                  <a:ext uri="{FF2B5EF4-FFF2-40B4-BE49-F238E27FC236}">
                    <a16:creationId xmlns:a16="http://schemas.microsoft.com/office/drawing/2014/main" id="{21AD4B7E-8C29-E83A-5B1E-6F2C93829A06}"/>
                  </a:ext>
                </a:extLst>
              </p:cNvPr>
              <p:cNvSpPr/>
              <p:nvPr/>
            </p:nvSpPr>
            <p:spPr>
              <a:xfrm>
                <a:off x="3171418" y="6069868"/>
                <a:ext cx="60483" cy="91405"/>
              </a:xfrm>
              <a:custGeom>
                <a:avLst/>
                <a:gdLst>
                  <a:gd name="connsiteX0" fmla="*/ 49774 w 60483"/>
                  <a:gd name="connsiteY0" fmla="*/ 6185 h 91405"/>
                  <a:gd name="connsiteX1" fmla="*/ 38045 w 60483"/>
                  <a:gd name="connsiteY1" fmla="*/ 53 h 91405"/>
                  <a:gd name="connsiteX2" fmla="*/ 27918 w 60483"/>
                  <a:gd name="connsiteY2" fmla="*/ 8601 h 91405"/>
                  <a:gd name="connsiteX3" fmla="*/ 1531 w 60483"/>
                  <a:gd name="connsiteY3" fmla="*/ 73660 h 91405"/>
                  <a:gd name="connsiteX4" fmla="*/ 2972 w 60483"/>
                  <a:gd name="connsiteY4" fmla="*/ 87388 h 91405"/>
                  <a:gd name="connsiteX5" fmla="*/ 11891 w 60483"/>
                  <a:gd name="connsiteY5" fmla="*/ 91406 h 91405"/>
                  <a:gd name="connsiteX6" fmla="*/ 16398 w 60483"/>
                  <a:gd name="connsiteY6" fmla="*/ 90523 h 91405"/>
                  <a:gd name="connsiteX7" fmla="*/ 54838 w 60483"/>
                  <a:gd name="connsiteY7" fmla="*/ 71360 h 91405"/>
                  <a:gd name="connsiteX8" fmla="*/ 60483 w 60483"/>
                  <a:gd name="connsiteY8" fmla="*/ 61233 h 91405"/>
                  <a:gd name="connsiteX9" fmla="*/ 60483 w 60483"/>
                  <a:gd name="connsiteY9" fmla="*/ 26439 h 91405"/>
                  <a:gd name="connsiteX10" fmla="*/ 58114 w 60483"/>
                  <a:gd name="connsiteY10" fmla="*/ 19308 h 91405"/>
                  <a:gd name="connsiteX11" fmla="*/ 49774 w 60483"/>
                  <a:gd name="connsiteY11" fmla="*/ 6185 h 9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483" h="91405">
                    <a:moveTo>
                      <a:pt x="49774" y="6185"/>
                    </a:moveTo>
                    <a:cubicBezTo>
                      <a:pt x="47474" y="1957"/>
                      <a:pt x="43062" y="-389"/>
                      <a:pt x="38045" y="53"/>
                    </a:cubicBezTo>
                    <a:cubicBezTo>
                      <a:pt x="33236" y="587"/>
                      <a:pt x="29241" y="3955"/>
                      <a:pt x="27918" y="8601"/>
                    </a:cubicBezTo>
                    <a:cubicBezTo>
                      <a:pt x="20764" y="33500"/>
                      <a:pt x="11891" y="55403"/>
                      <a:pt x="1531" y="73660"/>
                    </a:cubicBezTo>
                    <a:cubicBezTo>
                      <a:pt x="-954" y="78073"/>
                      <a:pt x="-373" y="83578"/>
                      <a:pt x="2972" y="87388"/>
                    </a:cubicBezTo>
                    <a:cubicBezTo>
                      <a:pt x="5272" y="89989"/>
                      <a:pt x="8546" y="91406"/>
                      <a:pt x="11891" y="91406"/>
                    </a:cubicBezTo>
                    <a:cubicBezTo>
                      <a:pt x="13401" y="91406"/>
                      <a:pt x="14934" y="91127"/>
                      <a:pt x="16398" y="90523"/>
                    </a:cubicBezTo>
                    <a:cubicBezTo>
                      <a:pt x="31240" y="84414"/>
                      <a:pt x="43829" y="78143"/>
                      <a:pt x="54838" y="71360"/>
                    </a:cubicBezTo>
                    <a:cubicBezTo>
                      <a:pt x="58346" y="69177"/>
                      <a:pt x="60483" y="65367"/>
                      <a:pt x="60483" y="61233"/>
                    </a:cubicBezTo>
                    <a:lnTo>
                      <a:pt x="60483" y="26439"/>
                    </a:lnTo>
                    <a:cubicBezTo>
                      <a:pt x="60483" y="23884"/>
                      <a:pt x="59647" y="21375"/>
                      <a:pt x="58114" y="19308"/>
                    </a:cubicBezTo>
                    <a:cubicBezTo>
                      <a:pt x="55023" y="15174"/>
                      <a:pt x="52283" y="10738"/>
                      <a:pt x="49774" y="6185"/>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43" name="Forma libre 287">
                <a:extLst>
                  <a:ext uri="{FF2B5EF4-FFF2-40B4-BE49-F238E27FC236}">
                    <a16:creationId xmlns:a16="http://schemas.microsoft.com/office/drawing/2014/main" id="{E2B99074-8CA1-83CF-5602-4A19A49857D2}"/>
                  </a:ext>
                </a:extLst>
              </p:cNvPr>
              <p:cNvSpPr/>
              <p:nvPr/>
            </p:nvSpPr>
            <p:spPr>
              <a:xfrm>
                <a:off x="3255685" y="6122681"/>
                <a:ext cx="118922" cy="105185"/>
              </a:xfrm>
              <a:custGeom>
                <a:avLst/>
                <a:gdLst>
                  <a:gd name="connsiteX0" fmla="*/ 113534 w 118922"/>
                  <a:gd name="connsiteY0" fmla="*/ 1941 h 105185"/>
                  <a:gd name="connsiteX1" fmla="*/ 102269 w 118922"/>
                  <a:gd name="connsiteY1" fmla="*/ 1012 h 105185"/>
                  <a:gd name="connsiteX2" fmla="*/ 16653 w 118922"/>
                  <a:gd name="connsiteY2" fmla="*/ 1012 h 105185"/>
                  <a:gd name="connsiteX3" fmla="*/ 5388 w 118922"/>
                  <a:gd name="connsiteY3" fmla="*/ 1941 h 105185"/>
                  <a:gd name="connsiteX4" fmla="*/ 0 w 118922"/>
                  <a:gd name="connsiteY4" fmla="*/ 11906 h 105185"/>
                  <a:gd name="connsiteX5" fmla="*/ 0 w 118922"/>
                  <a:gd name="connsiteY5" fmla="*/ 93294 h 105185"/>
                  <a:gd name="connsiteX6" fmla="*/ 7339 w 118922"/>
                  <a:gd name="connsiteY6" fmla="*/ 104280 h 105185"/>
                  <a:gd name="connsiteX7" fmla="*/ 20300 w 118922"/>
                  <a:gd name="connsiteY7" fmla="*/ 101702 h 105185"/>
                  <a:gd name="connsiteX8" fmla="*/ 59461 w 118922"/>
                  <a:gd name="connsiteY8" fmla="*/ 62541 h 105185"/>
                  <a:gd name="connsiteX9" fmla="*/ 98622 w 118922"/>
                  <a:gd name="connsiteY9" fmla="*/ 101702 h 105185"/>
                  <a:gd name="connsiteX10" fmla="*/ 107031 w 118922"/>
                  <a:gd name="connsiteY10" fmla="*/ 105186 h 105185"/>
                  <a:gd name="connsiteX11" fmla="*/ 111583 w 118922"/>
                  <a:gd name="connsiteY11" fmla="*/ 104279 h 105185"/>
                  <a:gd name="connsiteX12" fmla="*/ 118922 w 118922"/>
                  <a:gd name="connsiteY12" fmla="*/ 93293 h 105185"/>
                  <a:gd name="connsiteX13" fmla="*/ 118922 w 118922"/>
                  <a:gd name="connsiteY13" fmla="*/ 11905 h 105185"/>
                  <a:gd name="connsiteX14" fmla="*/ 113534 w 118922"/>
                  <a:gd name="connsiteY14" fmla="*/ 1941 h 105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922" h="105185">
                    <a:moveTo>
                      <a:pt x="113534" y="1941"/>
                    </a:moveTo>
                    <a:cubicBezTo>
                      <a:pt x="110213" y="-242"/>
                      <a:pt x="105916" y="-591"/>
                      <a:pt x="102269" y="1012"/>
                    </a:cubicBezTo>
                    <a:cubicBezTo>
                      <a:pt x="74861" y="12998"/>
                      <a:pt x="44062" y="12998"/>
                      <a:pt x="16653" y="1012"/>
                    </a:cubicBezTo>
                    <a:cubicBezTo>
                      <a:pt x="13006" y="-613"/>
                      <a:pt x="8733" y="-265"/>
                      <a:pt x="5388" y="1941"/>
                    </a:cubicBezTo>
                    <a:cubicBezTo>
                      <a:pt x="2020" y="4148"/>
                      <a:pt x="0" y="7887"/>
                      <a:pt x="0" y="11906"/>
                    </a:cubicBezTo>
                    <a:lnTo>
                      <a:pt x="0" y="93294"/>
                    </a:lnTo>
                    <a:cubicBezTo>
                      <a:pt x="0" y="98103"/>
                      <a:pt x="2903" y="102445"/>
                      <a:pt x="7339" y="104280"/>
                    </a:cubicBezTo>
                    <a:cubicBezTo>
                      <a:pt x="11752" y="106092"/>
                      <a:pt x="16886" y="105093"/>
                      <a:pt x="20300" y="101702"/>
                    </a:cubicBezTo>
                    <a:lnTo>
                      <a:pt x="59461" y="62541"/>
                    </a:lnTo>
                    <a:lnTo>
                      <a:pt x="98622" y="101702"/>
                    </a:lnTo>
                    <a:cubicBezTo>
                      <a:pt x="100899" y="103978"/>
                      <a:pt x="103941" y="105186"/>
                      <a:pt x="107031" y="105186"/>
                    </a:cubicBezTo>
                    <a:cubicBezTo>
                      <a:pt x="108564" y="105186"/>
                      <a:pt x="110120" y="104884"/>
                      <a:pt x="111583" y="104279"/>
                    </a:cubicBezTo>
                    <a:cubicBezTo>
                      <a:pt x="116019" y="102444"/>
                      <a:pt x="118922" y="98101"/>
                      <a:pt x="118922" y="93293"/>
                    </a:cubicBezTo>
                    <a:lnTo>
                      <a:pt x="118922" y="11905"/>
                    </a:lnTo>
                    <a:cubicBezTo>
                      <a:pt x="118923" y="7887"/>
                      <a:pt x="116902" y="4148"/>
                      <a:pt x="113534" y="1941"/>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grpSp>
        <p:grpSp>
          <p:nvGrpSpPr>
            <p:cNvPr id="121" name="Gráfico 75">
              <a:extLst>
                <a:ext uri="{FF2B5EF4-FFF2-40B4-BE49-F238E27FC236}">
                  <a16:creationId xmlns:a16="http://schemas.microsoft.com/office/drawing/2014/main" id="{6EC471D7-92EC-8F26-B9DF-BE3F5FCC6A31}"/>
                </a:ext>
              </a:extLst>
            </p:cNvPr>
            <p:cNvGrpSpPr/>
            <p:nvPr/>
          </p:nvGrpSpPr>
          <p:grpSpPr>
            <a:xfrm>
              <a:off x="9241333" y="1195448"/>
              <a:ext cx="45113" cy="43254"/>
              <a:chOff x="5171013" y="2936812"/>
              <a:chExt cx="571237" cy="571237"/>
            </a:xfrm>
            <a:solidFill>
              <a:schemeClr val="bg1"/>
            </a:solidFill>
          </p:grpSpPr>
          <p:sp>
            <p:nvSpPr>
              <p:cNvPr id="126" name="Forma libre 191">
                <a:extLst>
                  <a:ext uri="{FF2B5EF4-FFF2-40B4-BE49-F238E27FC236}">
                    <a16:creationId xmlns:a16="http://schemas.microsoft.com/office/drawing/2014/main" id="{AA5413A9-408D-CC1A-16E5-DE64318985F9}"/>
                  </a:ext>
                </a:extLst>
              </p:cNvPr>
              <p:cNvSpPr/>
              <p:nvPr/>
            </p:nvSpPr>
            <p:spPr>
              <a:xfrm>
                <a:off x="5534526" y="3196464"/>
                <a:ext cx="103862" cy="25966"/>
              </a:xfrm>
              <a:custGeom>
                <a:avLst/>
                <a:gdLst>
                  <a:gd name="connsiteX0" fmla="*/ 12983 w 103862"/>
                  <a:gd name="connsiteY0" fmla="*/ 25966 h 25966"/>
                  <a:gd name="connsiteX1" fmla="*/ 90879 w 103862"/>
                  <a:gd name="connsiteY1" fmla="*/ 25966 h 25966"/>
                  <a:gd name="connsiteX2" fmla="*/ 103862 w 103862"/>
                  <a:gd name="connsiteY2" fmla="*/ 12983 h 25966"/>
                  <a:gd name="connsiteX3" fmla="*/ 90879 w 103862"/>
                  <a:gd name="connsiteY3" fmla="*/ 0 h 25966"/>
                  <a:gd name="connsiteX4" fmla="*/ 12983 w 103862"/>
                  <a:gd name="connsiteY4" fmla="*/ 0 h 25966"/>
                  <a:gd name="connsiteX5" fmla="*/ 0 w 103862"/>
                  <a:gd name="connsiteY5" fmla="*/ 12983 h 25966"/>
                  <a:gd name="connsiteX6" fmla="*/ 12983 w 103862"/>
                  <a:gd name="connsiteY6" fmla="*/ 25966 h 2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862" h="25966">
                    <a:moveTo>
                      <a:pt x="12983" y="25966"/>
                    </a:moveTo>
                    <a:lnTo>
                      <a:pt x="90879" y="25966"/>
                    </a:lnTo>
                    <a:cubicBezTo>
                      <a:pt x="98055" y="25966"/>
                      <a:pt x="103862" y="20159"/>
                      <a:pt x="103862" y="12983"/>
                    </a:cubicBezTo>
                    <a:cubicBezTo>
                      <a:pt x="103862" y="5807"/>
                      <a:pt x="98055" y="0"/>
                      <a:pt x="90879" y="0"/>
                    </a:cubicBezTo>
                    <a:lnTo>
                      <a:pt x="12983" y="0"/>
                    </a:lnTo>
                    <a:cubicBezTo>
                      <a:pt x="5807" y="0"/>
                      <a:pt x="0" y="5807"/>
                      <a:pt x="0" y="12983"/>
                    </a:cubicBezTo>
                    <a:cubicBezTo>
                      <a:pt x="1" y="20159"/>
                      <a:pt x="5807" y="25966"/>
                      <a:pt x="12983" y="25966"/>
                    </a:cubicBezTo>
                    <a:close/>
                  </a:path>
                </a:pathLst>
              </a:custGeom>
              <a:grpFill/>
              <a:ln w="11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27" name="Forma libre 192">
                <a:extLst>
                  <a:ext uri="{FF2B5EF4-FFF2-40B4-BE49-F238E27FC236}">
                    <a16:creationId xmlns:a16="http://schemas.microsoft.com/office/drawing/2014/main" id="{002629E7-85A0-FC18-A9D3-CAB419B071B1}"/>
                  </a:ext>
                </a:extLst>
              </p:cNvPr>
              <p:cNvSpPr/>
              <p:nvPr/>
            </p:nvSpPr>
            <p:spPr>
              <a:xfrm>
                <a:off x="5482596" y="3274360"/>
                <a:ext cx="155793" cy="25966"/>
              </a:xfrm>
              <a:custGeom>
                <a:avLst/>
                <a:gdLst>
                  <a:gd name="connsiteX0" fmla="*/ 12983 w 155793"/>
                  <a:gd name="connsiteY0" fmla="*/ 25966 h 25966"/>
                  <a:gd name="connsiteX1" fmla="*/ 142810 w 155793"/>
                  <a:gd name="connsiteY1" fmla="*/ 25966 h 25966"/>
                  <a:gd name="connsiteX2" fmla="*/ 155793 w 155793"/>
                  <a:gd name="connsiteY2" fmla="*/ 12983 h 25966"/>
                  <a:gd name="connsiteX3" fmla="*/ 142810 w 155793"/>
                  <a:gd name="connsiteY3" fmla="*/ 0 h 25966"/>
                  <a:gd name="connsiteX4" fmla="*/ 12983 w 155793"/>
                  <a:gd name="connsiteY4" fmla="*/ 0 h 25966"/>
                  <a:gd name="connsiteX5" fmla="*/ 0 w 155793"/>
                  <a:gd name="connsiteY5" fmla="*/ 12983 h 25966"/>
                  <a:gd name="connsiteX6" fmla="*/ 12983 w 155793"/>
                  <a:gd name="connsiteY6" fmla="*/ 25966 h 2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793" h="25966">
                    <a:moveTo>
                      <a:pt x="12983" y="25966"/>
                    </a:moveTo>
                    <a:lnTo>
                      <a:pt x="142810" y="25966"/>
                    </a:lnTo>
                    <a:cubicBezTo>
                      <a:pt x="149986" y="25966"/>
                      <a:pt x="155793" y="20159"/>
                      <a:pt x="155793" y="12983"/>
                    </a:cubicBezTo>
                    <a:cubicBezTo>
                      <a:pt x="155793" y="5807"/>
                      <a:pt x="149986" y="0"/>
                      <a:pt x="142810" y="0"/>
                    </a:cubicBezTo>
                    <a:lnTo>
                      <a:pt x="12983" y="0"/>
                    </a:lnTo>
                    <a:cubicBezTo>
                      <a:pt x="5807" y="0"/>
                      <a:pt x="0" y="5807"/>
                      <a:pt x="0" y="12983"/>
                    </a:cubicBezTo>
                    <a:cubicBezTo>
                      <a:pt x="0" y="20159"/>
                      <a:pt x="5807" y="25966"/>
                      <a:pt x="12983" y="25966"/>
                    </a:cubicBezTo>
                    <a:close/>
                  </a:path>
                </a:pathLst>
              </a:custGeom>
              <a:grpFill/>
              <a:ln w="11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28" name="Forma libre 193">
                <a:extLst>
                  <a:ext uri="{FF2B5EF4-FFF2-40B4-BE49-F238E27FC236}">
                    <a16:creationId xmlns:a16="http://schemas.microsoft.com/office/drawing/2014/main" id="{86D383C2-327F-895D-FA61-3AADC30DF9DC}"/>
                  </a:ext>
                </a:extLst>
              </p:cNvPr>
              <p:cNvSpPr/>
              <p:nvPr/>
            </p:nvSpPr>
            <p:spPr>
              <a:xfrm>
                <a:off x="5482596" y="3352256"/>
                <a:ext cx="155793" cy="25966"/>
              </a:xfrm>
              <a:custGeom>
                <a:avLst/>
                <a:gdLst>
                  <a:gd name="connsiteX0" fmla="*/ 12983 w 155793"/>
                  <a:gd name="connsiteY0" fmla="*/ 25966 h 25966"/>
                  <a:gd name="connsiteX1" fmla="*/ 142810 w 155793"/>
                  <a:gd name="connsiteY1" fmla="*/ 25966 h 25966"/>
                  <a:gd name="connsiteX2" fmla="*/ 155793 w 155793"/>
                  <a:gd name="connsiteY2" fmla="*/ 12983 h 25966"/>
                  <a:gd name="connsiteX3" fmla="*/ 142810 w 155793"/>
                  <a:gd name="connsiteY3" fmla="*/ 0 h 25966"/>
                  <a:gd name="connsiteX4" fmla="*/ 12983 w 155793"/>
                  <a:gd name="connsiteY4" fmla="*/ 0 h 25966"/>
                  <a:gd name="connsiteX5" fmla="*/ 0 w 155793"/>
                  <a:gd name="connsiteY5" fmla="*/ 12983 h 25966"/>
                  <a:gd name="connsiteX6" fmla="*/ 12983 w 155793"/>
                  <a:gd name="connsiteY6" fmla="*/ 25966 h 2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793" h="25966">
                    <a:moveTo>
                      <a:pt x="12983" y="25966"/>
                    </a:moveTo>
                    <a:lnTo>
                      <a:pt x="142810" y="25966"/>
                    </a:lnTo>
                    <a:cubicBezTo>
                      <a:pt x="149986" y="25966"/>
                      <a:pt x="155793" y="20159"/>
                      <a:pt x="155793" y="12983"/>
                    </a:cubicBezTo>
                    <a:cubicBezTo>
                      <a:pt x="155793" y="5807"/>
                      <a:pt x="149986" y="0"/>
                      <a:pt x="142810" y="0"/>
                    </a:cubicBezTo>
                    <a:lnTo>
                      <a:pt x="12983" y="0"/>
                    </a:lnTo>
                    <a:cubicBezTo>
                      <a:pt x="5807" y="0"/>
                      <a:pt x="0" y="5807"/>
                      <a:pt x="0" y="12983"/>
                    </a:cubicBezTo>
                    <a:cubicBezTo>
                      <a:pt x="0" y="20159"/>
                      <a:pt x="5807" y="25966"/>
                      <a:pt x="12983" y="25966"/>
                    </a:cubicBezTo>
                    <a:close/>
                  </a:path>
                </a:pathLst>
              </a:custGeom>
              <a:grpFill/>
              <a:ln w="11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29" name="Forma libre 194">
                <a:extLst>
                  <a:ext uri="{FF2B5EF4-FFF2-40B4-BE49-F238E27FC236}">
                    <a16:creationId xmlns:a16="http://schemas.microsoft.com/office/drawing/2014/main" id="{D75B96C9-584F-8B86-02E4-C138A994F6EB}"/>
                  </a:ext>
                </a:extLst>
              </p:cNvPr>
              <p:cNvSpPr/>
              <p:nvPr/>
            </p:nvSpPr>
            <p:spPr>
              <a:xfrm>
                <a:off x="5261890" y="3118568"/>
                <a:ext cx="181757" cy="181757"/>
              </a:xfrm>
              <a:custGeom>
                <a:avLst/>
                <a:gdLst>
                  <a:gd name="connsiteX0" fmla="*/ 181758 w 181757"/>
                  <a:gd name="connsiteY0" fmla="*/ 90879 h 181757"/>
                  <a:gd name="connsiteX1" fmla="*/ 90879 w 181757"/>
                  <a:gd name="connsiteY1" fmla="*/ 181758 h 181757"/>
                  <a:gd name="connsiteX2" fmla="*/ 0 w 181757"/>
                  <a:gd name="connsiteY2" fmla="*/ 90879 h 181757"/>
                  <a:gd name="connsiteX3" fmla="*/ 90879 w 181757"/>
                  <a:gd name="connsiteY3" fmla="*/ 0 h 181757"/>
                  <a:gd name="connsiteX4" fmla="*/ 181758 w 181757"/>
                  <a:gd name="connsiteY4" fmla="*/ 90879 h 181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757" h="181757">
                    <a:moveTo>
                      <a:pt x="181758" y="90879"/>
                    </a:moveTo>
                    <a:cubicBezTo>
                      <a:pt x="181758" y="141070"/>
                      <a:pt x="141070" y="181758"/>
                      <a:pt x="90879" y="181758"/>
                    </a:cubicBezTo>
                    <a:cubicBezTo>
                      <a:pt x="40688" y="181758"/>
                      <a:pt x="0" y="141070"/>
                      <a:pt x="0" y="90879"/>
                    </a:cubicBezTo>
                    <a:cubicBezTo>
                      <a:pt x="0" y="40688"/>
                      <a:pt x="40688" y="0"/>
                      <a:pt x="90879" y="0"/>
                    </a:cubicBezTo>
                    <a:cubicBezTo>
                      <a:pt x="141070" y="0"/>
                      <a:pt x="181758" y="40688"/>
                      <a:pt x="181758" y="90879"/>
                    </a:cubicBezTo>
                    <a:close/>
                  </a:path>
                </a:pathLst>
              </a:custGeom>
              <a:grpFill/>
              <a:ln w="11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30" name="Forma libre 195">
                <a:extLst>
                  <a:ext uri="{FF2B5EF4-FFF2-40B4-BE49-F238E27FC236}">
                    <a16:creationId xmlns:a16="http://schemas.microsoft.com/office/drawing/2014/main" id="{8CB91C69-FC46-66D3-BA63-46E2DD34E14E}"/>
                  </a:ext>
                </a:extLst>
              </p:cNvPr>
              <p:cNvSpPr/>
              <p:nvPr/>
            </p:nvSpPr>
            <p:spPr>
              <a:xfrm>
                <a:off x="5287856" y="3315323"/>
                <a:ext cx="129825" cy="114834"/>
              </a:xfrm>
              <a:custGeom>
                <a:avLst/>
                <a:gdLst>
                  <a:gd name="connsiteX0" fmla="*/ 123943 w 129825"/>
                  <a:gd name="connsiteY0" fmla="*/ 2132 h 114834"/>
                  <a:gd name="connsiteX1" fmla="*/ 111646 w 129825"/>
                  <a:gd name="connsiteY1" fmla="*/ 1104 h 114834"/>
                  <a:gd name="connsiteX2" fmla="*/ 18180 w 129825"/>
                  <a:gd name="connsiteY2" fmla="*/ 1104 h 114834"/>
                  <a:gd name="connsiteX3" fmla="*/ 5882 w 129825"/>
                  <a:gd name="connsiteY3" fmla="*/ 2132 h 114834"/>
                  <a:gd name="connsiteX4" fmla="*/ 0 w 129825"/>
                  <a:gd name="connsiteY4" fmla="*/ 12997 h 114834"/>
                  <a:gd name="connsiteX5" fmla="*/ 0 w 129825"/>
                  <a:gd name="connsiteY5" fmla="*/ 101847 h 114834"/>
                  <a:gd name="connsiteX6" fmla="*/ 8012 w 129825"/>
                  <a:gd name="connsiteY6" fmla="*/ 113840 h 114834"/>
                  <a:gd name="connsiteX7" fmla="*/ 22161 w 129825"/>
                  <a:gd name="connsiteY7" fmla="*/ 111025 h 114834"/>
                  <a:gd name="connsiteX8" fmla="*/ 64913 w 129825"/>
                  <a:gd name="connsiteY8" fmla="*/ 68274 h 114834"/>
                  <a:gd name="connsiteX9" fmla="*/ 107664 w 129825"/>
                  <a:gd name="connsiteY9" fmla="*/ 111025 h 114834"/>
                  <a:gd name="connsiteX10" fmla="*/ 116844 w 129825"/>
                  <a:gd name="connsiteY10" fmla="*/ 114829 h 114834"/>
                  <a:gd name="connsiteX11" fmla="*/ 121813 w 129825"/>
                  <a:gd name="connsiteY11" fmla="*/ 113839 h 114834"/>
                  <a:gd name="connsiteX12" fmla="*/ 129826 w 129825"/>
                  <a:gd name="connsiteY12" fmla="*/ 101846 h 114834"/>
                  <a:gd name="connsiteX13" fmla="*/ 129826 w 129825"/>
                  <a:gd name="connsiteY13" fmla="*/ 12996 h 114834"/>
                  <a:gd name="connsiteX14" fmla="*/ 123943 w 129825"/>
                  <a:gd name="connsiteY14" fmla="*/ 2132 h 114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9825" h="114834">
                    <a:moveTo>
                      <a:pt x="123943" y="2132"/>
                    </a:moveTo>
                    <a:cubicBezTo>
                      <a:pt x="120292" y="-265"/>
                      <a:pt x="115677" y="-645"/>
                      <a:pt x="111646" y="1104"/>
                    </a:cubicBezTo>
                    <a:cubicBezTo>
                      <a:pt x="81674" y="14188"/>
                      <a:pt x="48152" y="14188"/>
                      <a:pt x="18180" y="1104"/>
                    </a:cubicBezTo>
                    <a:cubicBezTo>
                      <a:pt x="14123" y="-670"/>
                      <a:pt x="9508" y="-291"/>
                      <a:pt x="5882" y="2132"/>
                    </a:cubicBezTo>
                    <a:cubicBezTo>
                      <a:pt x="2205" y="4528"/>
                      <a:pt x="0" y="8610"/>
                      <a:pt x="0" y="12997"/>
                    </a:cubicBezTo>
                    <a:lnTo>
                      <a:pt x="0" y="101847"/>
                    </a:lnTo>
                    <a:cubicBezTo>
                      <a:pt x="0" y="107096"/>
                      <a:pt x="3169" y="111837"/>
                      <a:pt x="8012" y="113840"/>
                    </a:cubicBezTo>
                    <a:cubicBezTo>
                      <a:pt x="12830" y="115856"/>
                      <a:pt x="18435" y="114753"/>
                      <a:pt x="22161" y="111025"/>
                    </a:cubicBezTo>
                    <a:lnTo>
                      <a:pt x="64913" y="68274"/>
                    </a:lnTo>
                    <a:lnTo>
                      <a:pt x="107664" y="111025"/>
                    </a:lnTo>
                    <a:cubicBezTo>
                      <a:pt x="110150" y="113511"/>
                      <a:pt x="113471" y="114829"/>
                      <a:pt x="116844" y="114829"/>
                    </a:cubicBezTo>
                    <a:cubicBezTo>
                      <a:pt x="118517" y="114829"/>
                      <a:pt x="120217" y="114512"/>
                      <a:pt x="121813" y="113839"/>
                    </a:cubicBezTo>
                    <a:cubicBezTo>
                      <a:pt x="126656" y="111836"/>
                      <a:pt x="129826" y="107094"/>
                      <a:pt x="129826" y="101846"/>
                    </a:cubicBezTo>
                    <a:lnTo>
                      <a:pt x="129826" y="12996"/>
                    </a:lnTo>
                    <a:cubicBezTo>
                      <a:pt x="129827" y="8609"/>
                      <a:pt x="127620" y="4527"/>
                      <a:pt x="123943" y="2132"/>
                    </a:cubicBezTo>
                    <a:close/>
                  </a:path>
                </a:pathLst>
              </a:custGeom>
              <a:grpFill/>
              <a:ln w="11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31" name="Forma libre 196">
                <a:extLst>
                  <a:ext uri="{FF2B5EF4-FFF2-40B4-BE49-F238E27FC236}">
                    <a16:creationId xmlns:a16="http://schemas.microsoft.com/office/drawing/2014/main" id="{9A496B91-5472-6983-FD2E-293765504042}"/>
                  </a:ext>
                </a:extLst>
              </p:cNvPr>
              <p:cNvSpPr/>
              <p:nvPr/>
            </p:nvSpPr>
            <p:spPr>
              <a:xfrm>
                <a:off x="5171013" y="2936812"/>
                <a:ext cx="571237" cy="571237"/>
              </a:xfrm>
              <a:custGeom>
                <a:avLst/>
                <a:gdLst>
                  <a:gd name="connsiteX0" fmla="*/ 519307 w 571237"/>
                  <a:gd name="connsiteY0" fmla="*/ 0 h 571237"/>
                  <a:gd name="connsiteX1" fmla="*/ 51931 w 571237"/>
                  <a:gd name="connsiteY1" fmla="*/ 0 h 571237"/>
                  <a:gd name="connsiteX2" fmla="*/ 0 w 571237"/>
                  <a:gd name="connsiteY2" fmla="*/ 51931 h 571237"/>
                  <a:gd name="connsiteX3" fmla="*/ 0 w 571237"/>
                  <a:gd name="connsiteY3" fmla="*/ 519307 h 571237"/>
                  <a:gd name="connsiteX4" fmla="*/ 51931 w 571237"/>
                  <a:gd name="connsiteY4" fmla="*/ 571238 h 571237"/>
                  <a:gd name="connsiteX5" fmla="*/ 519307 w 571237"/>
                  <a:gd name="connsiteY5" fmla="*/ 571238 h 571237"/>
                  <a:gd name="connsiteX6" fmla="*/ 571238 w 571237"/>
                  <a:gd name="connsiteY6" fmla="*/ 519307 h 571237"/>
                  <a:gd name="connsiteX7" fmla="*/ 571238 w 571237"/>
                  <a:gd name="connsiteY7" fmla="*/ 51931 h 571237"/>
                  <a:gd name="connsiteX8" fmla="*/ 519307 w 571237"/>
                  <a:gd name="connsiteY8" fmla="*/ 0 h 571237"/>
                  <a:gd name="connsiteX9" fmla="*/ 168775 w 571237"/>
                  <a:gd name="connsiteY9" fmla="*/ 51931 h 571237"/>
                  <a:gd name="connsiteX10" fmla="*/ 181758 w 571237"/>
                  <a:gd name="connsiteY10" fmla="*/ 64914 h 571237"/>
                  <a:gd name="connsiteX11" fmla="*/ 168775 w 571237"/>
                  <a:gd name="connsiteY11" fmla="*/ 77897 h 571237"/>
                  <a:gd name="connsiteX12" fmla="*/ 155792 w 571237"/>
                  <a:gd name="connsiteY12" fmla="*/ 64913 h 571237"/>
                  <a:gd name="connsiteX13" fmla="*/ 168775 w 571237"/>
                  <a:gd name="connsiteY13" fmla="*/ 51931 h 571237"/>
                  <a:gd name="connsiteX14" fmla="*/ 116844 w 571237"/>
                  <a:gd name="connsiteY14" fmla="*/ 51931 h 571237"/>
                  <a:gd name="connsiteX15" fmla="*/ 129827 w 571237"/>
                  <a:gd name="connsiteY15" fmla="*/ 64914 h 571237"/>
                  <a:gd name="connsiteX16" fmla="*/ 116844 w 571237"/>
                  <a:gd name="connsiteY16" fmla="*/ 77896 h 571237"/>
                  <a:gd name="connsiteX17" fmla="*/ 103861 w 571237"/>
                  <a:gd name="connsiteY17" fmla="*/ 64913 h 571237"/>
                  <a:gd name="connsiteX18" fmla="*/ 116844 w 571237"/>
                  <a:gd name="connsiteY18" fmla="*/ 51931 h 571237"/>
                  <a:gd name="connsiteX19" fmla="*/ 64913 w 571237"/>
                  <a:gd name="connsiteY19" fmla="*/ 51931 h 571237"/>
                  <a:gd name="connsiteX20" fmla="*/ 77896 w 571237"/>
                  <a:gd name="connsiteY20" fmla="*/ 64913 h 571237"/>
                  <a:gd name="connsiteX21" fmla="*/ 64913 w 571237"/>
                  <a:gd name="connsiteY21" fmla="*/ 77896 h 571237"/>
                  <a:gd name="connsiteX22" fmla="*/ 51930 w 571237"/>
                  <a:gd name="connsiteY22" fmla="*/ 64913 h 571237"/>
                  <a:gd name="connsiteX23" fmla="*/ 64913 w 571237"/>
                  <a:gd name="connsiteY23" fmla="*/ 51931 h 571237"/>
                  <a:gd name="connsiteX24" fmla="*/ 519307 w 571237"/>
                  <a:gd name="connsiteY24" fmla="*/ 519307 h 571237"/>
                  <a:gd name="connsiteX25" fmla="*/ 51931 w 571237"/>
                  <a:gd name="connsiteY25" fmla="*/ 519307 h 571237"/>
                  <a:gd name="connsiteX26" fmla="*/ 51931 w 571237"/>
                  <a:gd name="connsiteY26" fmla="*/ 129827 h 571237"/>
                  <a:gd name="connsiteX27" fmla="*/ 519307 w 571237"/>
                  <a:gd name="connsiteY27" fmla="*/ 129827 h 571237"/>
                  <a:gd name="connsiteX28" fmla="*/ 519307 w 571237"/>
                  <a:gd name="connsiteY28" fmla="*/ 519307 h 571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71237" h="571237">
                    <a:moveTo>
                      <a:pt x="519307" y="0"/>
                    </a:moveTo>
                    <a:lnTo>
                      <a:pt x="51931" y="0"/>
                    </a:lnTo>
                    <a:cubicBezTo>
                      <a:pt x="23303" y="0"/>
                      <a:pt x="0" y="23290"/>
                      <a:pt x="0" y="51931"/>
                    </a:cubicBezTo>
                    <a:lnTo>
                      <a:pt x="0" y="519307"/>
                    </a:lnTo>
                    <a:cubicBezTo>
                      <a:pt x="0" y="547947"/>
                      <a:pt x="23303" y="571238"/>
                      <a:pt x="51931" y="571238"/>
                    </a:cubicBezTo>
                    <a:lnTo>
                      <a:pt x="519307" y="571238"/>
                    </a:lnTo>
                    <a:cubicBezTo>
                      <a:pt x="547934" y="571238"/>
                      <a:pt x="571238" y="547948"/>
                      <a:pt x="571238" y="519307"/>
                    </a:cubicBezTo>
                    <a:lnTo>
                      <a:pt x="571238" y="51931"/>
                    </a:lnTo>
                    <a:cubicBezTo>
                      <a:pt x="571236" y="23290"/>
                      <a:pt x="547934" y="0"/>
                      <a:pt x="519307" y="0"/>
                    </a:cubicBezTo>
                    <a:close/>
                    <a:moveTo>
                      <a:pt x="168775" y="51931"/>
                    </a:moveTo>
                    <a:cubicBezTo>
                      <a:pt x="175945" y="51931"/>
                      <a:pt x="181758" y="57743"/>
                      <a:pt x="181758" y="64914"/>
                    </a:cubicBezTo>
                    <a:cubicBezTo>
                      <a:pt x="181758" y="72084"/>
                      <a:pt x="175945" y="77897"/>
                      <a:pt x="168775" y="77897"/>
                    </a:cubicBezTo>
                    <a:cubicBezTo>
                      <a:pt x="161605" y="77897"/>
                      <a:pt x="155792" y="72083"/>
                      <a:pt x="155792" y="64913"/>
                    </a:cubicBezTo>
                    <a:cubicBezTo>
                      <a:pt x="155792" y="57742"/>
                      <a:pt x="161605" y="51931"/>
                      <a:pt x="168775" y="51931"/>
                    </a:cubicBezTo>
                    <a:close/>
                    <a:moveTo>
                      <a:pt x="116844" y="51931"/>
                    </a:moveTo>
                    <a:cubicBezTo>
                      <a:pt x="124014" y="51931"/>
                      <a:pt x="129827" y="57743"/>
                      <a:pt x="129827" y="64914"/>
                    </a:cubicBezTo>
                    <a:cubicBezTo>
                      <a:pt x="129827" y="72083"/>
                      <a:pt x="124014" y="77896"/>
                      <a:pt x="116844" y="77896"/>
                    </a:cubicBezTo>
                    <a:cubicBezTo>
                      <a:pt x="109674" y="77896"/>
                      <a:pt x="103861" y="72083"/>
                      <a:pt x="103861" y="64913"/>
                    </a:cubicBezTo>
                    <a:cubicBezTo>
                      <a:pt x="103861" y="57742"/>
                      <a:pt x="109674" y="51931"/>
                      <a:pt x="116844" y="51931"/>
                    </a:cubicBezTo>
                    <a:close/>
                    <a:moveTo>
                      <a:pt x="64913" y="51931"/>
                    </a:moveTo>
                    <a:cubicBezTo>
                      <a:pt x="72083" y="51931"/>
                      <a:pt x="77896" y="57742"/>
                      <a:pt x="77896" y="64913"/>
                    </a:cubicBezTo>
                    <a:cubicBezTo>
                      <a:pt x="77896" y="72083"/>
                      <a:pt x="72083" y="77896"/>
                      <a:pt x="64913" y="77896"/>
                    </a:cubicBezTo>
                    <a:cubicBezTo>
                      <a:pt x="57743" y="77896"/>
                      <a:pt x="51930" y="72083"/>
                      <a:pt x="51930" y="64913"/>
                    </a:cubicBezTo>
                    <a:cubicBezTo>
                      <a:pt x="51931" y="57742"/>
                      <a:pt x="57744" y="51931"/>
                      <a:pt x="64913" y="51931"/>
                    </a:cubicBezTo>
                    <a:close/>
                    <a:moveTo>
                      <a:pt x="519307" y="519307"/>
                    </a:moveTo>
                    <a:lnTo>
                      <a:pt x="51931" y="519307"/>
                    </a:lnTo>
                    <a:lnTo>
                      <a:pt x="51931" y="129827"/>
                    </a:lnTo>
                    <a:lnTo>
                      <a:pt x="519307" y="129827"/>
                    </a:lnTo>
                    <a:lnTo>
                      <a:pt x="519307" y="519307"/>
                    </a:lnTo>
                    <a:close/>
                  </a:path>
                </a:pathLst>
              </a:custGeom>
              <a:grpFill/>
              <a:ln w="11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grpSp>
        <p:grpSp>
          <p:nvGrpSpPr>
            <p:cNvPr id="122" name="Gráfico 40">
              <a:extLst>
                <a:ext uri="{FF2B5EF4-FFF2-40B4-BE49-F238E27FC236}">
                  <a16:creationId xmlns:a16="http://schemas.microsoft.com/office/drawing/2014/main" id="{29A17897-7F4E-2966-23BA-12BB451982C5}"/>
                </a:ext>
              </a:extLst>
            </p:cNvPr>
            <p:cNvGrpSpPr/>
            <p:nvPr/>
          </p:nvGrpSpPr>
          <p:grpSpPr>
            <a:xfrm>
              <a:off x="9247297" y="1272428"/>
              <a:ext cx="33164" cy="42367"/>
              <a:chOff x="6390418" y="264676"/>
              <a:chExt cx="449651" cy="599145"/>
            </a:xfrm>
            <a:solidFill>
              <a:schemeClr val="bg1"/>
            </a:solidFill>
          </p:grpSpPr>
          <p:sp>
            <p:nvSpPr>
              <p:cNvPr id="124" name="Forma libre 302">
                <a:extLst>
                  <a:ext uri="{FF2B5EF4-FFF2-40B4-BE49-F238E27FC236}">
                    <a16:creationId xmlns:a16="http://schemas.microsoft.com/office/drawing/2014/main" id="{6854B050-92A0-FDE8-C4FD-3E5A4C6B26E1}"/>
                  </a:ext>
                </a:extLst>
              </p:cNvPr>
              <p:cNvSpPr/>
              <p:nvPr/>
            </p:nvSpPr>
            <p:spPr>
              <a:xfrm>
                <a:off x="6390418" y="264676"/>
                <a:ext cx="449651" cy="599145"/>
              </a:xfrm>
              <a:custGeom>
                <a:avLst/>
                <a:gdLst>
                  <a:gd name="connsiteX0" fmla="*/ 445694 w 449650"/>
                  <a:gd name="connsiteY0" fmla="*/ 129089 h 599144"/>
                  <a:gd name="connsiteX1" fmla="*/ 321145 w 449650"/>
                  <a:gd name="connsiteY1" fmla="*/ 4541 h 599144"/>
                  <a:gd name="connsiteX2" fmla="*/ 312323 w 449650"/>
                  <a:gd name="connsiteY2" fmla="*/ 876 h 599144"/>
                  <a:gd name="connsiteX3" fmla="*/ 50708 w 449650"/>
                  <a:gd name="connsiteY3" fmla="*/ 876 h 599144"/>
                  <a:gd name="connsiteX4" fmla="*/ 876 w 449650"/>
                  <a:gd name="connsiteY4" fmla="*/ 50708 h 599144"/>
                  <a:gd name="connsiteX5" fmla="*/ 876 w 449650"/>
                  <a:gd name="connsiteY5" fmla="*/ 549022 h 599144"/>
                  <a:gd name="connsiteX6" fmla="*/ 50708 w 449650"/>
                  <a:gd name="connsiteY6" fmla="*/ 598853 h 599144"/>
                  <a:gd name="connsiteX7" fmla="*/ 399528 w 449650"/>
                  <a:gd name="connsiteY7" fmla="*/ 598853 h 599144"/>
                  <a:gd name="connsiteX8" fmla="*/ 449359 w 449650"/>
                  <a:gd name="connsiteY8" fmla="*/ 549021 h 599144"/>
                  <a:gd name="connsiteX9" fmla="*/ 449359 w 449650"/>
                  <a:gd name="connsiteY9" fmla="*/ 137912 h 599144"/>
                  <a:gd name="connsiteX10" fmla="*/ 445694 w 449650"/>
                  <a:gd name="connsiteY10" fmla="*/ 129089 h 599144"/>
                  <a:gd name="connsiteX11" fmla="*/ 88081 w 449650"/>
                  <a:gd name="connsiteY11" fmla="*/ 125455 h 599144"/>
                  <a:gd name="connsiteX12" fmla="*/ 237576 w 449650"/>
                  <a:gd name="connsiteY12" fmla="*/ 125455 h 599144"/>
                  <a:gd name="connsiteX13" fmla="*/ 250034 w 449650"/>
                  <a:gd name="connsiteY13" fmla="*/ 137913 h 599144"/>
                  <a:gd name="connsiteX14" fmla="*/ 237576 w 449650"/>
                  <a:gd name="connsiteY14" fmla="*/ 150371 h 599144"/>
                  <a:gd name="connsiteX15" fmla="*/ 88081 w 449650"/>
                  <a:gd name="connsiteY15" fmla="*/ 150371 h 599144"/>
                  <a:gd name="connsiteX16" fmla="*/ 75623 w 449650"/>
                  <a:gd name="connsiteY16" fmla="*/ 137913 h 599144"/>
                  <a:gd name="connsiteX17" fmla="*/ 88081 w 449650"/>
                  <a:gd name="connsiteY17" fmla="*/ 125455 h 599144"/>
                  <a:gd name="connsiteX18" fmla="*/ 271226 w 449650"/>
                  <a:gd name="connsiteY18" fmla="*/ 470698 h 599144"/>
                  <a:gd name="connsiteX19" fmla="*/ 200202 w 449650"/>
                  <a:gd name="connsiteY19" fmla="*/ 524106 h 599144"/>
                  <a:gd name="connsiteX20" fmla="*/ 173437 w 449650"/>
                  <a:gd name="connsiteY20" fmla="*/ 487316 h 599144"/>
                  <a:gd name="connsiteX21" fmla="*/ 137912 w 449650"/>
                  <a:gd name="connsiteY21" fmla="*/ 524106 h 599144"/>
                  <a:gd name="connsiteX22" fmla="*/ 109127 w 449650"/>
                  <a:gd name="connsiteY22" fmla="*/ 509714 h 599144"/>
                  <a:gd name="connsiteX23" fmla="*/ 95550 w 449650"/>
                  <a:gd name="connsiteY23" fmla="*/ 521612 h 599144"/>
                  <a:gd name="connsiteX24" fmla="*/ 88080 w 449650"/>
                  <a:gd name="connsiteY24" fmla="*/ 524106 h 599144"/>
                  <a:gd name="connsiteX25" fmla="*/ 78104 w 449650"/>
                  <a:gd name="connsiteY25" fmla="*/ 519118 h 599144"/>
                  <a:gd name="connsiteX26" fmla="*/ 80610 w 449650"/>
                  <a:gd name="connsiteY26" fmla="*/ 501684 h 599144"/>
                  <a:gd name="connsiteX27" fmla="*/ 92509 w 449650"/>
                  <a:gd name="connsiteY27" fmla="*/ 491197 h 599144"/>
                  <a:gd name="connsiteX28" fmla="*/ 75623 w 449650"/>
                  <a:gd name="connsiteY28" fmla="*/ 449359 h 599144"/>
                  <a:gd name="connsiteX29" fmla="*/ 112997 w 449650"/>
                  <a:gd name="connsiteY29" fmla="*/ 399527 h 599144"/>
                  <a:gd name="connsiteX30" fmla="*/ 150370 w 449650"/>
                  <a:gd name="connsiteY30" fmla="*/ 436900 h 599144"/>
                  <a:gd name="connsiteX31" fmla="*/ 125624 w 449650"/>
                  <a:gd name="connsiteY31" fmla="*/ 491014 h 599144"/>
                  <a:gd name="connsiteX32" fmla="*/ 138033 w 449650"/>
                  <a:gd name="connsiteY32" fmla="*/ 499189 h 599144"/>
                  <a:gd name="connsiteX33" fmla="*/ 151999 w 449650"/>
                  <a:gd name="connsiteY33" fmla="*/ 474456 h 599144"/>
                  <a:gd name="connsiteX34" fmla="*/ 175286 w 449650"/>
                  <a:gd name="connsiteY34" fmla="*/ 449358 h 599144"/>
                  <a:gd name="connsiteX35" fmla="*/ 197087 w 449650"/>
                  <a:gd name="connsiteY35" fmla="*/ 479383 h 599144"/>
                  <a:gd name="connsiteX36" fmla="*/ 203194 w 449650"/>
                  <a:gd name="connsiteY36" fmla="*/ 497461 h 599144"/>
                  <a:gd name="connsiteX37" fmla="*/ 253756 w 449650"/>
                  <a:gd name="connsiteY37" fmla="*/ 452934 h 599144"/>
                  <a:gd name="connsiteX38" fmla="*/ 271372 w 449650"/>
                  <a:gd name="connsiteY38" fmla="*/ 453080 h 599144"/>
                  <a:gd name="connsiteX39" fmla="*/ 271226 w 449650"/>
                  <a:gd name="connsiteY39" fmla="*/ 470698 h 599144"/>
                  <a:gd name="connsiteX40" fmla="*/ 362153 w 449650"/>
                  <a:gd name="connsiteY40" fmla="*/ 374612 h 599144"/>
                  <a:gd name="connsiteX41" fmla="*/ 187744 w 449650"/>
                  <a:gd name="connsiteY41" fmla="*/ 374612 h 599144"/>
                  <a:gd name="connsiteX42" fmla="*/ 175286 w 449650"/>
                  <a:gd name="connsiteY42" fmla="*/ 362153 h 599144"/>
                  <a:gd name="connsiteX43" fmla="*/ 187744 w 449650"/>
                  <a:gd name="connsiteY43" fmla="*/ 349695 h 599144"/>
                  <a:gd name="connsiteX44" fmla="*/ 362153 w 449650"/>
                  <a:gd name="connsiteY44" fmla="*/ 349695 h 599144"/>
                  <a:gd name="connsiteX45" fmla="*/ 374612 w 449650"/>
                  <a:gd name="connsiteY45" fmla="*/ 362153 h 599144"/>
                  <a:gd name="connsiteX46" fmla="*/ 362153 w 449650"/>
                  <a:gd name="connsiteY46" fmla="*/ 374612 h 599144"/>
                  <a:gd name="connsiteX47" fmla="*/ 362153 w 449650"/>
                  <a:gd name="connsiteY47" fmla="*/ 299864 h 599144"/>
                  <a:gd name="connsiteX48" fmla="*/ 88081 w 449650"/>
                  <a:gd name="connsiteY48" fmla="*/ 299864 h 599144"/>
                  <a:gd name="connsiteX49" fmla="*/ 75623 w 449650"/>
                  <a:gd name="connsiteY49" fmla="*/ 287406 h 599144"/>
                  <a:gd name="connsiteX50" fmla="*/ 88081 w 449650"/>
                  <a:gd name="connsiteY50" fmla="*/ 274948 h 599144"/>
                  <a:gd name="connsiteX51" fmla="*/ 362155 w 449650"/>
                  <a:gd name="connsiteY51" fmla="*/ 274948 h 599144"/>
                  <a:gd name="connsiteX52" fmla="*/ 374613 w 449650"/>
                  <a:gd name="connsiteY52" fmla="*/ 287406 h 599144"/>
                  <a:gd name="connsiteX53" fmla="*/ 362153 w 449650"/>
                  <a:gd name="connsiteY53" fmla="*/ 299864 h 599144"/>
                  <a:gd name="connsiteX54" fmla="*/ 362153 w 449650"/>
                  <a:gd name="connsiteY54" fmla="*/ 225117 h 599144"/>
                  <a:gd name="connsiteX55" fmla="*/ 88081 w 449650"/>
                  <a:gd name="connsiteY55" fmla="*/ 225117 h 599144"/>
                  <a:gd name="connsiteX56" fmla="*/ 75623 w 449650"/>
                  <a:gd name="connsiteY56" fmla="*/ 212659 h 599144"/>
                  <a:gd name="connsiteX57" fmla="*/ 88081 w 449650"/>
                  <a:gd name="connsiteY57" fmla="*/ 200201 h 599144"/>
                  <a:gd name="connsiteX58" fmla="*/ 362155 w 449650"/>
                  <a:gd name="connsiteY58" fmla="*/ 200201 h 599144"/>
                  <a:gd name="connsiteX59" fmla="*/ 374613 w 449650"/>
                  <a:gd name="connsiteY59" fmla="*/ 212659 h 599144"/>
                  <a:gd name="connsiteX60" fmla="*/ 362153 w 449650"/>
                  <a:gd name="connsiteY60" fmla="*/ 225117 h 599144"/>
                  <a:gd name="connsiteX61" fmla="*/ 349696 w 449650"/>
                  <a:gd name="connsiteY61" fmla="*/ 125455 h 599144"/>
                  <a:gd name="connsiteX62" fmla="*/ 324781 w 449650"/>
                  <a:gd name="connsiteY62" fmla="*/ 100540 h 599144"/>
                  <a:gd name="connsiteX63" fmla="*/ 324781 w 449650"/>
                  <a:gd name="connsiteY63" fmla="*/ 43408 h 599144"/>
                  <a:gd name="connsiteX64" fmla="*/ 406828 w 449650"/>
                  <a:gd name="connsiteY64" fmla="*/ 125455 h 599144"/>
                  <a:gd name="connsiteX65" fmla="*/ 349696 w 449650"/>
                  <a:gd name="connsiteY65" fmla="*/ 125455 h 599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449650" h="599144">
                    <a:moveTo>
                      <a:pt x="445694" y="129089"/>
                    </a:moveTo>
                    <a:lnTo>
                      <a:pt x="321145" y="4541"/>
                    </a:lnTo>
                    <a:cubicBezTo>
                      <a:pt x="318890" y="2279"/>
                      <a:pt x="315773" y="876"/>
                      <a:pt x="312323" y="876"/>
                    </a:cubicBezTo>
                    <a:lnTo>
                      <a:pt x="50708" y="876"/>
                    </a:lnTo>
                    <a:cubicBezTo>
                      <a:pt x="23237" y="876"/>
                      <a:pt x="876" y="23224"/>
                      <a:pt x="876" y="50708"/>
                    </a:cubicBezTo>
                    <a:lnTo>
                      <a:pt x="876" y="549022"/>
                    </a:lnTo>
                    <a:cubicBezTo>
                      <a:pt x="876" y="576505"/>
                      <a:pt x="23237" y="598853"/>
                      <a:pt x="50708" y="598853"/>
                    </a:cubicBezTo>
                    <a:lnTo>
                      <a:pt x="399528" y="598853"/>
                    </a:lnTo>
                    <a:cubicBezTo>
                      <a:pt x="426998" y="598853"/>
                      <a:pt x="449359" y="576505"/>
                      <a:pt x="449359" y="549021"/>
                    </a:cubicBezTo>
                    <a:lnTo>
                      <a:pt x="449359" y="137912"/>
                    </a:lnTo>
                    <a:cubicBezTo>
                      <a:pt x="449359" y="134462"/>
                      <a:pt x="447956" y="131345"/>
                      <a:pt x="445694" y="129089"/>
                    </a:cubicBezTo>
                    <a:close/>
                    <a:moveTo>
                      <a:pt x="88081" y="125455"/>
                    </a:moveTo>
                    <a:lnTo>
                      <a:pt x="237576" y="125455"/>
                    </a:lnTo>
                    <a:cubicBezTo>
                      <a:pt x="244462" y="125455"/>
                      <a:pt x="250034" y="131027"/>
                      <a:pt x="250034" y="137913"/>
                    </a:cubicBezTo>
                    <a:cubicBezTo>
                      <a:pt x="250034" y="144799"/>
                      <a:pt x="244462" y="150371"/>
                      <a:pt x="237576" y="150371"/>
                    </a:cubicBezTo>
                    <a:lnTo>
                      <a:pt x="88081" y="150371"/>
                    </a:lnTo>
                    <a:cubicBezTo>
                      <a:pt x="81195" y="150371"/>
                      <a:pt x="75623" y="144799"/>
                      <a:pt x="75623" y="137913"/>
                    </a:cubicBezTo>
                    <a:cubicBezTo>
                      <a:pt x="75623" y="131027"/>
                      <a:pt x="81195" y="125455"/>
                      <a:pt x="88081" y="125455"/>
                    </a:cubicBezTo>
                    <a:close/>
                    <a:moveTo>
                      <a:pt x="271226" y="470698"/>
                    </a:moveTo>
                    <a:cubicBezTo>
                      <a:pt x="216991" y="524106"/>
                      <a:pt x="204362" y="524106"/>
                      <a:pt x="200202" y="524106"/>
                    </a:cubicBezTo>
                    <a:cubicBezTo>
                      <a:pt x="184727" y="524106"/>
                      <a:pt x="179179" y="506344"/>
                      <a:pt x="173437" y="487316"/>
                    </a:cubicBezTo>
                    <a:cubicBezTo>
                      <a:pt x="164750" y="504945"/>
                      <a:pt x="154750" y="524106"/>
                      <a:pt x="137912" y="524106"/>
                    </a:cubicBezTo>
                    <a:cubicBezTo>
                      <a:pt x="129249" y="524106"/>
                      <a:pt x="118884" y="518401"/>
                      <a:pt x="109127" y="509714"/>
                    </a:cubicBezTo>
                    <a:cubicBezTo>
                      <a:pt x="104480" y="514336"/>
                      <a:pt x="99856" y="518388"/>
                      <a:pt x="95550" y="521612"/>
                    </a:cubicBezTo>
                    <a:cubicBezTo>
                      <a:pt x="93311" y="523292"/>
                      <a:pt x="90683" y="524106"/>
                      <a:pt x="88080" y="524106"/>
                    </a:cubicBezTo>
                    <a:cubicBezTo>
                      <a:pt x="84309" y="524106"/>
                      <a:pt x="80561" y="522390"/>
                      <a:pt x="78104" y="519118"/>
                    </a:cubicBezTo>
                    <a:cubicBezTo>
                      <a:pt x="73991" y="513619"/>
                      <a:pt x="75110" y="505808"/>
                      <a:pt x="80610" y="501684"/>
                    </a:cubicBezTo>
                    <a:cubicBezTo>
                      <a:pt x="84552" y="498715"/>
                      <a:pt x="88567" y="495139"/>
                      <a:pt x="92509" y="491197"/>
                    </a:cubicBezTo>
                    <a:cubicBezTo>
                      <a:pt x="82606" y="477535"/>
                      <a:pt x="75623" y="461963"/>
                      <a:pt x="75623" y="449359"/>
                    </a:cubicBezTo>
                    <a:cubicBezTo>
                      <a:pt x="75623" y="420927"/>
                      <a:pt x="98301" y="399527"/>
                      <a:pt x="112997" y="399527"/>
                    </a:cubicBezTo>
                    <a:cubicBezTo>
                      <a:pt x="127450" y="399527"/>
                      <a:pt x="150370" y="409674"/>
                      <a:pt x="150370" y="436900"/>
                    </a:cubicBezTo>
                    <a:cubicBezTo>
                      <a:pt x="150370" y="452764"/>
                      <a:pt x="139347" y="473288"/>
                      <a:pt x="125624" y="491014"/>
                    </a:cubicBezTo>
                    <a:cubicBezTo>
                      <a:pt x="130709" y="495759"/>
                      <a:pt x="135333" y="498909"/>
                      <a:pt x="138033" y="499189"/>
                    </a:cubicBezTo>
                    <a:cubicBezTo>
                      <a:pt x="140783" y="497255"/>
                      <a:pt x="148350" y="481853"/>
                      <a:pt x="151999" y="474456"/>
                    </a:cubicBezTo>
                    <a:cubicBezTo>
                      <a:pt x="159445" y="459346"/>
                      <a:pt x="164360" y="449358"/>
                      <a:pt x="175286" y="449358"/>
                    </a:cubicBezTo>
                    <a:cubicBezTo>
                      <a:pt x="188060" y="449358"/>
                      <a:pt x="192025" y="462606"/>
                      <a:pt x="197087" y="479383"/>
                    </a:cubicBezTo>
                    <a:cubicBezTo>
                      <a:pt x="198572" y="484358"/>
                      <a:pt x="201029" y="492558"/>
                      <a:pt x="203194" y="497461"/>
                    </a:cubicBezTo>
                    <a:cubicBezTo>
                      <a:pt x="212343" y="491280"/>
                      <a:pt x="235434" y="470963"/>
                      <a:pt x="253756" y="452934"/>
                    </a:cubicBezTo>
                    <a:cubicBezTo>
                      <a:pt x="258671" y="448128"/>
                      <a:pt x="266554" y="448152"/>
                      <a:pt x="271372" y="453080"/>
                    </a:cubicBezTo>
                    <a:cubicBezTo>
                      <a:pt x="276189" y="457984"/>
                      <a:pt x="276142" y="465867"/>
                      <a:pt x="271226" y="470698"/>
                    </a:cubicBezTo>
                    <a:close/>
                    <a:moveTo>
                      <a:pt x="362153" y="374612"/>
                    </a:moveTo>
                    <a:lnTo>
                      <a:pt x="187744" y="374612"/>
                    </a:lnTo>
                    <a:cubicBezTo>
                      <a:pt x="180858" y="374612"/>
                      <a:pt x="175286" y="369039"/>
                      <a:pt x="175286" y="362153"/>
                    </a:cubicBezTo>
                    <a:cubicBezTo>
                      <a:pt x="175286" y="355267"/>
                      <a:pt x="180858" y="349695"/>
                      <a:pt x="187744" y="349695"/>
                    </a:cubicBezTo>
                    <a:lnTo>
                      <a:pt x="362153" y="349695"/>
                    </a:lnTo>
                    <a:cubicBezTo>
                      <a:pt x="369039" y="349695"/>
                      <a:pt x="374612" y="355267"/>
                      <a:pt x="374612" y="362153"/>
                    </a:cubicBezTo>
                    <a:cubicBezTo>
                      <a:pt x="374612" y="369039"/>
                      <a:pt x="369039" y="374612"/>
                      <a:pt x="362153" y="374612"/>
                    </a:cubicBezTo>
                    <a:close/>
                    <a:moveTo>
                      <a:pt x="362153" y="299864"/>
                    </a:moveTo>
                    <a:lnTo>
                      <a:pt x="88081" y="299864"/>
                    </a:lnTo>
                    <a:cubicBezTo>
                      <a:pt x="81195" y="299864"/>
                      <a:pt x="75623" y="294292"/>
                      <a:pt x="75623" y="287406"/>
                    </a:cubicBezTo>
                    <a:cubicBezTo>
                      <a:pt x="75623" y="280520"/>
                      <a:pt x="81195" y="274948"/>
                      <a:pt x="88081" y="274948"/>
                    </a:cubicBezTo>
                    <a:lnTo>
                      <a:pt x="362155" y="274948"/>
                    </a:lnTo>
                    <a:cubicBezTo>
                      <a:pt x="369041" y="274948"/>
                      <a:pt x="374613" y="280520"/>
                      <a:pt x="374613" y="287406"/>
                    </a:cubicBezTo>
                    <a:cubicBezTo>
                      <a:pt x="374612" y="294292"/>
                      <a:pt x="369039" y="299864"/>
                      <a:pt x="362153" y="299864"/>
                    </a:cubicBezTo>
                    <a:close/>
                    <a:moveTo>
                      <a:pt x="362153" y="225117"/>
                    </a:moveTo>
                    <a:lnTo>
                      <a:pt x="88081" y="225117"/>
                    </a:lnTo>
                    <a:cubicBezTo>
                      <a:pt x="81195" y="225117"/>
                      <a:pt x="75623" y="219545"/>
                      <a:pt x="75623" y="212659"/>
                    </a:cubicBezTo>
                    <a:cubicBezTo>
                      <a:pt x="75623" y="205773"/>
                      <a:pt x="81195" y="200201"/>
                      <a:pt x="88081" y="200201"/>
                    </a:cubicBezTo>
                    <a:lnTo>
                      <a:pt x="362155" y="200201"/>
                    </a:lnTo>
                    <a:cubicBezTo>
                      <a:pt x="369041" y="200201"/>
                      <a:pt x="374613" y="205773"/>
                      <a:pt x="374613" y="212659"/>
                    </a:cubicBezTo>
                    <a:cubicBezTo>
                      <a:pt x="374612" y="219545"/>
                      <a:pt x="369039" y="225117"/>
                      <a:pt x="362153" y="225117"/>
                    </a:cubicBezTo>
                    <a:close/>
                    <a:moveTo>
                      <a:pt x="349696" y="125455"/>
                    </a:moveTo>
                    <a:cubicBezTo>
                      <a:pt x="335949" y="125455"/>
                      <a:pt x="324781" y="114274"/>
                      <a:pt x="324781" y="100540"/>
                    </a:cubicBezTo>
                    <a:lnTo>
                      <a:pt x="324781" y="43408"/>
                    </a:lnTo>
                    <a:lnTo>
                      <a:pt x="406828" y="125455"/>
                    </a:lnTo>
                    <a:lnTo>
                      <a:pt x="349696" y="12545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25" name="Forma libre 303">
                <a:extLst>
                  <a:ext uri="{FF2B5EF4-FFF2-40B4-BE49-F238E27FC236}">
                    <a16:creationId xmlns:a16="http://schemas.microsoft.com/office/drawing/2014/main" id="{9300A0FE-5D0C-C5C4-649A-585EA182E27D}"/>
                  </a:ext>
                </a:extLst>
              </p:cNvPr>
              <p:cNvSpPr/>
              <p:nvPr/>
            </p:nvSpPr>
            <p:spPr>
              <a:xfrm>
                <a:off x="6490081" y="688243"/>
                <a:ext cx="25694" cy="47885"/>
              </a:xfrm>
              <a:custGeom>
                <a:avLst/>
                <a:gdLst>
                  <a:gd name="connsiteX0" fmla="*/ 13334 w 25694"/>
                  <a:gd name="connsiteY0" fmla="*/ 876 h 47884"/>
                  <a:gd name="connsiteX1" fmla="*/ 876 w 25694"/>
                  <a:gd name="connsiteY1" fmla="*/ 25791 h 47884"/>
                  <a:gd name="connsiteX2" fmla="*/ 9538 w 25694"/>
                  <a:gd name="connsiteY2" fmla="*/ 47885 h 47884"/>
                  <a:gd name="connsiteX3" fmla="*/ 25792 w 25694"/>
                  <a:gd name="connsiteY3" fmla="*/ 13334 h 47884"/>
                  <a:gd name="connsiteX4" fmla="*/ 13334 w 25694"/>
                  <a:gd name="connsiteY4" fmla="*/ 876 h 47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94" h="47884">
                    <a:moveTo>
                      <a:pt x="13334" y="876"/>
                    </a:moveTo>
                    <a:cubicBezTo>
                      <a:pt x="12020" y="1703"/>
                      <a:pt x="876" y="10597"/>
                      <a:pt x="876" y="25791"/>
                    </a:cubicBezTo>
                    <a:cubicBezTo>
                      <a:pt x="876" y="32166"/>
                      <a:pt x="4477" y="40172"/>
                      <a:pt x="9538" y="47885"/>
                    </a:cubicBezTo>
                    <a:cubicBezTo>
                      <a:pt x="19077" y="34685"/>
                      <a:pt x="25792" y="21278"/>
                      <a:pt x="25792" y="13334"/>
                    </a:cubicBezTo>
                    <a:cubicBezTo>
                      <a:pt x="25792" y="1472"/>
                      <a:pt x="15403" y="876"/>
                      <a:pt x="13334" y="87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grpSp>
        <p:sp>
          <p:nvSpPr>
            <p:cNvPr id="123" name="Content Placeholder 18">
              <a:extLst>
                <a:ext uri="{FF2B5EF4-FFF2-40B4-BE49-F238E27FC236}">
                  <a16:creationId xmlns:a16="http://schemas.microsoft.com/office/drawing/2014/main" id="{2BDD884D-617A-AD6C-1493-AB283B711DCE}"/>
                </a:ext>
              </a:extLst>
            </p:cNvPr>
            <p:cNvSpPr txBox="1">
              <a:spLocks/>
            </p:cNvSpPr>
            <p:nvPr/>
          </p:nvSpPr>
          <p:spPr>
            <a:xfrm>
              <a:off x="9188862" y="956372"/>
              <a:ext cx="465404" cy="123111"/>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tx2">
                      <a:lumMod val="100000"/>
                      <a:alpha val="0"/>
                    </a:schemeClr>
                  </a:solidFill>
                  <a:prstDash val="solid"/>
                  <a:round/>
                  <a:headEnd type="none" w="med" len="med"/>
                  <a:tailEnd type="none" w="med" len="med"/>
                </a14:hiddenLine>
              </a:ext>
            </a:extLst>
          </p:spPr>
          <p:txBody>
            <a:bodyPr wrap="square" lIns="0" tIns="0" rIns="0" bIns="0">
              <a:spAutoFit/>
            </a:bodyPr>
            <a:lstStyle>
              <a:lvl1pPr marL="180000" indent="-180000" algn="l" defTabSz="914400" rtl="0" eaLnBrk="1" latinLnBrk="0" hangingPunct="1">
                <a:lnSpc>
                  <a:spcPct val="90000"/>
                </a:lnSpc>
                <a:spcBef>
                  <a:spcPts val="1000"/>
                </a:spcBef>
                <a:buFont typeface="Wingdings" panose="05000000000000000000" pitchFamily="2" charset="2"/>
                <a:buChar char="§"/>
                <a:defRPr sz="1600" kern="1200" baseline="0">
                  <a:solidFill>
                    <a:schemeClr val="tx1"/>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146D"/>
                </a:buClr>
                <a:buSzTx/>
                <a:buFont typeface="Wingdings" panose="05000000000000000000" pitchFamily="2" charset="2"/>
                <a:buNone/>
                <a:tabLst/>
                <a:defRPr/>
              </a:pPr>
              <a:r>
                <a:rPr kumimoji="0" lang="en-GB" sz="400" b="0" i="0" u="none" strike="noStrike" kern="1200" cap="none" spc="0" normalizeH="0" baseline="0" noProof="0">
                  <a:ln>
                    <a:noFill/>
                  </a:ln>
                  <a:solidFill>
                    <a:schemeClr val="accent1"/>
                  </a:solidFill>
                  <a:effectLst/>
                  <a:uLnTx/>
                  <a:uFillTx/>
                  <a:latin typeface="Arial" panose="020B0604020202020204"/>
                  <a:ea typeface="+mn-ea"/>
                  <a:cs typeface="Arial"/>
                  <a:sym typeface="Arial"/>
                </a:rPr>
                <a:t>BATTERY PASS</a:t>
              </a:r>
            </a:p>
            <a:p>
              <a:pPr marL="0" marR="0" lvl="0" indent="0" algn="l" defTabSz="914400" rtl="0" eaLnBrk="1" fontAlgn="auto" latinLnBrk="0" hangingPunct="1">
                <a:lnSpc>
                  <a:spcPct val="100000"/>
                </a:lnSpc>
                <a:spcBef>
                  <a:spcPts val="0"/>
                </a:spcBef>
                <a:spcAft>
                  <a:spcPts val="0"/>
                </a:spcAft>
                <a:buClr>
                  <a:srgbClr val="00146D"/>
                </a:buClr>
                <a:buSzTx/>
                <a:buFont typeface="Wingdings" panose="05000000000000000000" pitchFamily="2" charset="2"/>
                <a:buNone/>
                <a:tabLst/>
                <a:defRPr/>
              </a:pPr>
              <a:r>
                <a:rPr kumimoji="0" lang="en-GB" sz="400" b="0" i="1" u="none" strike="noStrike" kern="1200" cap="none" spc="0" normalizeH="0" baseline="0" noProof="0">
                  <a:ln>
                    <a:noFill/>
                  </a:ln>
                  <a:solidFill>
                    <a:schemeClr val="accent1"/>
                  </a:solidFill>
                  <a:effectLst/>
                  <a:uLnTx/>
                  <a:uFillTx/>
                  <a:latin typeface="Arial" panose="020B0604020202020204"/>
                  <a:ea typeface="+mn-ea"/>
                  <a:cs typeface="Arial"/>
                  <a:sym typeface="Arial"/>
                </a:rPr>
                <a:t>N</a:t>
              </a:r>
              <a:r>
                <a:rPr kumimoji="0" lang="en-GB" sz="400" b="0" i="1" u="none" strike="noStrike" kern="1200" cap="none" spc="0" normalizeH="0" baseline="30000" noProof="0">
                  <a:ln>
                    <a:noFill/>
                  </a:ln>
                  <a:solidFill>
                    <a:schemeClr val="accent1"/>
                  </a:solidFill>
                  <a:effectLst/>
                  <a:uLnTx/>
                  <a:uFillTx/>
                  <a:latin typeface="Arial" panose="020B0604020202020204"/>
                  <a:ea typeface="+mn-ea"/>
                  <a:cs typeface="Arial"/>
                  <a:sym typeface="Arial"/>
                </a:rPr>
                <a:t>o</a:t>
              </a:r>
              <a:r>
                <a:rPr kumimoji="0" lang="en-GB" sz="400" b="0" i="1" u="none" strike="noStrike" kern="1200" cap="none" spc="0" normalizeH="0" baseline="0" noProof="0">
                  <a:ln>
                    <a:noFill/>
                  </a:ln>
                  <a:solidFill>
                    <a:schemeClr val="accent1"/>
                  </a:solidFill>
                  <a:effectLst/>
                  <a:uLnTx/>
                  <a:uFillTx/>
                  <a:latin typeface="Arial" panose="020B0604020202020204"/>
                  <a:ea typeface="+mn-ea"/>
                  <a:cs typeface="Arial"/>
                  <a:sym typeface="Arial"/>
                </a:rPr>
                <a:t>- SZ41621956</a:t>
              </a:r>
            </a:p>
          </p:txBody>
        </p:sp>
      </p:grpSp>
      <p:sp>
        <p:nvSpPr>
          <p:cNvPr id="153" name="Fußzeilenplatzhalter 3">
            <a:extLst>
              <a:ext uri="{FF2B5EF4-FFF2-40B4-BE49-F238E27FC236}">
                <a16:creationId xmlns:a16="http://schemas.microsoft.com/office/drawing/2014/main" id="{BA81000B-DF27-4BD8-E2BD-24C50E096C09}"/>
              </a:ext>
            </a:extLst>
          </p:cNvPr>
          <p:cNvSpPr txBox="1">
            <a:spLocks/>
          </p:cNvSpPr>
          <p:nvPr/>
        </p:nvSpPr>
        <p:spPr>
          <a:xfrm>
            <a:off x="1368178" y="6516000"/>
            <a:ext cx="5616000" cy="167933"/>
          </a:xfrm>
          <a:prstGeom prst="rect">
            <a:avLst/>
          </a:prstGeom>
        </p:spPr>
        <p:txBody>
          <a:bodyPr lIns="0" tIns="0" rIns="0" bIns="0"/>
          <a:ls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900">
                <a:latin typeface="Arial" panose="020B0604020202020204"/>
                <a:cs typeface="Arial"/>
              </a:rPr>
              <a:t>|  </a:t>
            </a:r>
            <a:r>
              <a:rPr lang="en-US" sz="900">
                <a:latin typeface="+mj-lt"/>
                <a:cs typeface="Calibri" panose="020F0502020204030204" pitchFamily="34" charset="0"/>
                <a:sym typeface="Calibri" panose="020F0502020204030204" pitchFamily="34" charset="0"/>
              </a:rPr>
              <a:t>Source: </a:t>
            </a:r>
            <a:r>
              <a:rPr lang="en-US" sz="900">
                <a:latin typeface="+mj-lt"/>
                <a:cs typeface="Calibri" panose="020F0502020204030204" pitchFamily="34" charset="0"/>
                <a:sym typeface="Calibri" panose="020F0502020204030204" pitchFamily="34" charset="0"/>
                <a:hlinkClick r:id="rId16">
                  <a:extLst>
                    <a:ext uri="{A12FA001-AC4F-418D-AE19-62706E023703}">
                      <ahyp:hlinkClr xmlns:ahyp="http://schemas.microsoft.com/office/drawing/2018/hyperlinkcolor" val="tx"/>
                    </a:ext>
                  </a:extLst>
                </a:hlinkClick>
              </a:rPr>
              <a:t>https://thebatterypass.eu</a:t>
            </a:r>
            <a:r>
              <a:rPr lang="en-US" sz="900">
                <a:latin typeface="+mj-lt"/>
                <a:cs typeface="Calibri" panose="020F0502020204030204" pitchFamily="34" charset="0"/>
                <a:sym typeface="Calibri" panose="020F0502020204030204" pitchFamily="34" charset="0"/>
              </a:rPr>
              <a:t> </a:t>
            </a:r>
          </a:p>
        </p:txBody>
      </p:sp>
      <p:pic>
        <p:nvPicPr>
          <p:cNvPr id="154" name="object 8">
            <a:extLst>
              <a:ext uri="{FF2B5EF4-FFF2-40B4-BE49-F238E27FC236}">
                <a16:creationId xmlns:a16="http://schemas.microsoft.com/office/drawing/2014/main" id="{870FEDD9-2EAF-83FE-56EB-30E33C649529}"/>
              </a:ext>
            </a:extLst>
          </p:cNvPr>
          <p:cNvPicPr/>
          <p:nvPr/>
        </p:nvPicPr>
        <p:blipFill>
          <a:blip r:embed="rId17" cstate="print"/>
          <a:stretch>
            <a:fillRect/>
          </a:stretch>
        </p:blipFill>
        <p:spPr>
          <a:xfrm>
            <a:off x="226800" y="6013170"/>
            <a:ext cx="863921" cy="283182"/>
          </a:xfrm>
          <a:prstGeom prst="rect">
            <a:avLst/>
          </a:prstGeom>
        </p:spPr>
      </p:pic>
    </p:spTree>
    <p:extLst>
      <p:ext uri="{BB962C8B-B14F-4D97-AF65-F5344CB8AC3E}">
        <p14:creationId xmlns:p14="http://schemas.microsoft.com/office/powerpoint/2010/main" val="15584003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0C2134-43A0-DBCC-2285-7C419F1F757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B724ADB-0B6B-15AD-D9F5-A36B074E7322}"/>
              </a:ext>
            </a:extLst>
          </p:cNvPr>
          <p:cNvSpPr>
            <a:spLocks noGrp="1" noRot="1" noMove="1" noResize="1" noEditPoints="1" noAdjustHandles="1" noChangeArrowheads="1" noChangeShapeType="1"/>
          </p:cNvSpPr>
          <p:nvPr>
            <p:ph type="title"/>
          </p:nvPr>
        </p:nvSpPr>
        <p:spPr/>
        <p:txBody>
          <a:bodyPr/>
          <a:lstStyle/>
          <a:p>
            <a:r>
              <a:rPr lang="en-GB"/>
              <a:t>Lessons Learned from the Battery Pass</a:t>
            </a:r>
            <a:endParaRPr lang="en-CH" b="0"/>
          </a:p>
        </p:txBody>
      </p:sp>
      <p:sp>
        <p:nvSpPr>
          <p:cNvPr id="4" name="Date Placeholder 3">
            <a:extLst>
              <a:ext uri="{FF2B5EF4-FFF2-40B4-BE49-F238E27FC236}">
                <a16:creationId xmlns:a16="http://schemas.microsoft.com/office/drawing/2014/main" id="{7F7FC263-21B9-9878-8DD7-7B5D3025B0CD}"/>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368FC967-E25B-4DC7-87C0-1C454DF70C3D}"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5" name="Slide Number Placeholder 4">
            <a:extLst>
              <a:ext uri="{FF2B5EF4-FFF2-40B4-BE49-F238E27FC236}">
                <a16:creationId xmlns:a16="http://schemas.microsoft.com/office/drawing/2014/main" id="{2682F87B-20D0-84D3-B7B0-EB5A3D741FCF}"/>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23</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cxnSp>
        <p:nvCxnSpPr>
          <p:cNvPr id="7" name="Gerader Verbinder 34">
            <a:extLst>
              <a:ext uri="{FF2B5EF4-FFF2-40B4-BE49-F238E27FC236}">
                <a16:creationId xmlns:a16="http://schemas.microsoft.com/office/drawing/2014/main" id="{3A21079E-1CD7-1E54-EBB8-73373F874434}"/>
              </a:ext>
            </a:extLst>
          </p:cNvPr>
          <p:cNvCxnSpPr>
            <a:cxnSpLocks/>
          </p:cNvCxnSpPr>
          <p:nvPr/>
        </p:nvCxnSpPr>
        <p:spPr>
          <a:xfrm>
            <a:off x="336478" y="3436307"/>
            <a:ext cx="11448000" cy="0"/>
          </a:xfrm>
          <a:prstGeom prst="line">
            <a:avLst/>
          </a:pr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8" name="Verbinder: gekrümmt 52">
            <a:extLst>
              <a:ext uri="{FF2B5EF4-FFF2-40B4-BE49-F238E27FC236}">
                <a16:creationId xmlns:a16="http://schemas.microsoft.com/office/drawing/2014/main" id="{0D81B5C0-1D44-3E44-3611-C8DC18335B7B}"/>
              </a:ext>
            </a:extLst>
          </p:cNvPr>
          <p:cNvCxnSpPr>
            <a:cxnSpLocks/>
            <a:stCxn id="17" idx="0"/>
            <a:endCxn id="85" idx="1"/>
          </p:cNvCxnSpPr>
          <p:nvPr/>
        </p:nvCxnSpPr>
        <p:spPr>
          <a:xfrm rot="5400000" flipH="1" flipV="1">
            <a:off x="6337030" y="3458242"/>
            <a:ext cx="2762066" cy="1351124"/>
          </a:xfrm>
          <a:prstGeom prst="curvedConnector2">
            <a:avLst/>
          </a:prstGeom>
          <a:ln w="28575">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 name="Verbinder: gekrümmt 55">
            <a:extLst>
              <a:ext uri="{FF2B5EF4-FFF2-40B4-BE49-F238E27FC236}">
                <a16:creationId xmlns:a16="http://schemas.microsoft.com/office/drawing/2014/main" id="{2FA0BA68-6BD9-604E-FC69-AE7E2CCF784E}"/>
              </a:ext>
            </a:extLst>
          </p:cNvPr>
          <p:cNvCxnSpPr>
            <a:cxnSpLocks/>
            <a:stCxn id="16" idx="0"/>
            <a:endCxn id="85" idx="1"/>
          </p:cNvCxnSpPr>
          <p:nvPr/>
        </p:nvCxnSpPr>
        <p:spPr>
          <a:xfrm rot="5400000" flipH="1" flipV="1">
            <a:off x="5811134" y="2932347"/>
            <a:ext cx="2762066" cy="2402915"/>
          </a:xfrm>
          <a:prstGeom prst="curvedConnector2">
            <a:avLst/>
          </a:prstGeom>
          <a:ln>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 name="Verbinder: gekrümmt 58">
            <a:extLst>
              <a:ext uri="{FF2B5EF4-FFF2-40B4-BE49-F238E27FC236}">
                <a16:creationId xmlns:a16="http://schemas.microsoft.com/office/drawing/2014/main" id="{4D531AA1-01EA-4B82-21B1-B125DC86925D}"/>
              </a:ext>
            </a:extLst>
          </p:cNvPr>
          <p:cNvCxnSpPr>
            <a:cxnSpLocks/>
            <a:endCxn id="85" idx="1"/>
          </p:cNvCxnSpPr>
          <p:nvPr/>
        </p:nvCxnSpPr>
        <p:spPr>
          <a:xfrm flipV="1">
            <a:off x="4938919" y="2752771"/>
            <a:ext cx="3454706" cy="2762067"/>
          </a:xfrm>
          <a:prstGeom prst="curvedConnector3">
            <a:avLst>
              <a:gd name="adj1" fmla="val 50000"/>
            </a:avLst>
          </a:prstGeom>
          <a:ln>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1" name="Verbinder: gekrümmt 64">
            <a:extLst>
              <a:ext uri="{FF2B5EF4-FFF2-40B4-BE49-F238E27FC236}">
                <a16:creationId xmlns:a16="http://schemas.microsoft.com/office/drawing/2014/main" id="{988DF934-165A-2E05-D3E1-BEEC3E053900}"/>
              </a:ext>
            </a:extLst>
          </p:cNvPr>
          <p:cNvCxnSpPr>
            <a:cxnSpLocks/>
            <a:stCxn id="15" idx="0"/>
            <a:endCxn id="85" idx="1"/>
          </p:cNvCxnSpPr>
          <p:nvPr/>
        </p:nvCxnSpPr>
        <p:spPr>
          <a:xfrm rot="5400000" flipH="1" flipV="1">
            <a:off x="4762565" y="1883778"/>
            <a:ext cx="2762066" cy="4500053"/>
          </a:xfrm>
          <a:prstGeom prst="curvedConnector2">
            <a:avLst/>
          </a:prstGeom>
          <a:ln>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2" name="Rectangle 1">
            <a:extLst>
              <a:ext uri="{FF2B5EF4-FFF2-40B4-BE49-F238E27FC236}">
                <a16:creationId xmlns:a16="http://schemas.microsoft.com/office/drawing/2014/main" id="{3FA80FC5-C6F7-A240-365D-EBE1D8B823D5}"/>
              </a:ext>
            </a:extLst>
          </p:cNvPr>
          <p:cNvSpPr/>
          <p:nvPr/>
        </p:nvSpPr>
        <p:spPr>
          <a:xfrm>
            <a:off x="3562006" y="4056225"/>
            <a:ext cx="6897493" cy="307777"/>
          </a:xfrm>
          <a:prstGeom prst="rect">
            <a:avLst/>
          </a:prstGeom>
          <a:solidFill>
            <a:srgbClr val="F2F2F2">
              <a:alpha val="63137"/>
            </a:srgbClr>
          </a:solidFill>
          <a:ln w="6350">
            <a:solidFill>
              <a:schemeClr val="accent6">
                <a:lumMod val="40000"/>
                <a:lumOff val="60000"/>
              </a:schemeClr>
            </a:solidFill>
            <a:prstDash val="dashDot"/>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GB" sz="1400">
                <a:solidFill>
                  <a:schemeClr val="tx1">
                    <a:lumMod val="65000"/>
                    <a:lumOff val="35000"/>
                  </a:schemeClr>
                </a:solidFill>
                <a:latin typeface="Arial" panose="020B0604020202020204"/>
                <a:cs typeface="Arial"/>
                <a:sym typeface="Arial"/>
              </a:rPr>
              <a:t>        </a:t>
            </a:r>
            <a:r>
              <a:rPr kumimoji="0" lang="en-GB" sz="1400" b="0" i="0" u="none" strike="noStrike" kern="1200" cap="none" spc="0" normalizeH="0" baseline="0" noProof="0">
                <a:ln>
                  <a:noFill/>
                </a:ln>
                <a:solidFill>
                  <a:schemeClr val="tx1">
                    <a:lumMod val="65000"/>
                    <a:lumOff val="35000"/>
                  </a:schemeClr>
                </a:solidFill>
                <a:effectLst/>
                <a:uLnTx/>
                <a:uFillTx/>
                <a:latin typeface="Arial" panose="020B0604020202020204"/>
                <a:ea typeface="+mn-ea"/>
                <a:cs typeface="Arial"/>
                <a:sym typeface="Arial"/>
              </a:rPr>
              <a:t>Optional supportive systems </a:t>
            </a:r>
            <a:r>
              <a:rPr kumimoji="0" lang="en-GB" sz="1100" b="0" i="0" u="none" strike="noStrike" kern="1200" cap="none" spc="0" normalizeH="0" baseline="0" noProof="0">
                <a:ln>
                  <a:noFill/>
                </a:ln>
                <a:solidFill>
                  <a:schemeClr val="tx1">
                    <a:lumMod val="65000"/>
                    <a:lumOff val="35000"/>
                  </a:schemeClr>
                </a:solidFill>
                <a:effectLst/>
                <a:uLnTx/>
                <a:uFillTx/>
                <a:latin typeface="Arial" panose="020B0604020202020204"/>
                <a:ea typeface="+mn-ea"/>
                <a:cs typeface="Arial"/>
                <a:sym typeface="Arial"/>
              </a:rPr>
              <a:t>(e.g., traceability systems, IMDS)</a:t>
            </a:r>
          </a:p>
        </p:txBody>
      </p:sp>
      <p:sp>
        <p:nvSpPr>
          <p:cNvPr id="13" name="Arrow: Pentagon 16">
            <a:extLst>
              <a:ext uri="{FF2B5EF4-FFF2-40B4-BE49-F238E27FC236}">
                <a16:creationId xmlns:a16="http://schemas.microsoft.com/office/drawing/2014/main" id="{CFF81B50-1510-89D8-622B-D1C091754415}"/>
              </a:ext>
            </a:extLst>
          </p:cNvPr>
          <p:cNvSpPr/>
          <p:nvPr/>
        </p:nvSpPr>
        <p:spPr>
          <a:xfrm>
            <a:off x="1303764" y="5514837"/>
            <a:ext cx="1206452" cy="46800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Miner</a:t>
            </a:r>
          </a:p>
        </p:txBody>
      </p:sp>
      <p:sp>
        <p:nvSpPr>
          <p:cNvPr id="14" name="Arrow: Chevron 17">
            <a:extLst>
              <a:ext uri="{FF2B5EF4-FFF2-40B4-BE49-F238E27FC236}">
                <a16:creationId xmlns:a16="http://schemas.microsoft.com/office/drawing/2014/main" id="{243B9826-40A3-D82F-44CF-647BA86E83D4}"/>
              </a:ext>
            </a:extLst>
          </p:cNvPr>
          <p:cNvSpPr/>
          <p:nvPr/>
        </p:nvSpPr>
        <p:spPr>
          <a:xfrm>
            <a:off x="2355555" y="5514837"/>
            <a:ext cx="1206452" cy="46800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Refiner</a:t>
            </a:r>
          </a:p>
        </p:txBody>
      </p:sp>
      <p:sp>
        <p:nvSpPr>
          <p:cNvPr id="15" name="Arrow: Chevron 18">
            <a:extLst>
              <a:ext uri="{FF2B5EF4-FFF2-40B4-BE49-F238E27FC236}">
                <a16:creationId xmlns:a16="http://schemas.microsoft.com/office/drawing/2014/main" id="{109A96FB-B0F6-DEFD-49BB-90524B6DF5FB}"/>
              </a:ext>
            </a:extLst>
          </p:cNvPr>
          <p:cNvSpPr/>
          <p:nvPr/>
        </p:nvSpPr>
        <p:spPr>
          <a:xfrm>
            <a:off x="3407346" y="5514837"/>
            <a:ext cx="1206452" cy="46800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Precursor and CAM producer</a:t>
            </a:r>
          </a:p>
        </p:txBody>
      </p:sp>
      <p:sp>
        <p:nvSpPr>
          <p:cNvPr id="16" name="Arrow: Chevron 21">
            <a:extLst>
              <a:ext uri="{FF2B5EF4-FFF2-40B4-BE49-F238E27FC236}">
                <a16:creationId xmlns:a16="http://schemas.microsoft.com/office/drawing/2014/main" id="{735A0067-ED81-5586-C114-FE7CD2927A94}"/>
              </a:ext>
            </a:extLst>
          </p:cNvPr>
          <p:cNvSpPr/>
          <p:nvPr/>
        </p:nvSpPr>
        <p:spPr>
          <a:xfrm>
            <a:off x="5504484" y="5514837"/>
            <a:ext cx="1206452" cy="46800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Pack producer</a:t>
            </a:r>
          </a:p>
        </p:txBody>
      </p:sp>
      <p:sp>
        <p:nvSpPr>
          <p:cNvPr id="17" name="Arrow: Chevron 22">
            <a:extLst>
              <a:ext uri="{FF2B5EF4-FFF2-40B4-BE49-F238E27FC236}">
                <a16:creationId xmlns:a16="http://schemas.microsoft.com/office/drawing/2014/main" id="{88BA8898-E4F5-EB89-000E-28DD62E93CA0}"/>
              </a:ext>
            </a:extLst>
          </p:cNvPr>
          <p:cNvSpPr/>
          <p:nvPr/>
        </p:nvSpPr>
        <p:spPr>
          <a:xfrm>
            <a:off x="6556275" y="5514837"/>
            <a:ext cx="1206452" cy="468000"/>
          </a:xfrm>
          <a:prstGeom prst="chevron">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OEM</a:t>
            </a:r>
          </a:p>
        </p:txBody>
      </p:sp>
      <p:sp>
        <p:nvSpPr>
          <p:cNvPr id="18" name="Arrow: Chevron 23">
            <a:extLst>
              <a:ext uri="{FF2B5EF4-FFF2-40B4-BE49-F238E27FC236}">
                <a16:creationId xmlns:a16="http://schemas.microsoft.com/office/drawing/2014/main" id="{ED4F00F8-8789-AAE8-488F-E44BE142E143}"/>
              </a:ext>
            </a:extLst>
          </p:cNvPr>
          <p:cNvSpPr/>
          <p:nvPr/>
        </p:nvSpPr>
        <p:spPr>
          <a:xfrm>
            <a:off x="9687900" y="5514837"/>
            <a:ext cx="1206452" cy="468000"/>
          </a:xfrm>
          <a:prstGeom prst="chevr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Collect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Dismantler</a:t>
            </a:r>
          </a:p>
        </p:txBody>
      </p:sp>
      <p:sp>
        <p:nvSpPr>
          <p:cNvPr id="19" name="Arrow: Chevron 23">
            <a:extLst>
              <a:ext uri="{FF2B5EF4-FFF2-40B4-BE49-F238E27FC236}">
                <a16:creationId xmlns:a16="http://schemas.microsoft.com/office/drawing/2014/main" id="{2A8A533F-023D-2FC3-15BE-298AB832EFC6}"/>
              </a:ext>
            </a:extLst>
          </p:cNvPr>
          <p:cNvSpPr/>
          <p:nvPr/>
        </p:nvSpPr>
        <p:spPr>
          <a:xfrm>
            <a:off x="8643116" y="5514837"/>
            <a:ext cx="1206452" cy="468000"/>
          </a:xfrm>
          <a:prstGeom prst="chevr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u="none" strike="noStrike" kern="1200" cap="none" spc="0" normalizeH="0" baseline="0" noProof="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endParaRPr>
          </a:p>
        </p:txBody>
      </p:sp>
      <p:cxnSp>
        <p:nvCxnSpPr>
          <p:cNvPr id="20" name="Verbinder: gekrümmt 25">
            <a:extLst>
              <a:ext uri="{FF2B5EF4-FFF2-40B4-BE49-F238E27FC236}">
                <a16:creationId xmlns:a16="http://schemas.microsoft.com/office/drawing/2014/main" id="{48554140-BBBB-6ED5-2381-5E3AF0BFCF05}"/>
              </a:ext>
            </a:extLst>
          </p:cNvPr>
          <p:cNvCxnSpPr>
            <a:cxnSpLocks/>
          </p:cNvCxnSpPr>
          <p:nvPr/>
        </p:nvCxnSpPr>
        <p:spPr>
          <a:xfrm rot="16200000" flipH="1">
            <a:off x="2344407" y="4931672"/>
            <a:ext cx="75" cy="1094857"/>
          </a:xfrm>
          <a:prstGeom prst="curvedConnector3">
            <a:avLst>
              <a:gd name="adj1" fmla="val -419246667"/>
            </a:avLst>
          </a:prstGeom>
          <a:ln w="28575">
            <a:solidFill>
              <a:schemeClr val="accent4">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1" name="Verbinder: gekrümmt 27">
            <a:extLst>
              <a:ext uri="{FF2B5EF4-FFF2-40B4-BE49-F238E27FC236}">
                <a16:creationId xmlns:a16="http://schemas.microsoft.com/office/drawing/2014/main" id="{E8E4318B-B18A-077B-C5D5-EC8E1ADB5B0E}"/>
              </a:ext>
            </a:extLst>
          </p:cNvPr>
          <p:cNvCxnSpPr>
            <a:cxnSpLocks/>
          </p:cNvCxnSpPr>
          <p:nvPr/>
        </p:nvCxnSpPr>
        <p:spPr>
          <a:xfrm rot="5400000" flipH="1" flipV="1">
            <a:off x="3407834" y="4963178"/>
            <a:ext cx="75" cy="1031996"/>
          </a:xfrm>
          <a:prstGeom prst="curvedConnector3">
            <a:avLst>
              <a:gd name="adj1" fmla="val 419788000"/>
            </a:avLst>
          </a:prstGeom>
          <a:ln w="28575">
            <a:solidFill>
              <a:schemeClr val="accent4">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2" name="Verbinder: gekrümmt 32">
            <a:extLst>
              <a:ext uri="{FF2B5EF4-FFF2-40B4-BE49-F238E27FC236}">
                <a16:creationId xmlns:a16="http://schemas.microsoft.com/office/drawing/2014/main" id="{9B14ABDA-565B-957E-8650-3A636FE8D336}"/>
              </a:ext>
            </a:extLst>
          </p:cNvPr>
          <p:cNvCxnSpPr>
            <a:cxnSpLocks/>
          </p:cNvCxnSpPr>
          <p:nvPr/>
        </p:nvCxnSpPr>
        <p:spPr>
          <a:xfrm rot="5400000" flipH="1" flipV="1">
            <a:off x="4452938" y="4950068"/>
            <a:ext cx="12700" cy="1058140"/>
          </a:xfrm>
          <a:prstGeom prst="curvedConnector3">
            <a:avLst>
              <a:gd name="adj1" fmla="val 2619764"/>
            </a:avLst>
          </a:prstGeom>
          <a:ln w="28575">
            <a:solidFill>
              <a:schemeClr val="accent4">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3" name="Verbinder: gekrümmt 35">
            <a:extLst>
              <a:ext uri="{FF2B5EF4-FFF2-40B4-BE49-F238E27FC236}">
                <a16:creationId xmlns:a16="http://schemas.microsoft.com/office/drawing/2014/main" id="{361F180A-838D-1FF0-503F-564F9386493D}"/>
              </a:ext>
            </a:extLst>
          </p:cNvPr>
          <p:cNvCxnSpPr>
            <a:cxnSpLocks/>
          </p:cNvCxnSpPr>
          <p:nvPr/>
        </p:nvCxnSpPr>
        <p:spPr>
          <a:xfrm rot="5400000" flipH="1" flipV="1">
            <a:off x="5505562" y="4955584"/>
            <a:ext cx="12700" cy="1047108"/>
          </a:xfrm>
          <a:prstGeom prst="curvedConnector3">
            <a:avLst>
              <a:gd name="adj1" fmla="val 2579654"/>
            </a:avLst>
          </a:prstGeom>
          <a:ln w="28575">
            <a:solidFill>
              <a:schemeClr val="accent4">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4" name="Verbinder: gekrümmt 49">
            <a:extLst>
              <a:ext uri="{FF2B5EF4-FFF2-40B4-BE49-F238E27FC236}">
                <a16:creationId xmlns:a16="http://schemas.microsoft.com/office/drawing/2014/main" id="{512DD892-BC16-CA32-036E-B4FE41985201}"/>
              </a:ext>
            </a:extLst>
          </p:cNvPr>
          <p:cNvCxnSpPr>
            <a:cxnSpLocks/>
          </p:cNvCxnSpPr>
          <p:nvPr/>
        </p:nvCxnSpPr>
        <p:spPr>
          <a:xfrm rot="16200000" flipH="1">
            <a:off x="6550017" y="4950643"/>
            <a:ext cx="6350" cy="1050640"/>
          </a:xfrm>
          <a:prstGeom prst="curvedConnector3">
            <a:avLst>
              <a:gd name="adj1" fmla="val -5061622"/>
            </a:avLst>
          </a:prstGeom>
          <a:ln w="28575">
            <a:solidFill>
              <a:schemeClr val="accent4">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5" name="Arrow: Chevron 23">
            <a:extLst>
              <a:ext uri="{FF2B5EF4-FFF2-40B4-BE49-F238E27FC236}">
                <a16:creationId xmlns:a16="http://schemas.microsoft.com/office/drawing/2014/main" id="{D535430E-2562-9642-764F-7905826FDEE0}"/>
              </a:ext>
            </a:extLst>
          </p:cNvPr>
          <p:cNvSpPr/>
          <p:nvPr/>
        </p:nvSpPr>
        <p:spPr>
          <a:xfrm>
            <a:off x="7601059" y="5514837"/>
            <a:ext cx="1206452" cy="468000"/>
          </a:xfrm>
          <a:prstGeom prst="chevr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End-user</a:t>
            </a:r>
          </a:p>
        </p:txBody>
      </p:sp>
      <p:cxnSp>
        <p:nvCxnSpPr>
          <p:cNvPr id="28" name="Verbinder: gekrümmt 71">
            <a:extLst>
              <a:ext uri="{FF2B5EF4-FFF2-40B4-BE49-F238E27FC236}">
                <a16:creationId xmlns:a16="http://schemas.microsoft.com/office/drawing/2014/main" id="{7FB57AD8-847B-4BB8-2D7C-CA936C672543}"/>
              </a:ext>
            </a:extLst>
          </p:cNvPr>
          <p:cNvCxnSpPr>
            <a:cxnSpLocks/>
          </p:cNvCxnSpPr>
          <p:nvPr/>
        </p:nvCxnSpPr>
        <p:spPr>
          <a:xfrm rot="5400000" flipH="1" flipV="1">
            <a:off x="3759878" y="853175"/>
            <a:ext cx="2719691" cy="6603635"/>
          </a:xfrm>
          <a:prstGeom prst="curvedConnector2">
            <a:avLst/>
          </a:prstGeom>
          <a:ln>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AAB1AF3F-3F88-9986-0CD9-E68391A362F9}"/>
              </a:ext>
            </a:extLst>
          </p:cNvPr>
          <p:cNvGrpSpPr/>
          <p:nvPr/>
        </p:nvGrpSpPr>
        <p:grpSpPr>
          <a:xfrm>
            <a:off x="8977745" y="875116"/>
            <a:ext cx="676521" cy="806861"/>
            <a:chOff x="8977745" y="875116"/>
            <a:chExt cx="676521" cy="806861"/>
          </a:xfrm>
        </p:grpSpPr>
        <p:sp>
          <p:nvSpPr>
            <p:cNvPr id="32" name="Rectangle: Rounded Corners 33">
              <a:extLst>
                <a:ext uri="{FF2B5EF4-FFF2-40B4-BE49-F238E27FC236}">
                  <a16:creationId xmlns:a16="http://schemas.microsoft.com/office/drawing/2014/main" id="{0115D91D-383A-21D6-B055-5F7B51C97CA4}"/>
                </a:ext>
              </a:extLst>
            </p:cNvPr>
            <p:cNvSpPr/>
            <p:nvPr/>
          </p:nvSpPr>
          <p:spPr>
            <a:xfrm>
              <a:off x="9000694" y="927856"/>
              <a:ext cx="623077" cy="754121"/>
            </a:xfrm>
            <a:prstGeom prst="roundRect">
              <a:avLst>
                <a:gd name="adj" fmla="val 5786"/>
              </a:avLst>
            </a:prstGeom>
            <a:solidFill>
              <a:schemeClr val="bg1">
                <a:lumMod val="95000"/>
              </a:schemeClr>
            </a:solidFill>
            <a:ln w="63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sp>
          <p:nvSpPr>
            <p:cNvPr id="33" name="Forma libre 156">
              <a:extLst>
                <a:ext uri="{FF2B5EF4-FFF2-40B4-BE49-F238E27FC236}">
                  <a16:creationId xmlns:a16="http://schemas.microsoft.com/office/drawing/2014/main" id="{2FA29C81-98D3-C2EF-7EFE-25AD3C501E44}"/>
                </a:ext>
              </a:extLst>
            </p:cNvPr>
            <p:cNvSpPr/>
            <p:nvPr/>
          </p:nvSpPr>
          <p:spPr>
            <a:xfrm>
              <a:off x="9035967" y="952169"/>
              <a:ext cx="26432" cy="34246"/>
            </a:xfrm>
            <a:custGeom>
              <a:avLst/>
              <a:gdLst>
                <a:gd name="connsiteX0" fmla="*/ 35201 w 70401"/>
                <a:gd name="connsiteY0" fmla="*/ 95138 h 95138"/>
                <a:gd name="connsiteX1" fmla="*/ 70402 w 70401"/>
                <a:gd name="connsiteY1" fmla="*/ 0 h 95138"/>
                <a:gd name="connsiteX2" fmla="*/ 0 w 70401"/>
                <a:gd name="connsiteY2" fmla="*/ 0 h 95138"/>
                <a:gd name="connsiteX3" fmla="*/ 35201 w 70401"/>
                <a:gd name="connsiteY3" fmla="*/ 95138 h 95138"/>
              </a:gdLst>
              <a:ahLst/>
              <a:cxnLst>
                <a:cxn ang="0">
                  <a:pos x="connsiteX0" y="connsiteY0"/>
                </a:cxn>
                <a:cxn ang="0">
                  <a:pos x="connsiteX1" y="connsiteY1"/>
                </a:cxn>
                <a:cxn ang="0">
                  <a:pos x="connsiteX2" y="connsiteY2"/>
                </a:cxn>
                <a:cxn ang="0">
                  <a:pos x="connsiteX3" y="connsiteY3"/>
                </a:cxn>
              </a:cxnLst>
              <a:rect l="l" t="t" r="r" b="b"/>
              <a:pathLst>
                <a:path w="70401" h="95138">
                  <a:moveTo>
                    <a:pt x="35201" y="95138"/>
                  </a:moveTo>
                  <a:cubicBezTo>
                    <a:pt x="48826" y="95138"/>
                    <a:pt x="67989" y="58294"/>
                    <a:pt x="70402" y="0"/>
                  </a:cubicBezTo>
                  <a:lnTo>
                    <a:pt x="0" y="0"/>
                  </a:lnTo>
                  <a:cubicBezTo>
                    <a:pt x="2413" y="58294"/>
                    <a:pt x="21576" y="95138"/>
                    <a:pt x="35201" y="95138"/>
                  </a:cubicBezTo>
                  <a:close/>
                </a:path>
              </a:pathLst>
            </a:custGeom>
            <a:solidFill>
              <a:schemeClr val="accent1"/>
            </a:solid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34" name="Forma libre 157">
              <a:extLst>
                <a:ext uri="{FF2B5EF4-FFF2-40B4-BE49-F238E27FC236}">
                  <a16:creationId xmlns:a16="http://schemas.microsoft.com/office/drawing/2014/main" id="{7D2E2278-2069-92D6-2EEF-D425B5597279}"/>
                </a:ext>
              </a:extLst>
            </p:cNvPr>
            <p:cNvSpPr/>
            <p:nvPr/>
          </p:nvSpPr>
          <p:spPr>
            <a:xfrm>
              <a:off x="9009450" y="912168"/>
              <a:ext cx="24866" cy="31440"/>
            </a:xfrm>
            <a:custGeom>
              <a:avLst/>
              <a:gdLst>
                <a:gd name="connsiteX0" fmla="*/ 0 w 66231"/>
                <a:gd name="connsiteY0" fmla="*/ 87344 h 87343"/>
                <a:gd name="connsiteX1" fmla="*/ 46611 w 66231"/>
                <a:gd name="connsiteY1" fmla="*/ 87344 h 87343"/>
                <a:gd name="connsiteX2" fmla="*/ 66232 w 66231"/>
                <a:gd name="connsiteY2" fmla="*/ 0 h 87343"/>
                <a:gd name="connsiteX3" fmla="*/ 0 w 66231"/>
                <a:gd name="connsiteY3" fmla="*/ 87344 h 87343"/>
              </a:gdLst>
              <a:ahLst/>
              <a:cxnLst>
                <a:cxn ang="0">
                  <a:pos x="connsiteX0" y="connsiteY0"/>
                </a:cxn>
                <a:cxn ang="0">
                  <a:pos x="connsiteX1" y="connsiteY1"/>
                </a:cxn>
                <a:cxn ang="0">
                  <a:pos x="connsiteX2" y="connsiteY2"/>
                </a:cxn>
                <a:cxn ang="0">
                  <a:pos x="connsiteX3" y="connsiteY3"/>
                </a:cxn>
              </a:cxnLst>
              <a:rect l="l" t="t" r="r" b="b"/>
              <a:pathLst>
                <a:path w="66231" h="87343">
                  <a:moveTo>
                    <a:pt x="0" y="87344"/>
                  </a:moveTo>
                  <a:lnTo>
                    <a:pt x="46611" y="87344"/>
                  </a:lnTo>
                  <a:cubicBezTo>
                    <a:pt x="47927" y="54949"/>
                    <a:pt x="54618" y="22733"/>
                    <a:pt x="66232" y="0"/>
                  </a:cubicBezTo>
                  <a:cubicBezTo>
                    <a:pt x="30367" y="14363"/>
                    <a:pt x="4473" y="47583"/>
                    <a:pt x="0" y="87344"/>
                  </a:cubicBezTo>
                  <a:close/>
                </a:path>
              </a:pathLst>
            </a:custGeom>
            <a:solidFill>
              <a:schemeClr val="accent1"/>
            </a:solid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35" name="Forma libre 158">
              <a:extLst>
                <a:ext uri="{FF2B5EF4-FFF2-40B4-BE49-F238E27FC236}">
                  <a16:creationId xmlns:a16="http://schemas.microsoft.com/office/drawing/2014/main" id="{725D791F-2BC9-9A25-48CE-3BF2B9890C30}"/>
                </a:ext>
              </a:extLst>
            </p:cNvPr>
            <p:cNvSpPr/>
            <p:nvPr/>
          </p:nvSpPr>
          <p:spPr>
            <a:xfrm>
              <a:off x="9064049" y="912168"/>
              <a:ext cx="24866" cy="31440"/>
            </a:xfrm>
            <a:custGeom>
              <a:avLst/>
              <a:gdLst>
                <a:gd name="connsiteX0" fmla="*/ 66232 w 66231"/>
                <a:gd name="connsiteY0" fmla="*/ 87344 h 87343"/>
                <a:gd name="connsiteX1" fmla="*/ 0 w 66231"/>
                <a:gd name="connsiteY1" fmla="*/ 0 h 87343"/>
                <a:gd name="connsiteX2" fmla="*/ 19621 w 66231"/>
                <a:gd name="connsiteY2" fmla="*/ 87344 h 87343"/>
                <a:gd name="connsiteX3" fmla="*/ 66232 w 66231"/>
                <a:gd name="connsiteY3" fmla="*/ 87344 h 87343"/>
              </a:gdLst>
              <a:ahLst/>
              <a:cxnLst>
                <a:cxn ang="0">
                  <a:pos x="connsiteX0" y="connsiteY0"/>
                </a:cxn>
                <a:cxn ang="0">
                  <a:pos x="connsiteX1" y="connsiteY1"/>
                </a:cxn>
                <a:cxn ang="0">
                  <a:pos x="connsiteX2" y="connsiteY2"/>
                </a:cxn>
                <a:cxn ang="0">
                  <a:pos x="connsiteX3" y="connsiteY3"/>
                </a:cxn>
              </a:cxnLst>
              <a:rect l="l" t="t" r="r" b="b"/>
              <a:pathLst>
                <a:path w="66231" h="87343">
                  <a:moveTo>
                    <a:pt x="66232" y="87344"/>
                  </a:moveTo>
                  <a:cubicBezTo>
                    <a:pt x="61759" y="47583"/>
                    <a:pt x="35865" y="14364"/>
                    <a:pt x="0" y="0"/>
                  </a:cubicBezTo>
                  <a:cubicBezTo>
                    <a:pt x="11614" y="22734"/>
                    <a:pt x="18304" y="54949"/>
                    <a:pt x="19621" y="87344"/>
                  </a:cubicBezTo>
                  <a:lnTo>
                    <a:pt x="66232" y="87344"/>
                  </a:lnTo>
                  <a:close/>
                </a:path>
              </a:pathLst>
            </a:custGeom>
            <a:solidFill>
              <a:schemeClr val="accent1"/>
            </a:solid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36" name="Forma libre 159">
              <a:extLst>
                <a:ext uri="{FF2B5EF4-FFF2-40B4-BE49-F238E27FC236}">
                  <a16:creationId xmlns:a16="http://schemas.microsoft.com/office/drawing/2014/main" id="{D1AAE9C1-6738-A576-516D-1B2979186D3C}"/>
                </a:ext>
              </a:extLst>
            </p:cNvPr>
            <p:cNvSpPr/>
            <p:nvPr/>
          </p:nvSpPr>
          <p:spPr>
            <a:xfrm>
              <a:off x="9035967" y="909362"/>
              <a:ext cx="26432" cy="34246"/>
            </a:xfrm>
            <a:custGeom>
              <a:avLst/>
              <a:gdLst>
                <a:gd name="connsiteX0" fmla="*/ 35201 w 70401"/>
                <a:gd name="connsiteY0" fmla="*/ 0 h 95138"/>
                <a:gd name="connsiteX1" fmla="*/ 0 w 70401"/>
                <a:gd name="connsiteY1" fmla="*/ 95138 h 95138"/>
                <a:gd name="connsiteX2" fmla="*/ 70402 w 70401"/>
                <a:gd name="connsiteY2" fmla="*/ 95138 h 95138"/>
                <a:gd name="connsiteX3" fmla="*/ 35201 w 70401"/>
                <a:gd name="connsiteY3" fmla="*/ 0 h 95138"/>
              </a:gdLst>
              <a:ahLst/>
              <a:cxnLst>
                <a:cxn ang="0">
                  <a:pos x="connsiteX0" y="connsiteY0"/>
                </a:cxn>
                <a:cxn ang="0">
                  <a:pos x="connsiteX1" y="connsiteY1"/>
                </a:cxn>
                <a:cxn ang="0">
                  <a:pos x="connsiteX2" y="connsiteY2"/>
                </a:cxn>
                <a:cxn ang="0">
                  <a:pos x="connsiteX3" y="connsiteY3"/>
                </a:cxn>
              </a:cxnLst>
              <a:rect l="l" t="t" r="r" b="b"/>
              <a:pathLst>
                <a:path w="70401" h="95138">
                  <a:moveTo>
                    <a:pt x="35201" y="0"/>
                  </a:moveTo>
                  <a:cubicBezTo>
                    <a:pt x="21576" y="0"/>
                    <a:pt x="2413" y="36844"/>
                    <a:pt x="0" y="95138"/>
                  </a:cubicBezTo>
                  <a:lnTo>
                    <a:pt x="70402" y="95138"/>
                  </a:lnTo>
                  <a:cubicBezTo>
                    <a:pt x="67989" y="36844"/>
                    <a:pt x="48826" y="0"/>
                    <a:pt x="35201" y="0"/>
                  </a:cubicBezTo>
                  <a:close/>
                </a:path>
              </a:pathLst>
            </a:custGeom>
            <a:solidFill>
              <a:schemeClr val="accent1"/>
            </a:solid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38" name="Forma libre 161">
              <a:extLst>
                <a:ext uri="{FF2B5EF4-FFF2-40B4-BE49-F238E27FC236}">
                  <a16:creationId xmlns:a16="http://schemas.microsoft.com/office/drawing/2014/main" id="{C927976C-00B2-562B-4223-8092656B0CB7}"/>
                </a:ext>
              </a:extLst>
            </p:cNvPr>
            <p:cNvSpPr/>
            <p:nvPr/>
          </p:nvSpPr>
          <p:spPr>
            <a:xfrm>
              <a:off x="9009450" y="952169"/>
              <a:ext cx="24866" cy="31440"/>
            </a:xfrm>
            <a:custGeom>
              <a:avLst/>
              <a:gdLst>
                <a:gd name="connsiteX0" fmla="*/ 0 w 66231"/>
                <a:gd name="connsiteY0" fmla="*/ 0 h 87343"/>
                <a:gd name="connsiteX1" fmla="*/ 66232 w 66231"/>
                <a:gd name="connsiteY1" fmla="*/ 87344 h 87343"/>
                <a:gd name="connsiteX2" fmla="*/ 46611 w 66231"/>
                <a:gd name="connsiteY2" fmla="*/ 0 h 87343"/>
                <a:gd name="connsiteX3" fmla="*/ 0 w 66231"/>
                <a:gd name="connsiteY3" fmla="*/ 0 h 87343"/>
              </a:gdLst>
              <a:ahLst/>
              <a:cxnLst>
                <a:cxn ang="0">
                  <a:pos x="connsiteX0" y="connsiteY0"/>
                </a:cxn>
                <a:cxn ang="0">
                  <a:pos x="connsiteX1" y="connsiteY1"/>
                </a:cxn>
                <a:cxn ang="0">
                  <a:pos x="connsiteX2" y="connsiteY2"/>
                </a:cxn>
                <a:cxn ang="0">
                  <a:pos x="connsiteX3" y="connsiteY3"/>
                </a:cxn>
              </a:cxnLst>
              <a:rect l="l" t="t" r="r" b="b"/>
              <a:pathLst>
                <a:path w="66231" h="87343">
                  <a:moveTo>
                    <a:pt x="0" y="0"/>
                  </a:moveTo>
                  <a:cubicBezTo>
                    <a:pt x="4473" y="39761"/>
                    <a:pt x="30367" y="72979"/>
                    <a:pt x="66232" y="87344"/>
                  </a:cubicBezTo>
                  <a:cubicBezTo>
                    <a:pt x="54618" y="64610"/>
                    <a:pt x="47927" y="32395"/>
                    <a:pt x="46611" y="0"/>
                  </a:cubicBezTo>
                  <a:lnTo>
                    <a:pt x="0" y="0"/>
                  </a:lnTo>
                  <a:close/>
                </a:path>
              </a:pathLst>
            </a:custGeom>
            <a:solidFill>
              <a:schemeClr val="accent1"/>
            </a:solid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39" name="Forma libre 162">
              <a:extLst>
                <a:ext uri="{FF2B5EF4-FFF2-40B4-BE49-F238E27FC236}">
                  <a16:creationId xmlns:a16="http://schemas.microsoft.com/office/drawing/2014/main" id="{CD56A8EE-F7EF-4535-AD56-411AE7638270}"/>
                </a:ext>
              </a:extLst>
            </p:cNvPr>
            <p:cNvSpPr/>
            <p:nvPr/>
          </p:nvSpPr>
          <p:spPr>
            <a:xfrm>
              <a:off x="9064049" y="952169"/>
              <a:ext cx="24866" cy="31440"/>
            </a:xfrm>
            <a:custGeom>
              <a:avLst/>
              <a:gdLst>
                <a:gd name="connsiteX0" fmla="*/ 0 w 66231"/>
                <a:gd name="connsiteY0" fmla="*/ 87344 h 87343"/>
                <a:gd name="connsiteX1" fmla="*/ 66232 w 66231"/>
                <a:gd name="connsiteY1" fmla="*/ 0 h 87343"/>
                <a:gd name="connsiteX2" fmla="*/ 19621 w 66231"/>
                <a:gd name="connsiteY2" fmla="*/ 0 h 87343"/>
                <a:gd name="connsiteX3" fmla="*/ 0 w 66231"/>
                <a:gd name="connsiteY3" fmla="*/ 87344 h 87343"/>
              </a:gdLst>
              <a:ahLst/>
              <a:cxnLst>
                <a:cxn ang="0">
                  <a:pos x="connsiteX0" y="connsiteY0"/>
                </a:cxn>
                <a:cxn ang="0">
                  <a:pos x="connsiteX1" y="connsiteY1"/>
                </a:cxn>
                <a:cxn ang="0">
                  <a:pos x="connsiteX2" y="connsiteY2"/>
                </a:cxn>
                <a:cxn ang="0">
                  <a:pos x="connsiteX3" y="connsiteY3"/>
                </a:cxn>
              </a:cxnLst>
              <a:rect l="l" t="t" r="r" b="b"/>
              <a:pathLst>
                <a:path w="66231" h="87343">
                  <a:moveTo>
                    <a:pt x="0" y="87344"/>
                  </a:moveTo>
                  <a:cubicBezTo>
                    <a:pt x="35865" y="72979"/>
                    <a:pt x="61760" y="39760"/>
                    <a:pt x="66232" y="0"/>
                  </a:cubicBezTo>
                  <a:lnTo>
                    <a:pt x="19621" y="0"/>
                  </a:lnTo>
                  <a:cubicBezTo>
                    <a:pt x="18304" y="32395"/>
                    <a:pt x="11613" y="64611"/>
                    <a:pt x="0" y="87344"/>
                  </a:cubicBezTo>
                  <a:close/>
                </a:path>
              </a:pathLst>
            </a:custGeom>
            <a:solidFill>
              <a:schemeClr val="accent1"/>
            </a:solid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40" name="Gráfico 53">
              <a:extLst>
                <a:ext uri="{FF2B5EF4-FFF2-40B4-BE49-F238E27FC236}">
                  <a16:creationId xmlns:a16="http://schemas.microsoft.com/office/drawing/2014/main" id="{8B8A2C21-26F0-651F-C705-98964384D1E9}"/>
                </a:ext>
              </a:extLst>
            </p:cNvPr>
            <p:cNvSpPr/>
            <p:nvPr/>
          </p:nvSpPr>
          <p:spPr>
            <a:xfrm>
              <a:off x="9096844" y="1007674"/>
              <a:ext cx="55474" cy="70915"/>
            </a:xfrm>
            <a:custGeom>
              <a:avLst/>
              <a:gdLst>
                <a:gd name="connsiteX0" fmla="*/ 392446 w 428123"/>
                <a:gd name="connsiteY0" fmla="*/ 71354 h 570831"/>
                <a:gd name="connsiteX1" fmla="*/ 321092 w 428123"/>
                <a:gd name="connsiteY1" fmla="*/ 71354 h 570831"/>
                <a:gd name="connsiteX2" fmla="*/ 321092 w 428123"/>
                <a:gd name="connsiteY2" fmla="*/ 0 h 570831"/>
                <a:gd name="connsiteX3" fmla="*/ 107031 w 428123"/>
                <a:gd name="connsiteY3" fmla="*/ 0 h 570831"/>
                <a:gd name="connsiteX4" fmla="*/ 107031 w 428123"/>
                <a:gd name="connsiteY4" fmla="*/ 71354 h 570831"/>
                <a:gd name="connsiteX5" fmla="*/ 35677 w 428123"/>
                <a:gd name="connsiteY5" fmla="*/ 71354 h 570831"/>
                <a:gd name="connsiteX6" fmla="*/ 0 w 428123"/>
                <a:gd name="connsiteY6" fmla="*/ 107031 h 570831"/>
                <a:gd name="connsiteX7" fmla="*/ 0 w 428123"/>
                <a:gd name="connsiteY7" fmla="*/ 535154 h 570831"/>
                <a:gd name="connsiteX8" fmla="*/ 35677 w 428123"/>
                <a:gd name="connsiteY8" fmla="*/ 570831 h 570831"/>
                <a:gd name="connsiteX9" fmla="*/ 392446 w 428123"/>
                <a:gd name="connsiteY9" fmla="*/ 570831 h 570831"/>
                <a:gd name="connsiteX10" fmla="*/ 428123 w 428123"/>
                <a:gd name="connsiteY10" fmla="*/ 535154 h 570831"/>
                <a:gd name="connsiteX11" fmla="*/ 428123 w 428123"/>
                <a:gd name="connsiteY11" fmla="*/ 107031 h 570831"/>
                <a:gd name="connsiteX12" fmla="*/ 392446 w 428123"/>
                <a:gd name="connsiteY12" fmla="*/ 71354 h 570831"/>
                <a:gd name="connsiteX13" fmla="*/ 214062 w 428123"/>
                <a:gd name="connsiteY13" fmla="*/ 499477 h 570831"/>
                <a:gd name="connsiteX14" fmla="*/ 196223 w 428123"/>
                <a:gd name="connsiteY14" fmla="*/ 356769 h 570831"/>
                <a:gd name="connsiteX15" fmla="*/ 124869 w 428123"/>
                <a:gd name="connsiteY15" fmla="*/ 356769 h 570831"/>
                <a:gd name="connsiteX16" fmla="*/ 214062 w 428123"/>
                <a:gd name="connsiteY16" fmla="*/ 142708 h 570831"/>
                <a:gd name="connsiteX17" fmla="*/ 231900 w 428123"/>
                <a:gd name="connsiteY17" fmla="*/ 285416 h 570831"/>
                <a:gd name="connsiteX18" fmla="*/ 303253 w 428123"/>
                <a:gd name="connsiteY18" fmla="*/ 285416 h 570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8123" h="570831">
                  <a:moveTo>
                    <a:pt x="392446" y="71354"/>
                  </a:moveTo>
                  <a:lnTo>
                    <a:pt x="321092" y="71354"/>
                  </a:lnTo>
                  <a:lnTo>
                    <a:pt x="321092" y="0"/>
                  </a:lnTo>
                  <a:lnTo>
                    <a:pt x="107031" y="0"/>
                  </a:lnTo>
                  <a:lnTo>
                    <a:pt x="107031" y="71354"/>
                  </a:lnTo>
                  <a:lnTo>
                    <a:pt x="35677" y="71354"/>
                  </a:lnTo>
                  <a:cubicBezTo>
                    <a:pt x="15974" y="71354"/>
                    <a:pt x="0" y="87328"/>
                    <a:pt x="0" y="107031"/>
                  </a:cubicBezTo>
                  <a:lnTo>
                    <a:pt x="0" y="535154"/>
                  </a:lnTo>
                  <a:cubicBezTo>
                    <a:pt x="0" y="554857"/>
                    <a:pt x="15974" y="570831"/>
                    <a:pt x="35677" y="570831"/>
                  </a:cubicBezTo>
                  <a:lnTo>
                    <a:pt x="392446" y="570831"/>
                  </a:lnTo>
                  <a:cubicBezTo>
                    <a:pt x="412149" y="570831"/>
                    <a:pt x="428123" y="554857"/>
                    <a:pt x="428123" y="535154"/>
                  </a:cubicBezTo>
                  <a:lnTo>
                    <a:pt x="428123" y="107031"/>
                  </a:lnTo>
                  <a:cubicBezTo>
                    <a:pt x="428123" y="87328"/>
                    <a:pt x="412148" y="71354"/>
                    <a:pt x="392446" y="71354"/>
                  </a:cubicBezTo>
                  <a:close/>
                  <a:moveTo>
                    <a:pt x="214062" y="499477"/>
                  </a:moveTo>
                  <a:lnTo>
                    <a:pt x="196223" y="356769"/>
                  </a:lnTo>
                  <a:lnTo>
                    <a:pt x="124869" y="356769"/>
                  </a:lnTo>
                  <a:lnTo>
                    <a:pt x="214062" y="142708"/>
                  </a:lnTo>
                  <a:lnTo>
                    <a:pt x="231900" y="285416"/>
                  </a:lnTo>
                  <a:lnTo>
                    <a:pt x="303253" y="285416"/>
                  </a:lnTo>
                  <a:close/>
                </a:path>
              </a:pathLst>
            </a:custGeom>
            <a:solidFill>
              <a:schemeClr val="accent1"/>
            </a:solidFill>
            <a:ln w="10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41" name="Rectangle: Rounded Corners 42">
              <a:extLst>
                <a:ext uri="{FF2B5EF4-FFF2-40B4-BE49-F238E27FC236}">
                  <a16:creationId xmlns:a16="http://schemas.microsoft.com/office/drawing/2014/main" id="{DF6B357B-2E9A-3051-34D9-B5FF52491C02}"/>
                </a:ext>
              </a:extLst>
            </p:cNvPr>
            <p:cNvSpPr/>
            <p:nvPr/>
          </p:nvSpPr>
          <p:spPr>
            <a:xfrm>
              <a:off x="9231555" y="1110423"/>
              <a:ext cx="349890" cy="6003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sp>
          <p:nvSpPr>
            <p:cNvPr id="42" name="Rectangle: Rounded Corners 43">
              <a:extLst>
                <a:ext uri="{FF2B5EF4-FFF2-40B4-BE49-F238E27FC236}">
                  <a16:creationId xmlns:a16="http://schemas.microsoft.com/office/drawing/2014/main" id="{8C001E81-970F-EA3B-8153-D1DB8979A58F}"/>
                </a:ext>
              </a:extLst>
            </p:cNvPr>
            <p:cNvSpPr/>
            <p:nvPr/>
          </p:nvSpPr>
          <p:spPr>
            <a:xfrm>
              <a:off x="9037320" y="1106219"/>
              <a:ext cx="174289" cy="21917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sp>
          <p:nvSpPr>
            <p:cNvPr id="43" name="Rectangle: Rounded Corners 44">
              <a:extLst>
                <a:ext uri="{FF2B5EF4-FFF2-40B4-BE49-F238E27FC236}">
                  <a16:creationId xmlns:a16="http://schemas.microsoft.com/office/drawing/2014/main" id="{4D1A5D6B-BC1E-D1B1-BD4B-1EB30D9EDBDA}"/>
                </a:ext>
              </a:extLst>
            </p:cNvPr>
            <p:cNvSpPr/>
            <p:nvPr/>
          </p:nvSpPr>
          <p:spPr>
            <a:xfrm>
              <a:off x="9041089" y="1353023"/>
              <a:ext cx="176551" cy="12691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sp>
          <p:nvSpPr>
            <p:cNvPr id="44" name="Rectangle: Rounded Corners 45">
              <a:extLst>
                <a:ext uri="{FF2B5EF4-FFF2-40B4-BE49-F238E27FC236}">
                  <a16:creationId xmlns:a16="http://schemas.microsoft.com/office/drawing/2014/main" id="{B2C2C158-776A-4938-3BB3-3D258034F4AC}"/>
                </a:ext>
              </a:extLst>
            </p:cNvPr>
            <p:cNvSpPr/>
            <p:nvPr/>
          </p:nvSpPr>
          <p:spPr>
            <a:xfrm>
              <a:off x="9231555" y="1186476"/>
              <a:ext cx="349890" cy="6003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sp>
          <p:nvSpPr>
            <p:cNvPr id="37" name="Forma libre 160">
              <a:extLst>
                <a:ext uri="{FF2B5EF4-FFF2-40B4-BE49-F238E27FC236}">
                  <a16:creationId xmlns:a16="http://schemas.microsoft.com/office/drawing/2014/main" id="{632CF3C7-87A0-C20E-9894-9478E11B78DD}"/>
                </a:ext>
              </a:extLst>
            </p:cNvPr>
            <p:cNvSpPr/>
            <p:nvPr/>
          </p:nvSpPr>
          <p:spPr>
            <a:xfrm>
              <a:off x="8977745" y="875116"/>
              <a:ext cx="142874" cy="179791"/>
            </a:xfrm>
            <a:custGeom>
              <a:avLst/>
              <a:gdLst>
                <a:gd name="connsiteX0" fmla="*/ 285416 w 380553"/>
                <a:gd name="connsiteY0" fmla="*/ 440016 h 499477"/>
                <a:gd name="connsiteX1" fmla="*/ 371042 w 380553"/>
                <a:gd name="connsiteY1" fmla="*/ 335145 h 499477"/>
                <a:gd name="connsiteX2" fmla="*/ 380554 w 380553"/>
                <a:gd name="connsiteY2" fmla="*/ 323496 h 499477"/>
                <a:gd name="connsiteX3" fmla="*/ 380554 w 380553"/>
                <a:gd name="connsiteY3" fmla="*/ 47570 h 499477"/>
                <a:gd name="connsiteX4" fmla="*/ 332985 w 380553"/>
                <a:gd name="connsiteY4" fmla="*/ 0 h 499477"/>
                <a:gd name="connsiteX5" fmla="*/ 47570 w 380553"/>
                <a:gd name="connsiteY5" fmla="*/ 0 h 499477"/>
                <a:gd name="connsiteX6" fmla="*/ 0 w 380553"/>
                <a:gd name="connsiteY6" fmla="*/ 47570 h 499477"/>
                <a:gd name="connsiteX7" fmla="*/ 0 w 380553"/>
                <a:gd name="connsiteY7" fmla="*/ 451909 h 499477"/>
                <a:gd name="connsiteX8" fmla="*/ 47570 w 380553"/>
                <a:gd name="connsiteY8" fmla="*/ 499477 h 499477"/>
                <a:gd name="connsiteX9" fmla="*/ 283604 w 380553"/>
                <a:gd name="connsiteY9" fmla="*/ 499477 h 499477"/>
                <a:gd name="connsiteX10" fmla="*/ 293557 w 380553"/>
                <a:gd name="connsiteY10" fmla="*/ 494089 h 499477"/>
                <a:gd name="connsiteX11" fmla="*/ 294498 w 380553"/>
                <a:gd name="connsiteY11" fmla="*/ 482800 h 499477"/>
                <a:gd name="connsiteX12" fmla="*/ 285416 w 380553"/>
                <a:gd name="connsiteY12" fmla="*/ 440016 h 499477"/>
                <a:gd name="connsiteX13" fmla="*/ 225954 w 380553"/>
                <a:gd name="connsiteY13" fmla="*/ 428123 h 499477"/>
                <a:gd name="connsiteX14" fmla="*/ 154600 w 380553"/>
                <a:gd name="connsiteY14" fmla="*/ 428123 h 499477"/>
                <a:gd name="connsiteX15" fmla="*/ 142708 w 380553"/>
                <a:gd name="connsiteY15" fmla="*/ 416231 h 499477"/>
                <a:gd name="connsiteX16" fmla="*/ 154600 w 380553"/>
                <a:gd name="connsiteY16" fmla="*/ 404338 h 499477"/>
                <a:gd name="connsiteX17" fmla="*/ 225954 w 380553"/>
                <a:gd name="connsiteY17" fmla="*/ 404338 h 499477"/>
                <a:gd name="connsiteX18" fmla="*/ 237847 w 380553"/>
                <a:gd name="connsiteY18" fmla="*/ 416231 h 499477"/>
                <a:gd name="connsiteX19" fmla="*/ 225954 w 380553"/>
                <a:gd name="connsiteY19" fmla="*/ 428123 h 499477"/>
                <a:gd name="connsiteX20" fmla="*/ 261631 w 380553"/>
                <a:gd name="connsiteY20" fmla="*/ 380554 h 499477"/>
                <a:gd name="connsiteX21" fmla="*/ 83247 w 380553"/>
                <a:gd name="connsiteY21" fmla="*/ 380554 h 499477"/>
                <a:gd name="connsiteX22" fmla="*/ 71354 w 380553"/>
                <a:gd name="connsiteY22" fmla="*/ 368661 h 499477"/>
                <a:gd name="connsiteX23" fmla="*/ 83247 w 380553"/>
                <a:gd name="connsiteY23" fmla="*/ 356769 h 499477"/>
                <a:gd name="connsiteX24" fmla="*/ 261631 w 380553"/>
                <a:gd name="connsiteY24" fmla="*/ 356769 h 499477"/>
                <a:gd name="connsiteX25" fmla="*/ 273524 w 380553"/>
                <a:gd name="connsiteY25" fmla="*/ 368662 h 499477"/>
                <a:gd name="connsiteX26" fmla="*/ 261631 w 380553"/>
                <a:gd name="connsiteY26" fmla="*/ 380554 h 499477"/>
                <a:gd name="connsiteX27" fmla="*/ 190277 w 380553"/>
                <a:gd name="connsiteY27" fmla="*/ 332985 h 499477"/>
                <a:gd name="connsiteX28" fmla="*/ 59462 w 380553"/>
                <a:gd name="connsiteY28" fmla="*/ 202170 h 499477"/>
                <a:gd name="connsiteX29" fmla="*/ 190277 w 380553"/>
                <a:gd name="connsiteY29" fmla="*/ 71354 h 499477"/>
                <a:gd name="connsiteX30" fmla="*/ 321092 w 380553"/>
                <a:gd name="connsiteY30" fmla="*/ 202169 h 499477"/>
                <a:gd name="connsiteX31" fmla="*/ 190277 w 380553"/>
                <a:gd name="connsiteY31" fmla="*/ 332985 h 49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80553" h="499477">
                  <a:moveTo>
                    <a:pt x="285416" y="440016"/>
                  </a:moveTo>
                  <a:cubicBezTo>
                    <a:pt x="285416" y="389369"/>
                    <a:pt x="321429" y="345272"/>
                    <a:pt x="371042" y="335145"/>
                  </a:cubicBezTo>
                  <a:cubicBezTo>
                    <a:pt x="376570" y="334019"/>
                    <a:pt x="380554" y="329152"/>
                    <a:pt x="380554" y="323496"/>
                  </a:cubicBezTo>
                  <a:lnTo>
                    <a:pt x="380554" y="47570"/>
                  </a:lnTo>
                  <a:cubicBezTo>
                    <a:pt x="380555" y="21334"/>
                    <a:pt x="359220" y="0"/>
                    <a:pt x="332985" y="0"/>
                  </a:cubicBezTo>
                  <a:lnTo>
                    <a:pt x="47570" y="0"/>
                  </a:lnTo>
                  <a:cubicBezTo>
                    <a:pt x="21335" y="0"/>
                    <a:pt x="0" y="21334"/>
                    <a:pt x="0" y="47570"/>
                  </a:cubicBezTo>
                  <a:lnTo>
                    <a:pt x="0" y="451909"/>
                  </a:lnTo>
                  <a:cubicBezTo>
                    <a:pt x="0" y="478143"/>
                    <a:pt x="21335" y="499477"/>
                    <a:pt x="47570" y="499477"/>
                  </a:cubicBezTo>
                  <a:lnTo>
                    <a:pt x="283604" y="499477"/>
                  </a:lnTo>
                  <a:cubicBezTo>
                    <a:pt x="287622" y="499477"/>
                    <a:pt x="291361" y="497445"/>
                    <a:pt x="293557" y="494089"/>
                  </a:cubicBezTo>
                  <a:cubicBezTo>
                    <a:pt x="295752" y="490721"/>
                    <a:pt x="296112" y="486482"/>
                    <a:pt x="294498" y="482800"/>
                  </a:cubicBezTo>
                  <a:cubicBezTo>
                    <a:pt x="288470" y="469085"/>
                    <a:pt x="285416" y="454695"/>
                    <a:pt x="285416" y="440016"/>
                  </a:cubicBezTo>
                  <a:close/>
                  <a:moveTo>
                    <a:pt x="225954" y="428123"/>
                  </a:moveTo>
                  <a:lnTo>
                    <a:pt x="154600" y="428123"/>
                  </a:lnTo>
                  <a:cubicBezTo>
                    <a:pt x="148027" y="428123"/>
                    <a:pt x="142708" y="422804"/>
                    <a:pt x="142708" y="416231"/>
                  </a:cubicBezTo>
                  <a:cubicBezTo>
                    <a:pt x="142708" y="409657"/>
                    <a:pt x="148027" y="404338"/>
                    <a:pt x="154600" y="404338"/>
                  </a:cubicBezTo>
                  <a:lnTo>
                    <a:pt x="225954" y="404338"/>
                  </a:lnTo>
                  <a:cubicBezTo>
                    <a:pt x="232528" y="404338"/>
                    <a:pt x="237847" y="409657"/>
                    <a:pt x="237847" y="416231"/>
                  </a:cubicBezTo>
                  <a:cubicBezTo>
                    <a:pt x="237847" y="422804"/>
                    <a:pt x="232528" y="428123"/>
                    <a:pt x="225954" y="428123"/>
                  </a:cubicBezTo>
                  <a:close/>
                  <a:moveTo>
                    <a:pt x="261631" y="380554"/>
                  </a:moveTo>
                  <a:lnTo>
                    <a:pt x="83247" y="380554"/>
                  </a:lnTo>
                  <a:cubicBezTo>
                    <a:pt x="76673" y="380554"/>
                    <a:pt x="71354" y="375234"/>
                    <a:pt x="71354" y="368661"/>
                  </a:cubicBezTo>
                  <a:cubicBezTo>
                    <a:pt x="71354" y="362089"/>
                    <a:pt x="76673" y="356769"/>
                    <a:pt x="83247" y="356769"/>
                  </a:cubicBezTo>
                  <a:lnTo>
                    <a:pt x="261631" y="356769"/>
                  </a:lnTo>
                  <a:cubicBezTo>
                    <a:pt x="268205" y="356769"/>
                    <a:pt x="273524" y="362089"/>
                    <a:pt x="273524" y="368662"/>
                  </a:cubicBezTo>
                  <a:cubicBezTo>
                    <a:pt x="273524" y="375236"/>
                    <a:pt x="268205" y="380554"/>
                    <a:pt x="261631" y="380554"/>
                  </a:cubicBezTo>
                  <a:close/>
                  <a:moveTo>
                    <a:pt x="190277" y="332985"/>
                  </a:moveTo>
                  <a:cubicBezTo>
                    <a:pt x="118145" y="332985"/>
                    <a:pt x="59462" y="274302"/>
                    <a:pt x="59462" y="202170"/>
                  </a:cubicBezTo>
                  <a:cubicBezTo>
                    <a:pt x="59462" y="130038"/>
                    <a:pt x="118145" y="71354"/>
                    <a:pt x="190277" y="71354"/>
                  </a:cubicBezTo>
                  <a:cubicBezTo>
                    <a:pt x="262409" y="71354"/>
                    <a:pt x="321092" y="130037"/>
                    <a:pt x="321092" y="202169"/>
                  </a:cubicBezTo>
                  <a:cubicBezTo>
                    <a:pt x="321092" y="274301"/>
                    <a:pt x="262409" y="332985"/>
                    <a:pt x="190277" y="332985"/>
                  </a:cubicBezTo>
                  <a:close/>
                </a:path>
              </a:pathLst>
            </a:custGeom>
            <a:solidFill>
              <a:schemeClr val="accent1"/>
            </a:solid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45" name="Rectangle: Rounded Corners 46">
              <a:extLst>
                <a:ext uri="{FF2B5EF4-FFF2-40B4-BE49-F238E27FC236}">
                  <a16:creationId xmlns:a16="http://schemas.microsoft.com/office/drawing/2014/main" id="{3D6335C3-97FD-2586-D3A9-CA621EA2BC5C}"/>
                </a:ext>
              </a:extLst>
            </p:cNvPr>
            <p:cNvSpPr/>
            <p:nvPr/>
          </p:nvSpPr>
          <p:spPr>
            <a:xfrm>
              <a:off x="9230376" y="1263639"/>
              <a:ext cx="351069" cy="6003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sp>
          <p:nvSpPr>
            <p:cNvPr id="46" name="Rectangle: Rounded Corners 47">
              <a:extLst>
                <a:ext uri="{FF2B5EF4-FFF2-40B4-BE49-F238E27FC236}">
                  <a16:creationId xmlns:a16="http://schemas.microsoft.com/office/drawing/2014/main" id="{E7EBA073-44F3-B57F-CA63-4D7520E622A5}"/>
                </a:ext>
              </a:extLst>
            </p:cNvPr>
            <p:cNvSpPr/>
            <p:nvPr/>
          </p:nvSpPr>
          <p:spPr>
            <a:xfrm>
              <a:off x="9039826" y="1503756"/>
              <a:ext cx="549219" cy="12691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grpSp>
          <p:nvGrpSpPr>
            <p:cNvPr id="47" name="Gráfico 77">
              <a:extLst>
                <a:ext uri="{FF2B5EF4-FFF2-40B4-BE49-F238E27FC236}">
                  <a16:creationId xmlns:a16="http://schemas.microsoft.com/office/drawing/2014/main" id="{FDD8262C-72E3-D85A-3A5D-DCB48EC86764}"/>
                </a:ext>
              </a:extLst>
            </p:cNvPr>
            <p:cNvGrpSpPr/>
            <p:nvPr/>
          </p:nvGrpSpPr>
          <p:grpSpPr>
            <a:xfrm>
              <a:off x="9055634" y="1533211"/>
              <a:ext cx="78520" cy="75282"/>
              <a:chOff x="7427271" y="2932309"/>
              <a:chExt cx="570829" cy="570830"/>
            </a:xfrm>
            <a:solidFill>
              <a:schemeClr val="bg1"/>
            </a:solidFill>
          </p:grpSpPr>
          <p:sp>
            <p:nvSpPr>
              <p:cNvPr id="81" name="Forma libre 199">
                <a:extLst>
                  <a:ext uri="{FF2B5EF4-FFF2-40B4-BE49-F238E27FC236}">
                    <a16:creationId xmlns:a16="http://schemas.microsoft.com/office/drawing/2014/main" id="{4B0B61B6-3FF7-FDB9-C349-712D8AD8ED60}"/>
                  </a:ext>
                </a:extLst>
              </p:cNvPr>
              <p:cNvSpPr/>
              <p:nvPr/>
            </p:nvSpPr>
            <p:spPr>
              <a:xfrm>
                <a:off x="7427271" y="2932309"/>
                <a:ext cx="523262" cy="237845"/>
              </a:xfrm>
              <a:custGeom>
                <a:avLst/>
                <a:gdLst>
                  <a:gd name="connsiteX0" fmla="*/ 261631 w 523262"/>
                  <a:gd name="connsiteY0" fmla="*/ 237846 h 237845"/>
                  <a:gd name="connsiteX1" fmla="*/ 523263 w 523262"/>
                  <a:gd name="connsiteY1" fmla="*/ 154599 h 237845"/>
                  <a:gd name="connsiteX2" fmla="*/ 523263 w 523262"/>
                  <a:gd name="connsiteY2" fmla="*/ 71354 h 237845"/>
                  <a:gd name="connsiteX3" fmla="*/ 261631 w 523262"/>
                  <a:gd name="connsiteY3" fmla="*/ 0 h 237845"/>
                  <a:gd name="connsiteX4" fmla="*/ 0 w 523262"/>
                  <a:gd name="connsiteY4" fmla="*/ 71354 h 237845"/>
                  <a:gd name="connsiteX5" fmla="*/ 0 w 523262"/>
                  <a:gd name="connsiteY5" fmla="*/ 154600 h 237845"/>
                  <a:gd name="connsiteX6" fmla="*/ 261631 w 523262"/>
                  <a:gd name="connsiteY6" fmla="*/ 237846 h 237845"/>
                  <a:gd name="connsiteX7" fmla="*/ 261631 w 523262"/>
                  <a:gd name="connsiteY7" fmla="*/ 23784 h 237845"/>
                  <a:gd name="connsiteX8" fmla="*/ 475693 w 523262"/>
                  <a:gd name="connsiteY8" fmla="*/ 71354 h 237845"/>
                  <a:gd name="connsiteX9" fmla="*/ 261631 w 523262"/>
                  <a:gd name="connsiteY9" fmla="*/ 118924 h 237845"/>
                  <a:gd name="connsiteX10" fmla="*/ 47570 w 523262"/>
                  <a:gd name="connsiteY10" fmla="*/ 71354 h 237845"/>
                  <a:gd name="connsiteX11" fmla="*/ 261631 w 523262"/>
                  <a:gd name="connsiteY11" fmla="*/ 23784 h 237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3262" h="237845">
                    <a:moveTo>
                      <a:pt x="261631" y="237846"/>
                    </a:moveTo>
                    <a:cubicBezTo>
                      <a:pt x="391634" y="237846"/>
                      <a:pt x="523263" y="209253"/>
                      <a:pt x="523263" y="154599"/>
                    </a:cubicBezTo>
                    <a:lnTo>
                      <a:pt x="523263" y="71354"/>
                    </a:lnTo>
                    <a:cubicBezTo>
                      <a:pt x="523263" y="22333"/>
                      <a:pt x="387639" y="0"/>
                      <a:pt x="261631" y="0"/>
                    </a:cubicBezTo>
                    <a:cubicBezTo>
                      <a:pt x="135624" y="0"/>
                      <a:pt x="0" y="22333"/>
                      <a:pt x="0" y="71354"/>
                    </a:cubicBezTo>
                    <a:lnTo>
                      <a:pt x="0" y="154600"/>
                    </a:lnTo>
                    <a:cubicBezTo>
                      <a:pt x="0" y="209254"/>
                      <a:pt x="131629" y="237846"/>
                      <a:pt x="261631" y="237846"/>
                    </a:cubicBezTo>
                    <a:close/>
                    <a:moveTo>
                      <a:pt x="261631" y="23784"/>
                    </a:moveTo>
                    <a:cubicBezTo>
                      <a:pt x="400135" y="23784"/>
                      <a:pt x="475693" y="55211"/>
                      <a:pt x="475693" y="71354"/>
                    </a:cubicBezTo>
                    <a:cubicBezTo>
                      <a:pt x="475693" y="87497"/>
                      <a:pt x="400135" y="118924"/>
                      <a:pt x="261631" y="118924"/>
                    </a:cubicBezTo>
                    <a:cubicBezTo>
                      <a:pt x="123128" y="118924"/>
                      <a:pt x="47570" y="87497"/>
                      <a:pt x="47570" y="71354"/>
                    </a:cubicBezTo>
                    <a:cubicBezTo>
                      <a:pt x="47570" y="55211"/>
                      <a:pt x="123128" y="23784"/>
                      <a:pt x="261631" y="23784"/>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82" name="Forma libre 200">
                <a:extLst>
                  <a:ext uri="{FF2B5EF4-FFF2-40B4-BE49-F238E27FC236}">
                    <a16:creationId xmlns:a16="http://schemas.microsoft.com/office/drawing/2014/main" id="{38BD1915-EAA2-8733-77D8-27F726D13DE9}"/>
                  </a:ext>
                </a:extLst>
              </p:cNvPr>
              <p:cNvSpPr/>
              <p:nvPr/>
            </p:nvSpPr>
            <p:spPr>
              <a:xfrm>
                <a:off x="7427271" y="3146452"/>
                <a:ext cx="523261" cy="166410"/>
              </a:xfrm>
              <a:custGeom>
                <a:avLst/>
                <a:gdLst>
                  <a:gd name="connsiteX0" fmla="*/ 360881 w 523261"/>
                  <a:gd name="connsiteY0" fmla="*/ 152741 h 166410"/>
                  <a:gd name="connsiteX1" fmla="*/ 463800 w 523261"/>
                  <a:gd name="connsiteY1" fmla="*/ 71272 h 166410"/>
                  <a:gd name="connsiteX2" fmla="*/ 506538 w 523261"/>
                  <a:gd name="connsiteY2" fmla="*/ 80632 h 166410"/>
                  <a:gd name="connsiteX3" fmla="*/ 517850 w 523261"/>
                  <a:gd name="connsiteY3" fmla="*/ 79738 h 166410"/>
                  <a:gd name="connsiteX4" fmla="*/ 523261 w 523261"/>
                  <a:gd name="connsiteY4" fmla="*/ 69762 h 166410"/>
                  <a:gd name="connsiteX5" fmla="*/ 523261 w 523261"/>
                  <a:gd name="connsiteY5" fmla="*/ 11903 h 166410"/>
                  <a:gd name="connsiteX6" fmla="*/ 517245 w 523261"/>
                  <a:gd name="connsiteY6" fmla="*/ 1555 h 166410"/>
                  <a:gd name="connsiteX7" fmla="*/ 505284 w 523261"/>
                  <a:gd name="connsiteY7" fmla="*/ 1695 h 166410"/>
                  <a:gd name="connsiteX8" fmla="*/ 261630 w 523261"/>
                  <a:gd name="connsiteY8" fmla="*/ 47487 h 166410"/>
                  <a:gd name="connsiteX9" fmla="*/ 17977 w 523261"/>
                  <a:gd name="connsiteY9" fmla="*/ 1695 h 166410"/>
                  <a:gd name="connsiteX10" fmla="*/ 6015 w 523261"/>
                  <a:gd name="connsiteY10" fmla="*/ 1555 h 166410"/>
                  <a:gd name="connsiteX11" fmla="*/ 0 w 523261"/>
                  <a:gd name="connsiteY11" fmla="*/ 11903 h 166410"/>
                  <a:gd name="connsiteX12" fmla="*/ 0 w 523261"/>
                  <a:gd name="connsiteY12" fmla="*/ 83164 h 166410"/>
                  <a:gd name="connsiteX13" fmla="*/ 261631 w 523261"/>
                  <a:gd name="connsiteY13" fmla="*/ 166411 h 166410"/>
                  <a:gd name="connsiteX14" fmla="*/ 350615 w 523261"/>
                  <a:gd name="connsiteY14" fmla="*/ 161707 h 166410"/>
                  <a:gd name="connsiteX15" fmla="*/ 360881 w 523261"/>
                  <a:gd name="connsiteY15" fmla="*/ 152741 h 166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3261" h="166410">
                    <a:moveTo>
                      <a:pt x="360881" y="152741"/>
                    </a:moveTo>
                    <a:cubicBezTo>
                      <a:pt x="372749" y="104777"/>
                      <a:pt x="415070" y="71272"/>
                      <a:pt x="463800" y="71272"/>
                    </a:cubicBezTo>
                    <a:cubicBezTo>
                      <a:pt x="478178" y="71272"/>
                      <a:pt x="492556" y="74419"/>
                      <a:pt x="506538" y="80632"/>
                    </a:cubicBezTo>
                    <a:cubicBezTo>
                      <a:pt x="510254" y="82270"/>
                      <a:pt x="514482" y="81921"/>
                      <a:pt x="517850" y="79738"/>
                    </a:cubicBezTo>
                    <a:cubicBezTo>
                      <a:pt x="521218" y="77543"/>
                      <a:pt x="523261" y="73792"/>
                      <a:pt x="523261" y="69762"/>
                    </a:cubicBezTo>
                    <a:lnTo>
                      <a:pt x="523261" y="11903"/>
                    </a:lnTo>
                    <a:cubicBezTo>
                      <a:pt x="523261" y="7617"/>
                      <a:pt x="520961" y="3669"/>
                      <a:pt x="517245" y="1555"/>
                    </a:cubicBezTo>
                    <a:cubicBezTo>
                      <a:pt x="513483" y="-570"/>
                      <a:pt x="508907" y="-512"/>
                      <a:pt x="505284" y="1695"/>
                    </a:cubicBezTo>
                    <a:cubicBezTo>
                      <a:pt x="432257" y="45281"/>
                      <a:pt x="289503" y="47487"/>
                      <a:pt x="261630" y="47487"/>
                    </a:cubicBezTo>
                    <a:cubicBezTo>
                      <a:pt x="233758" y="47487"/>
                      <a:pt x="91003" y="45281"/>
                      <a:pt x="17977" y="1695"/>
                    </a:cubicBezTo>
                    <a:cubicBezTo>
                      <a:pt x="14353" y="-512"/>
                      <a:pt x="9778" y="-570"/>
                      <a:pt x="6015" y="1555"/>
                    </a:cubicBezTo>
                    <a:cubicBezTo>
                      <a:pt x="2300" y="3669"/>
                      <a:pt x="0" y="7617"/>
                      <a:pt x="0" y="11903"/>
                    </a:cubicBezTo>
                    <a:lnTo>
                      <a:pt x="0" y="83164"/>
                    </a:lnTo>
                    <a:cubicBezTo>
                      <a:pt x="0" y="137818"/>
                      <a:pt x="131629" y="166411"/>
                      <a:pt x="261631" y="166411"/>
                    </a:cubicBezTo>
                    <a:cubicBezTo>
                      <a:pt x="291781" y="166411"/>
                      <a:pt x="321720" y="164831"/>
                      <a:pt x="350615" y="161707"/>
                    </a:cubicBezTo>
                    <a:cubicBezTo>
                      <a:pt x="355585" y="161172"/>
                      <a:pt x="359673" y="157584"/>
                      <a:pt x="360881" y="152741"/>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83" name="Forma libre 201">
                <a:extLst>
                  <a:ext uri="{FF2B5EF4-FFF2-40B4-BE49-F238E27FC236}">
                    <a16:creationId xmlns:a16="http://schemas.microsoft.com/office/drawing/2014/main" id="{4626A6BD-0C09-66AC-F6F4-721BEC59371A}"/>
                  </a:ext>
                </a:extLst>
              </p:cNvPr>
              <p:cNvSpPr/>
              <p:nvPr/>
            </p:nvSpPr>
            <p:spPr>
              <a:xfrm>
                <a:off x="7427271" y="3289164"/>
                <a:ext cx="334723" cy="166406"/>
              </a:xfrm>
              <a:custGeom>
                <a:avLst/>
                <a:gdLst>
                  <a:gd name="connsiteX0" fmla="*/ 322021 w 334723"/>
                  <a:gd name="connsiteY0" fmla="*/ 45277 h 166406"/>
                  <a:gd name="connsiteX1" fmla="*/ 261630 w 334723"/>
                  <a:gd name="connsiteY1" fmla="*/ 47483 h 166406"/>
                  <a:gd name="connsiteX2" fmla="*/ 17977 w 334723"/>
                  <a:gd name="connsiteY2" fmla="*/ 1691 h 166406"/>
                  <a:gd name="connsiteX3" fmla="*/ 6015 w 334723"/>
                  <a:gd name="connsiteY3" fmla="*/ 1551 h 166406"/>
                  <a:gd name="connsiteX4" fmla="*/ 0 w 334723"/>
                  <a:gd name="connsiteY4" fmla="*/ 11899 h 166406"/>
                  <a:gd name="connsiteX5" fmla="*/ 0 w 334723"/>
                  <a:gd name="connsiteY5" fmla="*/ 83160 h 166406"/>
                  <a:gd name="connsiteX6" fmla="*/ 261631 w 334723"/>
                  <a:gd name="connsiteY6" fmla="*/ 166407 h 166406"/>
                  <a:gd name="connsiteX7" fmla="*/ 321929 w 334723"/>
                  <a:gd name="connsiteY7" fmla="*/ 164246 h 166406"/>
                  <a:gd name="connsiteX8" fmla="*/ 332985 w 334723"/>
                  <a:gd name="connsiteY8" fmla="*/ 152389 h 166406"/>
                  <a:gd name="connsiteX9" fmla="*/ 332985 w 334723"/>
                  <a:gd name="connsiteY9" fmla="*/ 71267 h 166406"/>
                  <a:gd name="connsiteX10" fmla="*/ 334379 w 334723"/>
                  <a:gd name="connsiteY10" fmla="*/ 59990 h 166406"/>
                  <a:gd name="connsiteX11" fmla="*/ 331939 w 334723"/>
                  <a:gd name="connsiteY11" fmla="*/ 49491 h 166406"/>
                  <a:gd name="connsiteX12" fmla="*/ 322021 w 334723"/>
                  <a:gd name="connsiteY12" fmla="*/ 45277 h 166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4723" h="166406">
                    <a:moveTo>
                      <a:pt x="322021" y="45277"/>
                    </a:moveTo>
                    <a:cubicBezTo>
                      <a:pt x="294357" y="47193"/>
                      <a:pt x="272315" y="47483"/>
                      <a:pt x="261630" y="47483"/>
                    </a:cubicBezTo>
                    <a:cubicBezTo>
                      <a:pt x="233758" y="47483"/>
                      <a:pt x="91003" y="45277"/>
                      <a:pt x="17977" y="1691"/>
                    </a:cubicBezTo>
                    <a:cubicBezTo>
                      <a:pt x="14353" y="-516"/>
                      <a:pt x="9778" y="-563"/>
                      <a:pt x="6015" y="1551"/>
                    </a:cubicBezTo>
                    <a:cubicBezTo>
                      <a:pt x="2300" y="3665"/>
                      <a:pt x="0" y="7613"/>
                      <a:pt x="0" y="11899"/>
                    </a:cubicBezTo>
                    <a:lnTo>
                      <a:pt x="0" y="83160"/>
                    </a:lnTo>
                    <a:cubicBezTo>
                      <a:pt x="0" y="137814"/>
                      <a:pt x="131629" y="166407"/>
                      <a:pt x="261631" y="166407"/>
                    </a:cubicBezTo>
                    <a:cubicBezTo>
                      <a:pt x="281212" y="166407"/>
                      <a:pt x="301489" y="165686"/>
                      <a:pt x="321929" y="164246"/>
                    </a:cubicBezTo>
                    <a:cubicBezTo>
                      <a:pt x="328153" y="163817"/>
                      <a:pt x="332985" y="158637"/>
                      <a:pt x="332985" y="152389"/>
                    </a:cubicBezTo>
                    <a:lnTo>
                      <a:pt x="332985" y="71267"/>
                    </a:lnTo>
                    <a:cubicBezTo>
                      <a:pt x="332985" y="67551"/>
                      <a:pt x="333450" y="63753"/>
                      <a:pt x="334379" y="59990"/>
                    </a:cubicBezTo>
                    <a:cubicBezTo>
                      <a:pt x="335285" y="56296"/>
                      <a:pt x="334379" y="52394"/>
                      <a:pt x="331939" y="49491"/>
                    </a:cubicBezTo>
                    <a:cubicBezTo>
                      <a:pt x="329478" y="46577"/>
                      <a:pt x="325413" y="45114"/>
                      <a:pt x="322021" y="45277"/>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84" name="Forma libre 202">
                <a:extLst>
                  <a:ext uri="{FF2B5EF4-FFF2-40B4-BE49-F238E27FC236}">
                    <a16:creationId xmlns:a16="http://schemas.microsoft.com/office/drawing/2014/main" id="{91F5FECB-DCCF-6DFB-F64F-AC9B78798B3E}"/>
                  </a:ext>
                </a:extLst>
              </p:cNvPr>
              <p:cNvSpPr/>
              <p:nvPr/>
            </p:nvSpPr>
            <p:spPr>
              <a:xfrm>
                <a:off x="7784040" y="3241508"/>
                <a:ext cx="214060" cy="261631"/>
              </a:xfrm>
              <a:custGeom>
                <a:avLst/>
                <a:gdLst>
                  <a:gd name="connsiteX0" fmla="*/ 190277 w 214060"/>
                  <a:gd name="connsiteY0" fmla="*/ 95139 h 261631"/>
                  <a:gd name="connsiteX1" fmla="*/ 190277 w 214060"/>
                  <a:gd name="connsiteY1" fmla="*/ 83247 h 261631"/>
                  <a:gd name="connsiteX2" fmla="*/ 107031 w 214060"/>
                  <a:gd name="connsiteY2" fmla="*/ 0 h 261631"/>
                  <a:gd name="connsiteX3" fmla="*/ 23784 w 214060"/>
                  <a:gd name="connsiteY3" fmla="*/ 83247 h 261631"/>
                  <a:gd name="connsiteX4" fmla="*/ 23784 w 214060"/>
                  <a:gd name="connsiteY4" fmla="*/ 95139 h 261631"/>
                  <a:gd name="connsiteX5" fmla="*/ 0 w 214060"/>
                  <a:gd name="connsiteY5" fmla="*/ 118923 h 261631"/>
                  <a:gd name="connsiteX6" fmla="*/ 0 w 214060"/>
                  <a:gd name="connsiteY6" fmla="*/ 237847 h 261631"/>
                  <a:gd name="connsiteX7" fmla="*/ 23784 w 214060"/>
                  <a:gd name="connsiteY7" fmla="*/ 261631 h 261631"/>
                  <a:gd name="connsiteX8" fmla="*/ 190276 w 214060"/>
                  <a:gd name="connsiteY8" fmla="*/ 261631 h 261631"/>
                  <a:gd name="connsiteX9" fmla="*/ 214061 w 214060"/>
                  <a:gd name="connsiteY9" fmla="*/ 237847 h 261631"/>
                  <a:gd name="connsiteX10" fmla="*/ 214061 w 214060"/>
                  <a:gd name="connsiteY10" fmla="*/ 118923 h 261631"/>
                  <a:gd name="connsiteX11" fmla="*/ 190277 w 214060"/>
                  <a:gd name="connsiteY11" fmla="*/ 95139 h 261631"/>
                  <a:gd name="connsiteX12" fmla="*/ 118923 w 214060"/>
                  <a:gd name="connsiteY12" fmla="*/ 186620 h 261631"/>
                  <a:gd name="connsiteX13" fmla="*/ 118923 w 214060"/>
                  <a:gd name="connsiteY13" fmla="*/ 202170 h 261631"/>
                  <a:gd name="connsiteX14" fmla="*/ 107031 w 214060"/>
                  <a:gd name="connsiteY14" fmla="*/ 214063 h 261631"/>
                  <a:gd name="connsiteX15" fmla="*/ 95138 w 214060"/>
                  <a:gd name="connsiteY15" fmla="*/ 202170 h 261631"/>
                  <a:gd name="connsiteX16" fmla="*/ 95138 w 214060"/>
                  <a:gd name="connsiteY16" fmla="*/ 186620 h 261631"/>
                  <a:gd name="connsiteX17" fmla="*/ 83245 w 214060"/>
                  <a:gd name="connsiteY17" fmla="*/ 166493 h 261631"/>
                  <a:gd name="connsiteX18" fmla="*/ 107030 w 214060"/>
                  <a:gd name="connsiteY18" fmla="*/ 142709 h 261631"/>
                  <a:gd name="connsiteX19" fmla="*/ 130814 w 214060"/>
                  <a:gd name="connsiteY19" fmla="*/ 166493 h 261631"/>
                  <a:gd name="connsiteX20" fmla="*/ 118923 w 214060"/>
                  <a:gd name="connsiteY20" fmla="*/ 186620 h 261631"/>
                  <a:gd name="connsiteX21" fmla="*/ 142708 w 214060"/>
                  <a:gd name="connsiteY21" fmla="*/ 95139 h 261631"/>
                  <a:gd name="connsiteX22" fmla="*/ 71354 w 214060"/>
                  <a:gd name="connsiteY22" fmla="*/ 95139 h 261631"/>
                  <a:gd name="connsiteX23" fmla="*/ 71354 w 214060"/>
                  <a:gd name="connsiteY23" fmla="*/ 83247 h 261631"/>
                  <a:gd name="connsiteX24" fmla="*/ 107031 w 214060"/>
                  <a:gd name="connsiteY24" fmla="*/ 47570 h 261631"/>
                  <a:gd name="connsiteX25" fmla="*/ 142708 w 214060"/>
                  <a:gd name="connsiteY25" fmla="*/ 83247 h 261631"/>
                  <a:gd name="connsiteX26" fmla="*/ 142708 w 214060"/>
                  <a:gd name="connsiteY26" fmla="*/ 95139 h 261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14060" h="261631">
                    <a:moveTo>
                      <a:pt x="190277" y="95139"/>
                    </a:moveTo>
                    <a:lnTo>
                      <a:pt x="190277" y="83247"/>
                    </a:lnTo>
                    <a:cubicBezTo>
                      <a:pt x="190277" y="37349"/>
                      <a:pt x="152928" y="0"/>
                      <a:pt x="107031" y="0"/>
                    </a:cubicBezTo>
                    <a:cubicBezTo>
                      <a:pt x="61134" y="0"/>
                      <a:pt x="23784" y="37349"/>
                      <a:pt x="23784" y="83247"/>
                    </a:cubicBezTo>
                    <a:lnTo>
                      <a:pt x="23784" y="95139"/>
                    </a:lnTo>
                    <a:cubicBezTo>
                      <a:pt x="10673" y="95139"/>
                      <a:pt x="0" y="105812"/>
                      <a:pt x="0" y="118923"/>
                    </a:cubicBezTo>
                    <a:lnTo>
                      <a:pt x="0" y="237847"/>
                    </a:lnTo>
                    <a:cubicBezTo>
                      <a:pt x="0" y="250958"/>
                      <a:pt x="10673" y="261631"/>
                      <a:pt x="23784" y="261631"/>
                    </a:cubicBezTo>
                    <a:lnTo>
                      <a:pt x="190276" y="261631"/>
                    </a:lnTo>
                    <a:cubicBezTo>
                      <a:pt x="203388" y="261631"/>
                      <a:pt x="214061" y="250958"/>
                      <a:pt x="214061" y="237847"/>
                    </a:cubicBezTo>
                    <a:lnTo>
                      <a:pt x="214061" y="118923"/>
                    </a:lnTo>
                    <a:cubicBezTo>
                      <a:pt x="214062" y="105812"/>
                      <a:pt x="203389" y="95139"/>
                      <a:pt x="190277" y="95139"/>
                    </a:cubicBezTo>
                    <a:close/>
                    <a:moveTo>
                      <a:pt x="118923" y="186620"/>
                    </a:moveTo>
                    <a:lnTo>
                      <a:pt x="118923" y="202170"/>
                    </a:lnTo>
                    <a:cubicBezTo>
                      <a:pt x="118923" y="208744"/>
                      <a:pt x="113604" y="214063"/>
                      <a:pt x="107031" y="214063"/>
                    </a:cubicBezTo>
                    <a:cubicBezTo>
                      <a:pt x="100457" y="214063"/>
                      <a:pt x="95138" y="208744"/>
                      <a:pt x="95138" y="202170"/>
                    </a:cubicBezTo>
                    <a:lnTo>
                      <a:pt x="95138" y="186620"/>
                    </a:lnTo>
                    <a:cubicBezTo>
                      <a:pt x="88161" y="182469"/>
                      <a:pt x="83245" y="175179"/>
                      <a:pt x="83245" y="166493"/>
                    </a:cubicBezTo>
                    <a:cubicBezTo>
                      <a:pt x="83245" y="153382"/>
                      <a:pt x="93918" y="142709"/>
                      <a:pt x="107030" y="142709"/>
                    </a:cubicBezTo>
                    <a:cubicBezTo>
                      <a:pt x="120141" y="142709"/>
                      <a:pt x="130814" y="153382"/>
                      <a:pt x="130814" y="166493"/>
                    </a:cubicBezTo>
                    <a:cubicBezTo>
                      <a:pt x="130815" y="175179"/>
                      <a:pt x="125899" y="182469"/>
                      <a:pt x="118923" y="186620"/>
                    </a:cubicBezTo>
                    <a:close/>
                    <a:moveTo>
                      <a:pt x="142708" y="95139"/>
                    </a:moveTo>
                    <a:lnTo>
                      <a:pt x="71354" y="95139"/>
                    </a:lnTo>
                    <a:lnTo>
                      <a:pt x="71354" y="83247"/>
                    </a:lnTo>
                    <a:cubicBezTo>
                      <a:pt x="71354" y="63573"/>
                      <a:pt x="87357" y="47570"/>
                      <a:pt x="107031" y="47570"/>
                    </a:cubicBezTo>
                    <a:cubicBezTo>
                      <a:pt x="126704" y="47570"/>
                      <a:pt x="142708" y="63573"/>
                      <a:pt x="142708" y="83247"/>
                    </a:cubicBezTo>
                    <a:lnTo>
                      <a:pt x="142708" y="95139"/>
                    </a:ln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grpSp>
        <p:grpSp>
          <p:nvGrpSpPr>
            <p:cNvPr id="48" name="Gráfico 232">
              <a:extLst>
                <a:ext uri="{FF2B5EF4-FFF2-40B4-BE49-F238E27FC236}">
                  <a16:creationId xmlns:a16="http://schemas.microsoft.com/office/drawing/2014/main" id="{061D836B-C79F-359B-465C-B0A1AEB2E2B7}"/>
                </a:ext>
              </a:extLst>
            </p:cNvPr>
            <p:cNvGrpSpPr/>
            <p:nvPr/>
          </p:nvGrpSpPr>
          <p:grpSpPr>
            <a:xfrm>
              <a:off x="9055853" y="1138925"/>
              <a:ext cx="132804" cy="138902"/>
              <a:chOff x="4023312" y="4118557"/>
              <a:chExt cx="523265" cy="570831"/>
            </a:xfrm>
            <a:solidFill>
              <a:schemeClr val="tx2"/>
            </a:solidFill>
          </p:grpSpPr>
          <p:sp>
            <p:nvSpPr>
              <p:cNvPr id="76" name="Forma libre 292">
                <a:extLst>
                  <a:ext uri="{FF2B5EF4-FFF2-40B4-BE49-F238E27FC236}">
                    <a16:creationId xmlns:a16="http://schemas.microsoft.com/office/drawing/2014/main" id="{AC83E0DB-0C26-57B8-3FA2-F9CB1AB69F51}"/>
                  </a:ext>
                </a:extLst>
              </p:cNvPr>
              <p:cNvSpPr/>
              <p:nvPr/>
            </p:nvSpPr>
            <p:spPr>
              <a:xfrm>
                <a:off x="4273051" y="4474990"/>
                <a:ext cx="202170" cy="178665"/>
              </a:xfrm>
              <a:custGeom>
                <a:avLst/>
                <a:gdLst>
                  <a:gd name="connsiteX0" fmla="*/ 190277 w 202170"/>
                  <a:gd name="connsiteY0" fmla="*/ 154844 h 178665"/>
                  <a:gd name="connsiteX1" fmla="*/ 23785 w 202170"/>
                  <a:gd name="connsiteY1" fmla="*/ 11911 h 178665"/>
                  <a:gd name="connsiteX2" fmla="*/ 11893 w 202170"/>
                  <a:gd name="connsiteY2" fmla="*/ 0 h 178665"/>
                  <a:gd name="connsiteX3" fmla="*/ 0 w 202170"/>
                  <a:gd name="connsiteY3" fmla="*/ 11911 h 178665"/>
                  <a:gd name="connsiteX4" fmla="*/ 190277 w 202170"/>
                  <a:gd name="connsiteY4" fmla="*/ 178666 h 178665"/>
                  <a:gd name="connsiteX5" fmla="*/ 202170 w 202170"/>
                  <a:gd name="connsiteY5" fmla="*/ 166755 h 178665"/>
                  <a:gd name="connsiteX6" fmla="*/ 190277 w 202170"/>
                  <a:gd name="connsiteY6" fmla="*/ 154844 h 178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2170" h="178665">
                    <a:moveTo>
                      <a:pt x="190277" y="154844"/>
                    </a:moveTo>
                    <a:cubicBezTo>
                      <a:pt x="101596" y="154844"/>
                      <a:pt x="23785" y="88053"/>
                      <a:pt x="23785" y="11911"/>
                    </a:cubicBezTo>
                    <a:cubicBezTo>
                      <a:pt x="23785" y="5327"/>
                      <a:pt x="18466" y="0"/>
                      <a:pt x="11893" y="0"/>
                    </a:cubicBezTo>
                    <a:cubicBezTo>
                      <a:pt x="5319" y="0"/>
                      <a:pt x="0" y="5327"/>
                      <a:pt x="0" y="11911"/>
                    </a:cubicBezTo>
                    <a:cubicBezTo>
                      <a:pt x="0" y="100743"/>
                      <a:pt x="88914" y="178666"/>
                      <a:pt x="190277" y="178666"/>
                    </a:cubicBezTo>
                    <a:cubicBezTo>
                      <a:pt x="196851" y="178666"/>
                      <a:pt x="202170" y="173339"/>
                      <a:pt x="202170" y="166755"/>
                    </a:cubicBezTo>
                    <a:cubicBezTo>
                      <a:pt x="202170" y="160172"/>
                      <a:pt x="196851" y="154844"/>
                      <a:pt x="190277" y="154844"/>
                    </a:cubicBezTo>
                    <a:close/>
                  </a:path>
                </a:pathLst>
              </a:custGeom>
              <a:solidFill>
                <a:schemeClr val="bg1"/>
              </a:solidFill>
              <a:ln w="10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7" name="Forma libre 293">
                <a:extLst>
                  <a:ext uri="{FF2B5EF4-FFF2-40B4-BE49-F238E27FC236}">
                    <a16:creationId xmlns:a16="http://schemas.microsoft.com/office/drawing/2014/main" id="{4ACBEE2F-75AE-88D1-58E6-56226F0531A1}"/>
                  </a:ext>
                </a:extLst>
              </p:cNvPr>
              <p:cNvSpPr/>
              <p:nvPr/>
            </p:nvSpPr>
            <p:spPr>
              <a:xfrm>
                <a:off x="4094670" y="4118557"/>
                <a:ext cx="368660" cy="73125"/>
              </a:xfrm>
              <a:custGeom>
                <a:avLst/>
                <a:gdLst>
                  <a:gd name="connsiteX0" fmla="*/ 11889 w 368660"/>
                  <a:gd name="connsiteY0" fmla="*/ 73126 h 73125"/>
                  <a:gd name="connsiteX1" fmla="*/ 18068 w 368660"/>
                  <a:gd name="connsiteY1" fmla="*/ 71404 h 73125"/>
                  <a:gd name="connsiteX2" fmla="*/ 351006 w 368660"/>
                  <a:gd name="connsiteY2" fmla="*/ 64402 h 73125"/>
                  <a:gd name="connsiteX3" fmla="*/ 367173 w 368660"/>
                  <a:gd name="connsiteY3" fmla="*/ 59737 h 73125"/>
                  <a:gd name="connsiteX4" fmla="*/ 362528 w 368660"/>
                  <a:gd name="connsiteY4" fmla="*/ 43557 h 73125"/>
                  <a:gd name="connsiteX5" fmla="*/ 5712 w 368660"/>
                  <a:gd name="connsiteY5" fmla="*/ 51025 h 73125"/>
                  <a:gd name="connsiteX6" fmla="*/ 1717 w 368660"/>
                  <a:gd name="connsiteY6" fmla="*/ 67391 h 73125"/>
                  <a:gd name="connsiteX7" fmla="*/ 11889 w 368660"/>
                  <a:gd name="connsiteY7" fmla="*/ 73126 h 7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8660" h="73125">
                    <a:moveTo>
                      <a:pt x="11889" y="73126"/>
                    </a:moveTo>
                    <a:cubicBezTo>
                      <a:pt x="14003" y="73126"/>
                      <a:pt x="16140" y="72567"/>
                      <a:pt x="18068" y="71404"/>
                    </a:cubicBezTo>
                    <a:cubicBezTo>
                      <a:pt x="118688" y="10244"/>
                      <a:pt x="249155" y="8022"/>
                      <a:pt x="351006" y="64402"/>
                    </a:cubicBezTo>
                    <a:cubicBezTo>
                      <a:pt x="356767" y="67600"/>
                      <a:pt x="363991" y="65506"/>
                      <a:pt x="367173" y="59737"/>
                    </a:cubicBezTo>
                    <a:cubicBezTo>
                      <a:pt x="370355" y="53979"/>
                      <a:pt x="368264" y="46733"/>
                      <a:pt x="362528" y="43557"/>
                    </a:cubicBezTo>
                    <a:cubicBezTo>
                      <a:pt x="253291" y="-16882"/>
                      <a:pt x="113510" y="-14451"/>
                      <a:pt x="5712" y="51025"/>
                    </a:cubicBezTo>
                    <a:cubicBezTo>
                      <a:pt x="114" y="54444"/>
                      <a:pt x="-1675" y="61773"/>
                      <a:pt x="1717" y="67391"/>
                    </a:cubicBezTo>
                    <a:cubicBezTo>
                      <a:pt x="3969" y="71090"/>
                      <a:pt x="7871" y="73126"/>
                      <a:pt x="11889" y="73126"/>
                    </a:cubicBezTo>
                    <a:close/>
                  </a:path>
                </a:pathLst>
              </a:custGeom>
              <a:solidFill>
                <a:schemeClr val="bg1"/>
              </a:solidFill>
              <a:ln w="10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8" name="Forma libre 294">
                <a:extLst>
                  <a:ext uri="{FF2B5EF4-FFF2-40B4-BE49-F238E27FC236}">
                    <a16:creationId xmlns:a16="http://schemas.microsoft.com/office/drawing/2014/main" id="{2BED89D9-847D-198F-31DF-CCE0C036DA4A}"/>
                  </a:ext>
                </a:extLst>
              </p:cNvPr>
              <p:cNvSpPr/>
              <p:nvPr/>
            </p:nvSpPr>
            <p:spPr>
              <a:xfrm>
                <a:off x="4023312" y="4189124"/>
                <a:ext cx="523265" cy="154844"/>
              </a:xfrm>
              <a:custGeom>
                <a:avLst/>
                <a:gdLst>
                  <a:gd name="connsiteX0" fmla="*/ 521776 w 523265"/>
                  <a:gd name="connsiteY0" fmla="*/ 137163 h 154844"/>
                  <a:gd name="connsiteX1" fmla="*/ 261632 w 523265"/>
                  <a:gd name="connsiteY1" fmla="*/ 0 h 154844"/>
                  <a:gd name="connsiteX2" fmla="*/ 1488 w 523265"/>
                  <a:gd name="connsiteY2" fmla="*/ 137163 h 154844"/>
                  <a:gd name="connsiteX3" fmla="*/ 6134 w 523265"/>
                  <a:gd name="connsiteY3" fmla="*/ 153355 h 154844"/>
                  <a:gd name="connsiteX4" fmla="*/ 22300 w 523265"/>
                  <a:gd name="connsiteY4" fmla="*/ 148703 h 154844"/>
                  <a:gd name="connsiteX5" fmla="*/ 261632 w 523265"/>
                  <a:gd name="connsiteY5" fmla="*/ 23822 h 154844"/>
                  <a:gd name="connsiteX6" fmla="*/ 500964 w 523265"/>
                  <a:gd name="connsiteY6" fmla="*/ 148703 h 154844"/>
                  <a:gd name="connsiteX7" fmla="*/ 511371 w 523265"/>
                  <a:gd name="connsiteY7" fmla="*/ 154845 h 154844"/>
                  <a:gd name="connsiteX8" fmla="*/ 517132 w 523265"/>
                  <a:gd name="connsiteY8" fmla="*/ 153356 h 154844"/>
                  <a:gd name="connsiteX9" fmla="*/ 521776 w 523265"/>
                  <a:gd name="connsiteY9" fmla="*/ 137163 h 1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3265" h="154844">
                    <a:moveTo>
                      <a:pt x="521776" y="137163"/>
                    </a:moveTo>
                    <a:cubicBezTo>
                      <a:pt x="475717" y="53844"/>
                      <a:pt x="373611" y="0"/>
                      <a:pt x="261632" y="0"/>
                    </a:cubicBezTo>
                    <a:cubicBezTo>
                      <a:pt x="149654" y="0"/>
                      <a:pt x="47547" y="53844"/>
                      <a:pt x="1488" y="137163"/>
                    </a:cubicBezTo>
                    <a:cubicBezTo>
                      <a:pt x="-1694" y="142921"/>
                      <a:pt x="397" y="150168"/>
                      <a:pt x="6134" y="153355"/>
                    </a:cubicBezTo>
                    <a:cubicBezTo>
                      <a:pt x="11895" y="156530"/>
                      <a:pt x="19095" y="154460"/>
                      <a:pt x="22300" y="148703"/>
                    </a:cubicBezTo>
                    <a:cubicBezTo>
                      <a:pt x="64225" y="72839"/>
                      <a:pt x="158178" y="23822"/>
                      <a:pt x="261632" y="23822"/>
                    </a:cubicBezTo>
                    <a:cubicBezTo>
                      <a:pt x="365087" y="23822"/>
                      <a:pt x="459041" y="72839"/>
                      <a:pt x="500964" y="148703"/>
                    </a:cubicBezTo>
                    <a:cubicBezTo>
                      <a:pt x="503148" y="152634"/>
                      <a:pt x="507190" y="154845"/>
                      <a:pt x="511371" y="154845"/>
                    </a:cubicBezTo>
                    <a:cubicBezTo>
                      <a:pt x="513322" y="154845"/>
                      <a:pt x="515296" y="154367"/>
                      <a:pt x="517132" y="153356"/>
                    </a:cubicBezTo>
                    <a:cubicBezTo>
                      <a:pt x="522869" y="150168"/>
                      <a:pt x="524959" y="142921"/>
                      <a:pt x="521776" y="137163"/>
                    </a:cubicBezTo>
                    <a:close/>
                  </a:path>
                </a:pathLst>
              </a:custGeom>
              <a:solidFill>
                <a:schemeClr val="bg1"/>
              </a:solidFill>
              <a:ln w="10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9" name="Forma libre 295">
                <a:extLst>
                  <a:ext uri="{FF2B5EF4-FFF2-40B4-BE49-F238E27FC236}">
                    <a16:creationId xmlns:a16="http://schemas.microsoft.com/office/drawing/2014/main" id="{A408D7D5-7C8A-AFE5-85D7-403906E3797B}"/>
                  </a:ext>
                </a:extLst>
              </p:cNvPr>
              <p:cNvSpPr/>
              <p:nvPr/>
            </p:nvSpPr>
            <p:spPr>
              <a:xfrm>
                <a:off x="4118453" y="4332056"/>
                <a:ext cx="332984" cy="357332"/>
              </a:xfrm>
              <a:custGeom>
                <a:avLst/>
                <a:gdLst>
                  <a:gd name="connsiteX0" fmla="*/ 23783 w 332984"/>
                  <a:gd name="connsiteY0" fmla="*/ 166755 h 357332"/>
                  <a:gd name="connsiteX1" fmla="*/ 166491 w 332984"/>
                  <a:gd name="connsiteY1" fmla="*/ 23822 h 357332"/>
                  <a:gd name="connsiteX2" fmla="*/ 309199 w 332984"/>
                  <a:gd name="connsiteY2" fmla="*/ 154844 h 357332"/>
                  <a:gd name="connsiteX3" fmla="*/ 321091 w 332984"/>
                  <a:gd name="connsiteY3" fmla="*/ 166754 h 357332"/>
                  <a:gd name="connsiteX4" fmla="*/ 332984 w 332984"/>
                  <a:gd name="connsiteY4" fmla="*/ 154844 h 357332"/>
                  <a:gd name="connsiteX5" fmla="*/ 166492 w 332984"/>
                  <a:gd name="connsiteY5" fmla="*/ 0 h 357332"/>
                  <a:gd name="connsiteX6" fmla="*/ 0 w 332984"/>
                  <a:gd name="connsiteY6" fmla="*/ 166755 h 357332"/>
                  <a:gd name="connsiteX7" fmla="*/ 80320 w 332984"/>
                  <a:gd name="connsiteY7" fmla="*/ 353552 h 357332"/>
                  <a:gd name="connsiteX8" fmla="*/ 89007 w 332984"/>
                  <a:gd name="connsiteY8" fmla="*/ 357332 h 357332"/>
                  <a:gd name="connsiteX9" fmla="*/ 97114 w 332984"/>
                  <a:gd name="connsiteY9" fmla="*/ 354121 h 357332"/>
                  <a:gd name="connsiteX10" fmla="*/ 97695 w 332984"/>
                  <a:gd name="connsiteY10" fmla="*/ 337290 h 357332"/>
                  <a:gd name="connsiteX11" fmla="*/ 23783 w 332984"/>
                  <a:gd name="connsiteY11" fmla="*/ 166755 h 35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2984" h="357332">
                    <a:moveTo>
                      <a:pt x="23783" y="166755"/>
                    </a:moveTo>
                    <a:cubicBezTo>
                      <a:pt x="23783" y="83936"/>
                      <a:pt x="83802" y="23822"/>
                      <a:pt x="166491" y="23822"/>
                    </a:cubicBezTo>
                    <a:cubicBezTo>
                      <a:pt x="253175" y="23822"/>
                      <a:pt x="309199" y="75247"/>
                      <a:pt x="309199" y="154844"/>
                    </a:cubicBezTo>
                    <a:cubicBezTo>
                      <a:pt x="309199" y="161427"/>
                      <a:pt x="314518" y="166754"/>
                      <a:pt x="321091" y="166754"/>
                    </a:cubicBezTo>
                    <a:cubicBezTo>
                      <a:pt x="327665" y="166754"/>
                      <a:pt x="332984" y="161427"/>
                      <a:pt x="332984" y="154844"/>
                    </a:cubicBezTo>
                    <a:cubicBezTo>
                      <a:pt x="332984" y="62231"/>
                      <a:pt x="266066" y="0"/>
                      <a:pt x="166492" y="0"/>
                    </a:cubicBezTo>
                    <a:cubicBezTo>
                      <a:pt x="71586" y="0"/>
                      <a:pt x="0" y="71687"/>
                      <a:pt x="0" y="166755"/>
                    </a:cubicBezTo>
                    <a:cubicBezTo>
                      <a:pt x="0" y="236361"/>
                      <a:pt x="24760" y="293974"/>
                      <a:pt x="80320" y="353552"/>
                    </a:cubicBezTo>
                    <a:cubicBezTo>
                      <a:pt x="82666" y="356065"/>
                      <a:pt x="85825" y="357332"/>
                      <a:pt x="89007" y="357332"/>
                    </a:cubicBezTo>
                    <a:cubicBezTo>
                      <a:pt x="91910" y="357332"/>
                      <a:pt x="94837" y="356274"/>
                      <a:pt x="97114" y="354121"/>
                    </a:cubicBezTo>
                    <a:cubicBezTo>
                      <a:pt x="101922" y="349632"/>
                      <a:pt x="102178" y="342094"/>
                      <a:pt x="97695" y="337290"/>
                    </a:cubicBezTo>
                    <a:cubicBezTo>
                      <a:pt x="46570" y="282458"/>
                      <a:pt x="23783" y="229870"/>
                      <a:pt x="23783" y="166755"/>
                    </a:cubicBezTo>
                    <a:close/>
                  </a:path>
                </a:pathLst>
              </a:custGeom>
              <a:solidFill>
                <a:schemeClr val="bg1"/>
              </a:solidFill>
              <a:ln w="10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80" name="Forma libre 296">
                <a:extLst>
                  <a:ext uri="{FF2B5EF4-FFF2-40B4-BE49-F238E27FC236}">
                    <a16:creationId xmlns:a16="http://schemas.microsoft.com/office/drawing/2014/main" id="{7D463FE2-A542-CD89-8144-67774B3A7A5E}"/>
                  </a:ext>
                </a:extLst>
              </p:cNvPr>
              <p:cNvSpPr/>
              <p:nvPr/>
            </p:nvSpPr>
            <p:spPr>
              <a:xfrm>
                <a:off x="4047098" y="4260591"/>
                <a:ext cx="475692" cy="428797"/>
              </a:xfrm>
              <a:custGeom>
                <a:avLst/>
                <a:gdLst>
                  <a:gd name="connsiteX0" fmla="*/ 237846 w 475692"/>
                  <a:gd name="connsiteY0" fmla="*/ 0 h 428797"/>
                  <a:gd name="connsiteX1" fmla="*/ 0 w 475692"/>
                  <a:gd name="connsiteY1" fmla="*/ 226310 h 428797"/>
                  <a:gd name="connsiteX2" fmla="*/ 24691 w 475692"/>
                  <a:gd name="connsiteY2" fmla="*/ 326159 h 428797"/>
                  <a:gd name="connsiteX3" fmla="*/ 40230 w 475692"/>
                  <a:gd name="connsiteY3" fmla="*/ 332603 h 428797"/>
                  <a:gd name="connsiteX4" fmla="*/ 46664 w 475692"/>
                  <a:gd name="connsiteY4" fmla="*/ 317040 h 428797"/>
                  <a:gd name="connsiteX5" fmla="*/ 23784 w 475692"/>
                  <a:gd name="connsiteY5" fmla="*/ 226310 h 428797"/>
                  <a:gd name="connsiteX6" fmla="*/ 237846 w 475692"/>
                  <a:gd name="connsiteY6" fmla="*/ 23822 h 428797"/>
                  <a:gd name="connsiteX7" fmla="*/ 451908 w 475692"/>
                  <a:gd name="connsiteY7" fmla="*/ 238222 h 428797"/>
                  <a:gd name="connsiteX8" fmla="*/ 392446 w 475692"/>
                  <a:gd name="connsiteY8" fmla="*/ 297776 h 428797"/>
                  <a:gd name="connsiteX9" fmla="*/ 332985 w 475692"/>
                  <a:gd name="connsiteY9" fmla="*/ 238222 h 428797"/>
                  <a:gd name="connsiteX10" fmla="*/ 237847 w 475692"/>
                  <a:gd name="connsiteY10" fmla="*/ 142933 h 428797"/>
                  <a:gd name="connsiteX11" fmla="*/ 142709 w 475692"/>
                  <a:gd name="connsiteY11" fmla="*/ 238222 h 428797"/>
                  <a:gd name="connsiteX12" fmla="*/ 269645 w 475692"/>
                  <a:gd name="connsiteY12" fmla="*/ 427309 h 428797"/>
                  <a:gd name="connsiteX13" fmla="*/ 275406 w 475692"/>
                  <a:gd name="connsiteY13" fmla="*/ 428798 h 428797"/>
                  <a:gd name="connsiteX14" fmla="*/ 285811 w 475692"/>
                  <a:gd name="connsiteY14" fmla="*/ 422645 h 428797"/>
                  <a:gd name="connsiteX15" fmla="*/ 281166 w 475692"/>
                  <a:gd name="connsiteY15" fmla="*/ 406465 h 428797"/>
                  <a:gd name="connsiteX16" fmla="*/ 166492 w 475692"/>
                  <a:gd name="connsiteY16" fmla="*/ 238220 h 428797"/>
                  <a:gd name="connsiteX17" fmla="*/ 237846 w 475692"/>
                  <a:gd name="connsiteY17" fmla="*/ 166754 h 428797"/>
                  <a:gd name="connsiteX18" fmla="*/ 309200 w 475692"/>
                  <a:gd name="connsiteY18" fmla="*/ 238220 h 428797"/>
                  <a:gd name="connsiteX19" fmla="*/ 392446 w 475692"/>
                  <a:gd name="connsiteY19" fmla="*/ 321597 h 428797"/>
                  <a:gd name="connsiteX20" fmla="*/ 475693 w 475692"/>
                  <a:gd name="connsiteY20" fmla="*/ 238220 h 428797"/>
                  <a:gd name="connsiteX21" fmla="*/ 237846 w 475692"/>
                  <a:gd name="connsiteY21" fmla="*/ 0 h 428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75692" h="428797">
                    <a:moveTo>
                      <a:pt x="237846" y="0"/>
                    </a:moveTo>
                    <a:cubicBezTo>
                      <a:pt x="100039" y="0"/>
                      <a:pt x="0" y="95173"/>
                      <a:pt x="0" y="226310"/>
                    </a:cubicBezTo>
                    <a:cubicBezTo>
                      <a:pt x="0" y="261671"/>
                      <a:pt x="11869" y="295194"/>
                      <a:pt x="24691" y="326159"/>
                    </a:cubicBezTo>
                    <a:cubicBezTo>
                      <a:pt x="27199" y="332254"/>
                      <a:pt x="34214" y="335092"/>
                      <a:pt x="40230" y="332603"/>
                    </a:cubicBezTo>
                    <a:cubicBezTo>
                      <a:pt x="46293" y="330079"/>
                      <a:pt x="49173" y="323112"/>
                      <a:pt x="46664" y="317040"/>
                    </a:cubicBezTo>
                    <a:cubicBezTo>
                      <a:pt x="34771" y="288343"/>
                      <a:pt x="23784" y="257506"/>
                      <a:pt x="23784" y="226310"/>
                    </a:cubicBezTo>
                    <a:cubicBezTo>
                      <a:pt x="23784" y="107083"/>
                      <a:pt x="111815" y="23822"/>
                      <a:pt x="237846" y="23822"/>
                    </a:cubicBezTo>
                    <a:cubicBezTo>
                      <a:pt x="359881" y="23822"/>
                      <a:pt x="451908" y="115994"/>
                      <a:pt x="451908" y="238222"/>
                    </a:cubicBezTo>
                    <a:cubicBezTo>
                      <a:pt x="451908" y="271059"/>
                      <a:pt x="425242" y="297776"/>
                      <a:pt x="392446" y="297776"/>
                    </a:cubicBezTo>
                    <a:cubicBezTo>
                      <a:pt x="359649" y="297776"/>
                      <a:pt x="332985" y="271058"/>
                      <a:pt x="332985" y="238222"/>
                    </a:cubicBezTo>
                    <a:cubicBezTo>
                      <a:pt x="332985" y="182121"/>
                      <a:pt x="293871" y="142933"/>
                      <a:pt x="237847" y="142933"/>
                    </a:cubicBezTo>
                    <a:cubicBezTo>
                      <a:pt x="181823" y="142933"/>
                      <a:pt x="142709" y="182121"/>
                      <a:pt x="142709" y="238222"/>
                    </a:cubicBezTo>
                    <a:cubicBezTo>
                      <a:pt x="142709" y="315946"/>
                      <a:pt x="186608" y="381329"/>
                      <a:pt x="269645" y="427309"/>
                    </a:cubicBezTo>
                    <a:cubicBezTo>
                      <a:pt x="271480" y="428322"/>
                      <a:pt x="273455" y="428798"/>
                      <a:pt x="275406" y="428798"/>
                    </a:cubicBezTo>
                    <a:cubicBezTo>
                      <a:pt x="279587" y="428798"/>
                      <a:pt x="283652" y="426576"/>
                      <a:pt x="285811" y="422645"/>
                    </a:cubicBezTo>
                    <a:cubicBezTo>
                      <a:pt x="288993" y="416887"/>
                      <a:pt x="286903" y="409640"/>
                      <a:pt x="281166" y="406465"/>
                    </a:cubicBezTo>
                    <a:cubicBezTo>
                      <a:pt x="205072" y="364334"/>
                      <a:pt x="166492" y="307733"/>
                      <a:pt x="166492" y="238220"/>
                    </a:cubicBezTo>
                    <a:cubicBezTo>
                      <a:pt x="166492" y="188855"/>
                      <a:pt x="202332" y="166754"/>
                      <a:pt x="237846" y="166754"/>
                    </a:cubicBezTo>
                    <a:cubicBezTo>
                      <a:pt x="273360" y="166754"/>
                      <a:pt x="309200" y="188855"/>
                      <a:pt x="309200" y="238220"/>
                    </a:cubicBezTo>
                    <a:cubicBezTo>
                      <a:pt x="309200" y="284190"/>
                      <a:pt x="346549" y="321597"/>
                      <a:pt x="392446" y="321597"/>
                    </a:cubicBezTo>
                    <a:cubicBezTo>
                      <a:pt x="438344" y="321597"/>
                      <a:pt x="475693" y="284189"/>
                      <a:pt x="475693" y="238220"/>
                    </a:cubicBezTo>
                    <a:cubicBezTo>
                      <a:pt x="475692" y="102407"/>
                      <a:pt x="373446" y="0"/>
                      <a:pt x="237846" y="0"/>
                    </a:cubicBezTo>
                    <a:close/>
                  </a:path>
                </a:pathLst>
              </a:custGeom>
              <a:solidFill>
                <a:schemeClr val="bg1"/>
              </a:solidFill>
              <a:ln w="10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grpSp>
        <p:pic>
          <p:nvPicPr>
            <p:cNvPr id="49" name="Gráfico 211">
              <a:extLst>
                <a:ext uri="{FF2B5EF4-FFF2-40B4-BE49-F238E27FC236}">
                  <a16:creationId xmlns:a16="http://schemas.microsoft.com/office/drawing/2014/main" id="{8DB4C90D-8847-B11D-1569-1969720BA70F}"/>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075817" y="1367599"/>
              <a:ext cx="107094" cy="102677"/>
            </a:xfrm>
            <a:prstGeom prst="rect">
              <a:avLst/>
            </a:prstGeom>
          </p:spPr>
        </p:pic>
        <p:sp>
          <p:nvSpPr>
            <p:cNvPr id="50" name="Rectangle: Rounded Corners 51">
              <a:extLst>
                <a:ext uri="{FF2B5EF4-FFF2-40B4-BE49-F238E27FC236}">
                  <a16:creationId xmlns:a16="http://schemas.microsoft.com/office/drawing/2014/main" id="{A838590D-3B88-2F76-E508-8711CFA6462E}"/>
                </a:ext>
              </a:extLst>
            </p:cNvPr>
            <p:cNvSpPr/>
            <p:nvPr/>
          </p:nvSpPr>
          <p:spPr>
            <a:xfrm>
              <a:off x="9226159" y="1351305"/>
              <a:ext cx="176551" cy="12691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sp>
          <p:nvSpPr>
            <p:cNvPr id="51" name="Rectangle: Rounded Corners 52">
              <a:extLst>
                <a:ext uri="{FF2B5EF4-FFF2-40B4-BE49-F238E27FC236}">
                  <a16:creationId xmlns:a16="http://schemas.microsoft.com/office/drawing/2014/main" id="{0827EB3A-B250-8F93-F1D0-9F96AEF8EE3F}"/>
                </a:ext>
              </a:extLst>
            </p:cNvPr>
            <p:cNvSpPr/>
            <p:nvPr/>
          </p:nvSpPr>
          <p:spPr>
            <a:xfrm>
              <a:off x="9410717" y="1353012"/>
              <a:ext cx="176551" cy="12691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pic>
          <p:nvPicPr>
            <p:cNvPr id="52" name="Gráfico 220">
              <a:extLst>
                <a:ext uri="{FF2B5EF4-FFF2-40B4-BE49-F238E27FC236}">
                  <a16:creationId xmlns:a16="http://schemas.microsoft.com/office/drawing/2014/main" id="{EC167C26-11FC-B312-2236-0F8D8AA091A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9261411" y="1365695"/>
              <a:ext cx="105163" cy="100826"/>
            </a:xfrm>
            <a:prstGeom prst="rect">
              <a:avLst/>
            </a:prstGeom>
          </p:spPr>
        </p:pic>
        <p:pic>
          <p:nvPicPr>
            <p:cNvPr id="53" name="Gráfico 234">
              <a:extLst>
                <a:ext uri="{FF2B5EF4-FFF2-40B4-BE49-F238E27FC236}">
                  <a16:creationId xmlns:a16="http://schemas.microsoft.com/office/drawing/2014/main" id="{90F8E805-4C41-E5F6-9278-FA8DF896C702}"/>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9442604" y="1363270"/>
              <a:ext cx="106117" cy="101742"/>
            </a:xfrm>
            <a:prstGeom prst="rect">
              <a:avLst/>
            </a:prstGeom>
          </p:spPr>
        </p:pic>
        <p:grpSp>
          <p:nvGrpSpPr>
            <p:cNvPr id="54" name="Gráfico 93">
              <a:extLst>
                <a:ext uri="{FF2B5EF4-FFF2-40B4-BE49-F238E27FC236}">
                  <a16:creationId xmlns:a16="http://schemas.microsoft.com/office/drawing/2014/main" id="{D815EE8B-6E9C-F9B8-BF26-E5AA55E39DDD}"/>
                </a:ext>
              </a:extLst>
            </p:cNvPr>
            <p:cNvGrpSpPr/>
            <p:nvPr/>
          </p:nvGrpSpPr>
          <p:grpSpPr>
            <a:xfrm>
              <a:off x="9240790" y="1117839"/>
              <a:ext cx="46178" cy="44274"/>
              <a:chOff x="2827562" y="5657036"/>
              <a:chExt cx="570830" cy="570830"/>
            </a:xfrm>
            <a:solidFill>
              <a:schemeClr val="bg1"/>
            </a:solidFill>
          </p:grpSpPr>
          <p:sp>
            <p:nvSpPr>
              <p:cNvPr id="65" name="Forma libre 277">
                <a:extLst>
                  <a:ext uri="{FF2B5EF4-FFF2-40B4-BE49-F238E27FC236}">
                    <a16:creationId xmlns:a16="http://schemas.microsoft.com/office/drawing/2014/main" id="{792179F7-13A5-AA30-D872-721CEC4F61FE}"/>
                  </a:ext>
                </a:extLst>
              </p:cNvPr>
              <p:cNvSpPr/>
              <p:nvPr/>
            </p:nvSpPr>
            <p:spPr>
              <a:xfrm>
                <a:off x="2991448" y="6013805"/>
                <a:ext cx="195486" cy="166492"/>
              </a:xfrm>
              <a:custGeom>
                <a:avLst/>
                <a:gdLst>
                  <a:gd name="connsiteX0" fmla="*/ 192720 w 195486"/>
                  <a:gd name="connsiteY0" fmla="*/ 4273 h 166492"/>
                  <a:gd name="connsiteX1" fmla="*/ 183592 w 195486"/>
                  <a:gd name="connsiteY1" fmla="*/ 0 h 166492"/>
                  <a:gd name="connsiteX2" fmla="*/ 11896 w 195486"/>
                  <a:gd name="connsiteY2" fmla="*/ 0 h 166492"/>
                  <a:gd name="connsiteX3" fmla="*/ 2768 w 195486"/>
                  <a:gd name="connsiteY3" fmla="*/ 4273 h 166492"/>
                  <a:gd name="connsiteX4" fmla="*/ 189 w 195486"/>
                  <a:gd name="connsiteY4" fmla="*/ 14005 h 166492"/>
                  <a:gd name="connsiteX5" fmla="*/ 97743 w 195486"/>
                  <a:gd name="connsiteY5" fmla="*/ 166492 h 166492"/>
                  <a:gd name="connsiteX6" fmla="*/ 195297 w 195486"/>
                  <a:gd name="connsiteY6" fmla="*/ 14005 h 166492"/>
                  <a:gd name="connsiteX7" fmla="*/ 192720 w 195486"/>
                  <a:gd name="connsiteY7" fmla="*/ 4273 h 166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86" h="166492">
                    <a:moveTo>
                      <a:pt x="192720" y="4273"/>
                    </a:moveTo>
                    <a:cubicBezTo>
                      <a:pt x="190467" y="1555"/>
                      <a:pt x="187123" y="0"/>
                      <a:pt x="183592" y="0"/>
                    </a:cubicBezTo>
                    <a:lnTo>
                      <a:pt x="11896" y="0"/>
                    </a:lnTo>
                    <a:cubicBezTo>
                      <a:pt x="8365" y="0"/>
                      <a:pt x="5021" y="1556"/>
                      <a:pt x="2768" y="4273"/>
                    </a:cubicBezTo>
                    <a:cubicBezTo>
                      <a:pt x="514" y="6968"/>
                      <a:pt x="-438" y="10545"/>
                      <a:pt x="189" y="14005"/>
                    </a:cubicBezTo>
                    <a:cubicBezTo>
                      <a:pt x="17470" y="109493"/>
                      <a:pt x="53936" y="166492"/>
                      <a:pt x="97743" y="166492"/>
                    </a:cubicBezTo>
                    <a:cubicBezTo>
                      <a:pt x="141550" y="166492"/>
                      <a:pt x="178016" y="109493"/>
                      <a:pt x="195297" y="14005"/>
                    </a:cubicBezTo>
                    <a:cubicBezTo>
                      <a:pt x="195926" y="10545"/>
                      <a:pt x="194974" y="6968"/>
                      <a:pt x="192720" y="4273"/>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6" name="Forma libre 278">
                <a:extLst>
                  <a:ext uri="{FF2B5EF4-FFF2-40B4-BE49-F238E27FC236}">
                    <a16:creationId xmlns:a16="http://schemas.microsoft.com/office/drawing/2014/main" id="{30E4B3A6-94BF-886E-4618-C5763377EDA6}"/>
                  </a:ext>
                </a:extLst>
              </p:cNvPr>
              <p:cNvSpPr/>
              <p:nvPr/>
            </p:nvSpPr>
            <p:spPr>
              <a:xfrm>
                <a:off x="2982162" y="5847313"/>
                <a:ext cx="214060" cy="142707"/>
              </a:xfrm>
              <a:custGeom>
                <a:avLst/>
                <a:gdLst>
                  <a:gd name="connsiteX0" fmla="*/ 199335 w 214060"/>
                  <a:gd name="connsiteY0" fmla="*/ 0 h 142707"/>
                  <a:gd name="connsiteX1" fmla="*/ 14726 w 214060"/>
                  <a:gd name="connsiteY1" fmla="*/ 0 h 142707"/>
                  <a:gd name="connsiteX2" fmla="*/ 2880 w 214060"/>
                  <a:gd name="connsiteY2" fmla="*/ 10778 h 142707"/>
                  <a:gd name="connsiteX3" fmla="*/ 0 w 214060"/>
                  <a:gd name="connsiteY3" fmla="*/ 71354 h 142707"/>
                  <a:gd name="connsiteX4" fmla="*/ 2880 w 214060"/>
                  <a:gd name="connsiteY4" fmla="*/ 131930 h 142707"/>
                  <a:gd name="connsiteX5" fmla="*/ 14726 w 214060"/>
                  <a:gd name="connsiteY5" fmla="*/ 142708 h 142707"/>
                  <a:gd name="connsiteX6" fmla="*/ 199335 w 214060"/>
                  <a:gd name="connsiteY6" fmla="*/ 142708 h 142707"/>
                  <a:gd name="connsiteX7" fmla="*/ 211181 w 214060"/>
                  <a:gd name="connsiteY7" fmla="*/ 131930 h 142707"/>
                  <a:gd name="connsiteX8" fmla="*/ 214060 w 214060"/>
                  <a:gd name="connsiteY8" fmla="*/ 71354 h 142707"/>
                  <a:gd name="connsiteX9" fmla="*/ 211181 w 214060"/>
                  <a:gd name="connsiteY9" fmla="*/ 10778 h 142707"/>
                  <a:gd name="connsiteX10" fmla="*/ 199335 w 214060"/>
                  <a:gd name="connsiteY10" fmla="*/ 0 h 14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4060" h="142707">
                    <a:moveTo>
                      <a:pt x="199335" y="0"/>
                    </a:moveTo>
                    <a:lnTo>
                      <a:pt x="14726" y="0"/>
                    </a:lnTo>
                    <a:cubicBezTo>
                      <a:pt x="8594" y="0"/>
                      <a:pt x="3461" y="4669"/>
                      <a:pt x="2880" y="10778"/>
                    </a:cubicBezTo>
                    <a:cubicBezTo>
                      <a:pt x="976" y="31217"/>
                      <a:pt x="0" y="51611"/>
                      <a:pt x="0" y="71354"/>
                    </a:cubicBezTo>
                    <a:cubicBezTo>
                      <a:pt x="0" y="91097"/>
                      <a:pt x="976" y="111490"/>
                      <a:pt x="2880" y="131930"/>
                    </a:cubicBezTo>
                    <a:cubicBezTo>
                      <a:pt x="3461" y="138039"/>
                      <a:pt x="8594" y="142708"/>
                      <a:pt x="14726" y="142708"/>
                    </a:cubicBezTo>
                    <a:lnTo>
                      <a:pt x="199335" y="142708"/>
                    </a:lnTo>
                    <a:cubicBezTo>
                      <a:pt x="205467" y="142708"/>
                      <a:pt x="210600" y="138039"/>
                      <a:pt x="211181" y="131930"/>
                    </a:cubicBezTo>
                    <a:cubicBezTo>
                      <a:pt x="213085" y="111490"/>
                      <a:pt x="214060" y="91097"/>
                      <a:pt x="214060" y="71354"/>
                    </a:cubicBezTo>
                    <a:cubicBezTo>
                      <a:pt x="214060" y="51611"/>
                      <a:pt x="213085" y="31217"/>
                      <a:pt x="211181" y="10778"/>
                    </a:cubicBezTo>
                    <a:cubicBezTo>
                      <a:pt x="210601" y="4668"/>
                      <a:pt x="205467" y="0"/>
                      <a:pt x="199335" y="0"/>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7" name="Forma libre 279">
                <a:extLst>
                  <a:ext uri="{FF2B5EF4-FFF2-40B4-BE49-F238E27FC236}">
                    <a16:creationId xmlns:a16="http://schemas.microsoft.com/office/drawing/2014/main" id="{30325418-089B-7990-76BC-F8BD03783276}"/>
                  </a:ext>
                </a:extLst>
              </p:cNvPr>
              <p:cNvSpPr/>
              <p:nvPr/>
            </p:nvSpPr>
            <p:spPr>
              <a:xfrm>
                <a:off x="2991449" y="5657036"/>
                <a:ext cx="195487" cy="166491"/>
              </a:xfrm>
              <a:custGeom>
                <a:avLst/>
                <a:gdLst>
                  <a:gd name="connsiteX0" fmla="*/ 2767 w 195487"/>
                  <a:gd name="connsiteY0" fmla="*/ 162219 h 166491"/>
                  <a:gd name="connsiteX1" fmla="*/ 11896 w 195487"/>
                  <a:gd name="connsiteY1" fmla="*/ 166492 h 166491"/>
                  <a:gd name="connsiteX2" fmla="*/ 183591 w 195487"/>
                  <a:gd name="connsiteY2" fmla="*/ 166492 h 166491"/>
                  <a:gd name="connsiteX3" fmla="*/ 192720 w 195487"/>
                  <a:gd name="connsiteY3" fmla="*/ 162219 h 166491"/>
                  <a:gd name="connsiteX4" fmla="*/ 195299 w 195487"/>
                  <a:gd name="connsiteY4" fmla="*/ 152487 h 166491"/>
                  <a:gd name="connsiteX5" fmla="*/ 97743 w 195487"/>
                  <a:gd name="connsiteY5" fmla="*/ 0 h 166491"/>
                  <a:gd name="connsiteX6" fmla="*/ 189 w 195487"/>
                  <a:gd name="connsiteY6" fmla="*/ 152487 h 166491"/>
                  <a:gd name="connsiteX7" fmla="*/ 2767 w 195487"/>
                  <a:gd name="connsiteY7" fmla="*/ 162219 h 166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87" h="166491">
                    <a:moveTo>
                      <a:pt x="2767" y="162219"/>
                    </a:moveTo>
                    <a:cubicBezTo>
                      <a:pt x="5020" y="164937"/>
                      <a:pt x="8365" y="166492"/>
                      <a:pt x="11896" y="166492"/>
                    </a:cubicBezTo>
                    <a:lnTo>
                      <a:pt x="183591" y="166492"/>
                    </a:lnTo>
                    <a:cubicBezTo>
                      <a:pt x="187122" y="166492"/>
                      <a:pt x="190467" y="164936"/>
                      <a:pt x="192720" y="162219"/>
                    </a:cubicBezTo>
                    <a:cubicBezTo>
                      <a:pt x="194973" y="159524"/>
                      <a:pt x="195925" y="155947"/>
                      <a:pt x="195299" y="152487"/>
                    </a:cubicBezTo>
                    <a:cubicBezTo>
                      <a:pt x="178017" y="56999"/>
                      <a:pt x="141549" y="0"/>
                      <a:pt x="97743" y="0"/>
                    </a:cubicBezTo>
                    <a:cubicBezTo>
                      <a:pt x="53937" y="0"/>
                      <a:pt x="17470" y="56999"/>
                      <a:pt x="189" y="152487"/>
                    </a:cubicBezTo>
                    <a:cubicBezTo>
                      <a:pt x="-438" y="155947"/>
                      <a:pt x="514" y="159524"/>
                      <a:pt x="2767" y="162219"/>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8" name="Forma libre 280">
                <a:extLst>
                  <a:ext uri="{FF2B5EF4-FFF2-40B4-BE49-F238E27FC236}">
                    <a16:creationId xmlns:a16="http://schemas.microsoft.com/office/drawing/2014/main" id="{A8FEE643-882F-7191-6FBF-FDE0C2605A59}"/>
                  </a:ext>
                </a:extLst>
              </p:cNvPr>
              <p:cNvSpPr/>
              <p:nvPr/>
            </p:nvSpPr>
            <p:spPr>
              <a:xfrm>
                <a:off x="3231899" y="5942451"/>
                <a:ext cx="166493" cy="166493"/>
              </a:xfrm>
              <a:custGeom>
                <a:avLst/>
                <a:gdLst>
                  <a:gd name="connsiteX0" fmla="*/ 166493 w 166493"/>
                  <a:gd name="connsiteY0" fmla="*/ 83247 h 166493"/>
                  <a:gd name="connsiteX1" fmla="*/ 83247 w 166493"/>
                  <a:gd name="connsiteY1" fmla="*/ 166493 h 166493"/>
                  <a:gd name="connsiteX2" fmla="*/ 0 w 166493"/>
                  <a:gd name="connsiteY2" fmla="*/ 83247 h 166493"/>
                  <a:gd name="connsiteX3" fmla="*/ 83247 w 166493"/>
                  <a:gd name="connsiteY3" fmla="*/ 0 h 166493"/>
                  <a:gd name="connsiteX4" fmla="*/ 166493 w 166493"/>
                  <a:gd name="connsiteY4" fmla="*/ 83247 h 1664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93" h="166493">
                    <a:moveTo>
                      <a:pt x="166493" y="83247"/>
                    </a:moveTo>
                    <a:cubicBezTo>
                      <a:pt x="166493" y="129222"/>
                      <a:pt x="129222" y="166493"/>
                      <a:pt x="83247" y="166493"/>
                    </a:cubicBezTo>
                    <a:cubicBezTo>
                      <a:pt x="37271" y="166493"/>
                      <a:pt x="0" y="129222"/>
                      <a:pt x="0" y="83247"/>
                    </a:cubicBezTo>
                    <a:cubicBezTo>
                      <a:pt x="0" y="37271"/>
                      <a:pt x="37271" y="0"/>
                      <a:pt x="83247" y="0"/>
                    </a:cubicBezTo>
                    <a:cubicBezTo>
                      <a:pt x="129222" y="0"/>
                      <a:pt x="166493" y="37271"/>
                      <a:pt x="166493" y="83247"/>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9" name="Forma libre 281">
                <a:extLst>
                  <a:ext uri="{FF2B5EF4-FFF2-40B4-BE49-F238E27FC236}">
                    <a16:creationId xmlns:a16="http://schemas.microsoft.com/office/drawing/2014/main" id="{AE3831EE-D278-DA14-2382-1E7E77F25D1D}"/>
                  </a:ext>
                </a:extLst>
              </p:cNvPr>
              <p:cNvSpPr/>
              <p:nvPr/>
            </p:nvSpPr>
            <p:spPr>
              <a:xfrm>
                <a:off x="2827562" y="5847312"/>
                <a:ext cx="133489" cy="142708"/>
              </a:xfrm>
              <a:custGeom>
                <a:avLst/>
                <a:gdLst>
                  <a:gd name="connsiteX0" fmla="*/ 130375 w 133489"/>
                  <a:gd name="connsiteY0" fmla="*/ 138852 h 142708"/>
                  <a:gd name="connsiteX1" fmla="*/ 133441 w 133489"/>
                  <a:gd name="connsiteY1" fmla="*/ 129770 h 142708"/>
                  <a:gd name="connsiteX2" fmla="*/ 130816 w 133489"/>
                  <a:gd name="connsiteY2" fmla="*/ 71354 h 142708"/>
                  <a:gd name="connsiteX3" fmla="*/ 133441 w 133489"/>
                  <a:gd name="connsiteY3" fmla="*/ 12937 h 142708"/>
                  <a:gd name="connsiteX4" fmla="*/ 130375 w 133489"/>
                  <a:gd name="connsiteY4" fmla="*/ 3855 h 142708"/>
                  <a:gd name="connsiteX5" fmla="*/ 121595 w 133489"/>
                  <a:gd name="connsiteY5" fmla="*/ 0 h 142708"/>
                  <a:gd name="connsiteX6" fmla="*/ 19325 w 133489"/>
                  <a:gd name="connsiteY6" fmla="*/ 0 h 142708"/>
                  <a:gd name="connsiteX7" fmla="*/ 7781 w 133489"/>
                  <a:gd name="connsiteY7" fmla="*/ 9059 h 142708"/>
                  <a:gd name="connsiteX8" fmla="*/ 0 w 133489"/>
                  <a:gd name="connsiteY8" fmla="*/ 71355 h 142708"/>
                  <a:gd name="connsiteX9" fmla="*/ 7781 w 133489"/>
                  <a:gd name="connsiteY9" fmla="*/ 133650 h 142708"/>
                  <a:gd name="connsiteX10" fmla="*/ 19325 w 133489"/>
                  <a:gd name="connsiteY10" fmla="*/ 142709 h 142708"/>
                  <a:gd name="connsiteX11" fmla="*/ 121594 w 133489"/>
                  <a:gd name="connsiteY11" fmla="*/ 142709 h 142708"/>
                  <a:gd name="connsiteX12" fmla="*/ 130375 w 133489"/>
                  <a:gd name="connsiteY12" fmla="*/ 138852 h 142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3489" h="142708">
                    <a:moveTo>
                      <a:pt x="130375" y="138852"/>
                    </a:moveTo>
                    <a:cubicBezTo>
                      <a:pt x="132628" y="136391"/>
                      <a:pt x="133743" y="133092"/>
                      <a:pt x="133441" y="129770"/>
                    </a:cubicBezTo>
                    <a:cubicBezTo>
                      <a:pt x="131698" y="110028"/>
                      <a:pt x="130816" y="90377"/>
                      <a:pt x="130816" y="71354"/>
                    </a:cubicBezTo>
                    <a:cubicBezTo>
                      <a:pt x="130816" y="52330"/>
                      <a:pt x="131699" y="32680"/>
                      <a:pt x="133441" y="12937"/>
                    </a:cubicBezTo>
                    <a:cubicBezTo>
                      <a:pt x="133743" y="9616"/>
                      <a:pt x="132628" y="6317"/>
                      <a:pt x="130375" y="3855"/>
                    </a:cubicBezTo>
                    <a:cubicBezTo>
                      <a:pt x="128121" y="1394"/>
                      <a:pt x="124940" y="0"/>
                      <a:pt x="121595" y="0"/>
                    </a:cubicBezTo>
                    <a:lnTo>
                      <a:pt x="19325" y="0"/>
                    </a:lnTo>
                    <a:cubicBezTo>
                      <a:pt x="13844" y="0"/>
                      <a:pt x="9082" y="3739"/>
                      <a:pt x="7781" y="9059"/>
                    </a:cubicBezTo>
                    <a:cubicBezTo>
                      <a:pt x="2624" y="30057"/>
                      <a:pt x="0" y="51008"/>
                      <a:pt x="0" y="71355"/>
                    </a:cubicBezTo>
                    <a:cubicBezTo>
                      <a:pt x="0" y="91702"/>
                      <a:pt x="2624" y="112653"/>
                      <a:pt x="7781" y="133650"/>
                    </a:cubicBezTo>
                    <a:cubicBezTo>
                      <a:pt x="9082" y="138969"/>
                      <a:pt x="13844" y="142709"/>
                      <a:pt x="19325" y="142709"/>
                    </a:cubicBezTo>
                    <a:lnTo>
                      <a:pt x="121594" y="142709"/>
                    </a:lnTo>
                    <a:cubicBezTo>
                      <a:pt x="124940" y="142709"/>
                      <a:pt x="128121" y="141315"/>
                      <a:pt x="130375" y="138852"/>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0" name="Forma libre 282">
                <a:extLst>
                  <a:ext uri="{FF2B5EF4-FFF2-40B4-BE49-F238E27FC236}">
                    <a16:creationId xmlns:a16="http://schemas.microsoft.com/office/drawing/2014/main" id="{718B6A9D-C31E-BC13-A011-C8D67059793D}"/>
                  </a:ext>
                </a:extLst>
              </p:cNvPr>
              <p:cNvSpPr/>
              <p:nvPr/>
            </p:nvSpPr>
            <p:spPr>
              <a:xfrm>
                <a:off x="3170995" y="5675310"/>
                <a:ext cx="155349" cy="148218"/>
              </a:xfrm>
              <a:custGeom>
                <a:avLst/>
                <a:gdLst>
                  <a:gd name="connsiteX0" fmla="*/ 40627 w 155349"/>
                  <a:gd name="connsiteY0" fmla="*/ 138277 h 148218"/>
                  <a:gd name="connsiteX1" fmla="*/ 52357 w 155349"/>
                  <a:gd name="connsiteY1" fmla="*/ 148218 h 148218"/>
                  <a:gd name="connsiteX2" fmla="*/ 143454 w 155349"/>
                  <a:gd name="connsiteY2" fmla="*/ 148218 h 148218"/>
                  <a:gd name="connsiteX3" fmla="*/ 153511 w 155349"/>
                  <a:gd name="connsiteY3" fmla="*/ 142690 h 148218"/>
                  <a:gd name="connsiteX4" fmla="*/ 154185 w 155349"/>
                  <a:gd name="connsiteY4" fmla="*/ 131216 h 148218"/>
                  <a:gd name="connsiteX5" fmla="*/ 16378 w 155349"/>
                  <a:gd name="connsiteY5" fmla="*/ 888 h 148218"/>
                  <a:gd name="connsiteX6" fmla="*/ 2953 w 155349"/>
                  <a:gd name="connsiteY6" fmla="*/ 4070 h 148218"/>
                  <a:gd name="connsiteX7" fmla="*/ 1559 w 155349"/>
                  <a:gd name="connsiteY7" fmla="*/ 17798 h 148218"/>
                  <a:gd name="connsiteX8" fmla="*/ 40627 w 155349"/>
                  <a:gd name="connsiteY8" fmla="*/ 138277 h 148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349" h="148218">
                    <a:moveTo>
                      <a:pt x="40627" y="138277"/>
                    </a:moveTo>
                    <a:cubicBezTo>
                      <a:pt x="41580" y="144014"/>
                      <a:pt x="46527" y="148218"/>
                      <a:pt x="52357" y="148218"/>
                    </a:cubicBezTo>
                    <a:lnTo>
                      <a:pt x="143454" y="148218"/>
                    </a:lnTo>
                    <a:cubicBezTo>
                      <a:pt x="147542" y="148218"/>
                      <a:pt x="151329" y="146128"/>
                      <a:pt x="153511" y="142690"/>
                    </a:cubicBezTo>
                    <a:cubicBezTo>
                      <a:pt x="155694" y="139230"/>
                      <a:pt x="155951" y="134910"/>
                      <a:pt x="154185" y="131216"/>
                    </a:cubicBezTo>
                    <a:cubicBezTo>
                      <a:pt x="125963" y="71777"/>
                      <a:pt x="77025" y="25508"/>
                      <a:pt x="16378" y="888"/>
                    </a:cubicBezTo>
                    <a:cubicBezTo>
                      <a:pt x="11663" y="-1040"/>
                      <a:pt x="6297" y="238"/>
                      <a:pt x="2953" y="4070"/>
                    </a:cubicBezTo>
                    <a:cubicBezTo>
                      <a:pt x="-392" y="7880"/>
                      <a:pt x="-950" y="13384"/>
                      <a:pt x="1559" y="17798"/>
                    </a:cubicBezTo>
                    <a:cubicBezTo>
                      <a:pt x="19189" y="48690"/>
                      <a:pt x="32707" y="90359"/>
                      <a:pt x="40627" y="138277"/>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1" name="Forma libre 283">
                <a:extLst>
                  <a:ext uri="{FF2B5EF4-FFF2-40B4-BE49-F238E27FC236}">
                    <a16:creationId xmlns:a16="http://schemas.microsoft.com/office/drawing/2014/main" id="{4A6EB55D-DED5-F45C-D0DA-A6AFDF24984B}"/>
                  </a:ext>
                </a:extLst>
              </p:cNvPr>
              <p:cNvSpPr/>
              <p:nvPr/>
            </p:nvSpPr>
            <p:spPr>
              <a:xfrm>
                <a:off x="2851924" y="5675353"/>
                <a:ext cx="155419" cy="148174"/>
              </a:xfrm>
              <a:custGeom>
                <a:avLst/>
                <a:gdLst>
                  <a:gd name="connsiteX0" fmla="*/ 11895 w 155419"/>
                  <a:gd name="connsiteY0" fmla="*/ 148174 h 148174"/>
                  <a:gd name="connsiteX1" fmla="*/ 103109 w 155419"/>
                  <a:gd name="connsiteY1" fmla="*/ 148174 h 148174"/>
                  <a:gd name="connsiteX2" fmla="*/ 114839 w 155419"/>
                  <a:gd name="connsiteY2" fmla="*/ 138233 h 148174"/>
                  <a:gd name="connsiteX3" fmla="*/ 153860 w 155419"/>
                  <a:gd name="connsiteY3" fmla="*/ 17800 h 148174"/>
                  <a:gd name="connsiteX4" fmla="*/ 152467 w 155419"/>
                  <a:gd name="connsiteY4" fmla="*/ 4095 h 148174"/>
                  <a:gd name="connsiteX5" fmla="*/ 139065 w 155419"/>
                  <a:gd name="connsiteY5" fmla="*/ 913 h 148174"/>
                  <a:gd name="connsiteX6" fmla="*/ 1164 w 155419"/>
                  <a:gd name="connsiteY6" fmla="*/ 131172 h 148174"/>
                  <a:gd name="connsiteX7" fmla="*/ 1838 w 155419"/>
                  <a:gd name="connsiteY7" fmla="*/ 142623 h 148174"/>
                  <a:gd name="connsiteX8" fmla="*/ 11895 w 155419"/>
                  <a:gd name="connsiteY8" fmla="*/ 148174 h 148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419" h="148174">
                    <a:moveTo>
                      <a:pt x="11895" y="148174"/>
                    </a:moveTo>
                    <a:lnTo>
                      <a:pt x="103109" y="148174"/>
                    </a:lnTo>
                    <a:cubicBezTo>
                      <a:pt x="108939" y="148174"/>
                      <a:pt x="113887" y="143970"/>
                      <a:pt x="114839" y="138233"/>
                    </a:cubicBezTo>
                    <a:cubicBezTo>
                      <a:pt x="122759" y="90339"/>
                      <a:pt x="136254" y="48692"/>
                      <a:pt x="153860" y="17800"/>
                    </a:cubicBezTo>
                    <a:cubicBezTo>
                      <a:pt x="156369" y="13409"/>
                      <a:pt x="155811" y="7905"/>
                      <a:pt x="152467" y="4095"/>
                    </a:cubicBezTo>
                    <a:cubicBezTo>
                      <a:pt x="149122" y="240"/>
                      <a:pt x="143687" y="-1061"/>
                      <a:pt x="139065" y="913"/>
                    </a:cubicBezTo>
                    <a:cubicBezTo>
                      <a:pt x="78371" y="25513"/>
                      <a:pt x="29408" y="71781"/>
                      <a:pt x="1164" y="131172"/>
                    </a:cubicBezTo>
                    <a:cubicBezTo>
                      <a:pt x="-601" y="134866"/>
                      <a:pt x="-345" y="139186"/>
                      <a:pt x="1838" y="142623"/>
                    </a:cubicBezTo>
                    <a:cubicBezTo>
                      <a:pt x="4021" y="146084"/>
                      <a:pt x="7807" y="148174"/>
                      <a:pt x="11895" y="148174"/>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2" name="Forma libre 284">
                <a:extLst>
                  <a:ext uri="{FF2B5EF4-FFF2-40B4-BE49-F238E27FC236}">
                    <a16:creationId xmlns:a16="http://schemas.microsoft.com/office/drawing/2014/main" id="{918EB52D-8DD2-6994-4561-0847DA0172FB}"/>
                  </a:ext>
                </a:extLst>
              </p:cNvPr>
              <p:cNvSpPr/>
              <p:nvPr/>
            </p:nvSpPr>
            <p:spPr>
              <a:xfrm>
                <a:off x="3217335" y="5847313"/>
                <a:ext cx="133009" cy="105915"/>
              </a:xfrm>
              <a:custGeom>
                <a:avLst/>
                <a:gdLst>
                  <a:gd name="connsiteX0" fmla="*/ 3115 w 133009"/>
                  <a:gd name="connsiteY0" fmla="*/ 3855 h 105915"/>
                  <a:gd name="connsiteX1" fmla="*/ 49 w 133009"/>
                  <a:gd name="connsiteY1" fmla="*/ 12937 h 105915"/>
                  <a:gd name="connsiteX2" fmla="*/ 2673 w 133009"/>
                  <a:gd name="connsiteY2" fmla="*/ 71354 h 105915"/>
                  <a:gd name="connsiteX3" fmla="*/ 2232 w 133009"/>
                  <a:gd name="connsiteY3" fmla="*/ 93629 h 105915"/>
                  <a:gd name="connsiteX4" fmla="*/ 9363 w 133009"/>
                  <a:gd name="connsiteY4" fmla="*/ 104917 h 105915"/>
                  <a:gd name="connsiteX5" fmla="*/ 14124 w 133009"/>
                  <a:gd name="connsiteY5" fmla="*/ 105916 h 105915"/>
                  <a:gd name="connsiteX6" fmla="*/ 22486 w 133009"/>
                  <a:gd name="connsiteY6" fmla="*/ 102479 h 105915"/>
                  <a:gd name="connsiteX7" fmla="*/ 118809 w 133009"/>
                  <a:gd name="connsiteY7" fmla="*/ 73468 h 105915"/>
                  <a:gd name="connsiteX8" fmla="*/ 128844 w 133009"/>
                  <a:gd name="connsiteY8" fmla="*/ 70843 h 105915"/>
                  <a:gd name="connsiteX9" fmla="*/ 133001 w 133009"/>
                  <a:gd name="connsiteY9" fmla="*/ 61367 h 105915"/>
                  <a:gd name="connsiteX10" fmla="*/ 125662 w 133009"/>
                  <a:gd name="connsiteY10" fmla="*/ 9082 h 105915"/>
                  <a:gd name="connsiteX11" fmla="*/ 114118 w 133009"/>
                  <a:gd name="connsiteY11" fmla="*/ 0 h 105915"/>
                  <a:gd name="connsiteX12" fmla="*/ 11895 w 133009"/>
                  <a:gd name="connsiteY12" fmla="*/ 0 h 105915"/>
                  <a:gd name="connsiteX13" fmla="*/ 3115 w 133009"/>
                  <a:gd name="connsiteY13" fmla="*/ 3855 h 10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009" h="105915">
                    <a:moveTo>
                      <a:pt x="3115" y="3855"/>
                    </a:moveTo>
                    <a:cubicBezTo>
                      <a:pt x="861" y="6317"/>
                      <a:pt x="-253" y="9616"/>
                      <a:pt x="49" y="12937"/>
                    </a:cubicBezTo>
                    <a:cubicBezTo>
                      <a:pt x="1791" y="32680"/>
                      <a:pt x="2673" y="52330"/>
                      <a:pt x="2673" y="71354"/>
                    </a:cubicBezTo>
                    <a:cubicBezTo>
                      <a:pt x="2673" y="78740"/>
                      <a:pt x="2487" y="86173"/>
                      <a:pt x="2232" y="93629"/>
                    </a:cubicBezTo>
                    <a:cubicBezTo>
                      <a:pt x="2069" y="98483"/>
                      <a:pt x="4903" y="102966"/>
                      <a:pt x="9363" y="104917"/>
                    </a:cubicBezTo>
                    <a:cubicBezTo>
                      <a:pt x="10896" y="105590"/>
                      <a:pt x="12521" y="105916"/>
                      <a:pt x="14124" y="105916"/>
                    </a:cubicBezTo>
                    <a:cubicBezTo>
                      <a:pt x="17190" y="105916"/>
                      <a:pt x="20233" y="104731"/>
                      <a:pt x="22486" y="102479"/>
                    </a:cubicBezTo>
                    <a:cubicBezTo>
                      <a:pt x="47664" y="77556"/>
                      <a:pt x="81715" y="66268"/>
                      <a:pt x="118809" y="73468"/>
                    </a:cubicBezTo>
                    <a:cubicBezTo>
                      <a:pt x="122433" y="74257"/>
                      <a:pt x="126056" y="73212"/>
                      <a:pt x="128844" y="70843"/>
                    </a:cubicBezTo>
                    <a:cubicBezTo>
                      <a:pt x="131607" y="68497"/>
                      <a:pt x="133140" y="64990"/>
                      <a:pt x="133001" y="61367"/>
                    </a:cubicBezTo>
                    <a:cubicBezTo>
                      <a:pt x="132328" y="43876"/>
                      <a:pt x="129865" y="26270"/>
                      <a:pt x="125662" y="9082"/>
                    </a:cubicBezTo>
                    <a:cubicBezTo>
                      <a:pt x="124360" y="3739"/>
                      <a:pt x="119599" y="0"/>
                      <a:pt x="114118" y="0"/>
                    </a:cubicBezTo>
                    <a:lnTo>
                      <a:pt x="11895" y="0"/>
                    </a:lnTo>
                    <a:cubicBezTo>
                      <a:pt x="8550" y="0"/>
                      <a:pt x="5368" y="1394"/>
                      <a:pt x="3115" y="3855"/>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3" name="Forma libre 285">
                <a:extLst>
                  <a:ext uri="{FF2B5EF4-FFF2-40B4-BE49-F238E27FC236}">
                    <a16:creationId xmlns:a16="http://schemas.microsoft.com/office/drawing/2014/main" id="{E62713ED-829E-D2BB-D537-8FED2BC59EA5}"/>
                  </a:ext>
                </a:extLst>
              </p:cNvPr>
              <p:cNvSpPr/>
              <p:nvPr/>
            </p:nvSpPr>
            <p:spPr>
              <a:xfrm>
                <a:off x="2851924" y="6013805"/>
                <a:ext cx="155419" cy="148142"/>
              </a:xfrm>
              <a:custGeom>
                <a:avLst/>
                <a:gdLst>
                  <a:gd name="connsiteX0" fmla="*/ 114838 w 155419"/>
                  <a:gd name="connsiteY0" fmla="*/ 9942 h 148142"/>
                  <a:gd name="connsiteX1" fmla="*/ 103108 w 155419"/>
                  <a:gd name="connsiteY1" fmla="*/ 0 h 148142"/>
                  <a:gd name="connsiteX2" fmla="*/ 11896 w 155419"/>
                  <a:gd name="connsiteY2" fmla="*/ 0 h 148142"/>
                  <a:gd name="connsiteX3" fmla="*/ 1838 w 155419"/>
                  <a:gd name="connsiteY3" fmla="*/ 5551 h 148142"/>
                  <a:gd name="connsiteX4" fmla="*/ 1165 w 155419"/>
                  <a:gd name="connsiteY4" fmla="*/ 17002 h 148142"/>
                  <a:gd name="connsiteX5" fmla="*/ 139065 w 155419"/>
                  <a:gd name="connsiteY5" fmla="*/ 147260 h 148142"/>
                  <a:gd name="connsiteX6" fmla="*/ 143525 w 155419"/>
                  <a:gd name="connsiteY6" fmla="*/ 148143 h 148142"/>
                  <a:gd name="connsiteX7" fmla="*/ 152467 w 155419"/>
                  <a:gd name="connsiteY7" fmla="*/ 144078 h 148142"/>
                  <a:gd name="connsiteX8" fmla="*/ 153861 w 155419"/>
                  <a:gd name="connsiteY8" fmla="*/ 130374 h 148142"/>
                  <a:gd name="connsiteX9" fmla="*/ 114838 w 155419"/>
                  <a:gd name="connsiteY9" fmla="*/ 9942 h 14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5419" h="148142">
                    <a:moveTo>
                      <a:pt x="114838" y="9942"/>
                    </a:moveTo>
                    <a:cubicBezTo>
                      <a:pt x="113886" y="4204"/>
                      <a:pt x="108939" y="0"/>
                      <a:pt x="103108" y="0"/>
                    </a:cubicBezTo>
                    <a:lnTo>
                      <a:pt x="11896" y="0"/>
                    </a:lnTo>
                    <a:cubicBezTo>
                      <a:pt x="7807" y="0"/>
                      <a:pt x="4021" y="2090"/>
                      <a:pt x="1838" y="5551"/>
                    </a:cubicBezTo>
                    <a:cubicBezTo>
                      <a:pt x="-345" y="8988"/>
                      <a:pt x="-601" y="13309"/>
                      <a:pt x="1165" y="17002"/>
                    </a:cubicBezTo>
                    <a:cubicBezTo>
                      <a:pt x="29409" y="76394"/>
                      <a:pt x="78372" y="122663"/>
                      <a:pt x="139065" y="147260"/>
                    </a:cubicBezTo>
                    <a:cubicBezTo>
                      <a:pt x="140505" y="147864"/>
                      <a:pt x="142015" y="148143"/>
                      <a:pt x="143525" y="148143"/>
                    </a:cubicBezTo>
                    <a:cubicBezTo>
                      <a:pt x="146869" y="148143"/>
                      <a:pt x="150167" y="146726"/>
                      <a:pt x="152467" y="144078"/>
                    </a:cubicBezTo>
                    <a:cubicBezTo>
                      <a:pt x="155812" y="140268"/>
                      <a:pt x="156369" y="134764"/>
                      <a:pt x="153861" y="130374"/>
                    </a:cubicBezTo>
                    <a:cubicBezTo>
                      <a:pt x="136254" y="99482"/>
                      <a:pt x="122758" y="57836"/>
                      <a:pt x="114838" y="9942"/>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4" name="Forma libre 286">
                <a:extLst>
                  <a:ext uri="{FF2B5EF4-FFF2-40B4-BE49-F238E27FC236}">
                    <a16:creationId xmlns:a16="http://schemas.microsoft.com/office/drawing/2014/main" id="{C0214CB4-69AC-D59E-1BDD-B60CAFAE4C69}"/>
                  </a:ext>
                </a:extLst>
              </p:cNvPr>
              <p:cNvSpPr/>
              <p:nvPr/>
            </p:nvSpPr>
            <p:spPr>
              <a:xfrm>
                <a:off x="3171418" y="6069868"/>
                <a:ext cx="60483" cy="91405"/>
              </a:xfrm>
              <a:custGeom>
                <a:avLst/>
                <a:gdLst>
                  <a:gd name="connsiteX0" fmla="*/ 49774 w 60483"/>
                  <a:gd name="connsiteY0" fmla="*/ 6185 h 91405"/>
                  <a:gd name="connsiteX1" fmla="*/ 38045 w 60483"/>
                  <a:gd name="connsiteY1" fmla="*/ 53 h 91405"/>
                  <a:gd name="connsiteX2" fmla="*/ 27918 w 60483"/>
                  <a:gd name="connsiteY2" fmla="*/ 8601 h 91405"/>
                  <a:gd name="connsiteX3" fmla="*/ 1531 w 60483"/>
                  <a:gd name="connsiteY3" fmla="*/ 73660 h 91405"/>
                  <a:gd name="connsiteX4" fmla="*/ 2972 w 60483"/>
                  <a:gd name="connsiteY4" fmla="*/ 87388 h 91405"/>
                  <a:gd name="connsiteX5" fmla="*/ 11891 w 60483"/>
                  <a:gd name="connsiteY5" fmla="*/ 91406 h 91405"/>
                  <a:gd name="connsiteX6" fmla="*/ 16398 w 60483"/>
                  <a:gd name="connsiteY6" fmla="*/ 90523 h 91405"/>
                  <a:gd name="connsiteX7" fmla="*/ 54838 w 60483"/>
                  <a:gd name="connsiteY7" fmla="*/ 71360 h 91405"/>
                  <a:gd name="connsiteX8" fmla="*/ 60483 w 60483"/>
                  <a:gd name="connsiteY8" fmla="*/ 61233 h 91405"/>
                  <a:gd name="connsiteX9" fmla="*/ 60483 w 60483"/>
                  <a:gd name="connsiteY9" fmla="*/ 26439 h 91405"/>
                  <a:gd name="connsiteX10" fmla="*/ 58114 w 60483"/>
                  <a:gd name="connsiteY10" fmla="*/ 19308 h 91405"/>
                  <a:gd name="connsiteX11" fmla="*/ 49774 w 60483"/>
                  <a:gd name="connsiteY11" fmla="*/ 6185 h 9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483" h="91405">
                    <a:moveTo>
                      <a:pt x="49774" y="6185"/>
                    </a:moveTo>
                    <a:cubicBezTo>
                      <a:pt x="47474" y="1957"/>
                      <a:pt x="43062" y="-389"/>
                      <a:pt x="38045" y="53"/>
                    </a:cubicBezTo>
                    <a:cubicBezTo>
                      <a:pt x="33236" y="587"/>
                      <a:pt x="29241" y="3955"/>
                      <a:pt x="27918" y="8601"/>
                    </a:cubicBezTo>
                    <a:cubicBezTo>
                      <a:pt x="20764" y="33500"/>
                      <a:pt x="11891" y="55403"/>
                      <a:pt x="1531" y="73660"/>
                    </a:cubicBezTo>
                    <a:cubicBezTo>
                      <a:pt x="-954" y="78073"/>
                      <a:pt x="-373" y="83578"/>
                      <a:pt x="2972" y="87388"/>
                    </a:cubicBezTo>
                    <a:cubicBezTo>
                      <a:pt x="5272" y="89989"/>
                      <a:pt x="8546" y="91406"/>
                      <a:pt x="11891" y="91406"/>
                    </a:cubicBezTo>
                    <a:cubicBezTo>
                      <a:pt x="13401" y="91406"/>
                      <a:pt x="14934" y="91127"/>
                      <a:pt x="16398" y="90523"/>
                    </a:cubicBezTo>
                    <a:cubicBezTo>
                      <a:pt x="31240" y="84414"/>
                      <a:pt x="43829" y="78143"/>
                      <a:pt x="54838" y="71360"/>
                    </a:cubicBezTo>
                    <a:cubicBezTo>
                      <a:pt x="58346" y="69177"/>
                      <a:pt x="60483" y="65367"/>
                      <a:pt x="60483" y="61233"/>
                    </a:cubicBezTo>
                    <a:lnTo>
                      <a:pt x="60483" y="26439"/>
                    </a:lnTo>
                    <a:cubicBezTo>
                      <a:pt x="60483" y="23884"/>
                      <a:pt x="59647" y="21375"/>
                      <a:pt x="58114" y="19308"/>
                    </a:cubicBezTo>
                    <a:cubicBezTo>
                      <a:pt x="55023" y="15174"/>
                      <a:pt x="52283" y="10738"/>
                      <a:pt x="49774" y="6185"/>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5" name="Forma libre 287">
                <a:extLst>
                  <a:ext uri="{FF2B5EF4-FFF2-40B4-BE49-F238E27FC236}">
                    <a16:creationId xmlns:a16="http://schemas.microsoft.com/office/drawing/2014/main" id="{5DDE8294-8FC7-91C4-92F8-3F703B1A1CCD}"/>
                  </a:ext>
                </a:extLst>
              </p:cNvPr>
              <p:cNvSpPr/>
              <p:nvPr/>
            </p:nvSpPr>
            <p:spPr>
              <a:xfrm>
                <a:off x="3255685" y="6122681"/>
                <a:ext cx="118922" cy="105185"/>
              </a:xfrm>
              <a:custGeom>
                <a:avLst/>
                <a:gdLst>
                  <a:gd name="connsiteX0" fmla="*/ 113534 w 118922"/>
                  <a:gd name="connsiteY0" fmla="*/ 1941 h 105185"/>
                  <a:gd name="connsiteX1" fmla="*/ 102269 w 118922"/>
                  <a:gd name="connsiteY1" fmla="*/ 1012 h 105185"/>
                  <a:gd name="connsiteX2" fmla="*/ 16653 w 118922"/>
                  <a:gd name="connsiteY2" fmla="*/ 1012 h 105185"/>
                  <a:gd name="connsiteX3" fmla="*/ 5388 w 118922"/>
                  <a:gd name="connsiteY3" fmla="*/ 1941 h 105185"/>
                  <a:gd name="connsiteX4" fmla="*/ 0 w 118922"/>
                  <a:gd name="connsiteY4" fmla="*/ 11906 h 105185"/>
                  <a:gd name="connsiteX5" fmla="*/ 0 w 118922"/>
                  <a:gd name="connsiteY5" fmla="*/ 93294 h 105185"/>
                  <a:gd name="connsiteX6" fmla="*/ 7339 w 118922"/>
                  <a:gd name="connsiteY6" fmla="*/ 104280 h 105185"/>
                  <a:gd name="connsiteX7" fmla="*/ 20300 w 118922"/>
                  <a:gd name="connsiteY7" fmla="*/ 101702 h 105185"/>
                  <a:gd name="connsiteX8" fmla="*/ 59461 w 118922"/>
                  <a:gd name="connsiteY8" fmla="*/ 62541 h 105185"/>
                  <a:gd name="connsiteX9" fmla="*/ 98622 w 118922"/>
                  <a:gd name="connsiteY9" fmla="*/ 101702 h 105185"/>
                  <a:gd name="connsiteX10" fmla="*/ 107031 w 118922"/>
                  <a:gd name="connsiteY10" fmla="*/ 105186 h 105185"/>
                  <a:gd name="connsiteX11" fmla="*/ 111583 w 118922"/>
                  <a:gd name="connsiteY11" fmla="*/ 104279 h 105185"/>
                  <a:gd name="connsiteX12" fmla="*/ 118922 w 118922"/>
                  <a:gd name="connsiteY12" fmla="*/ 93293 h 105185"/>
                  <a:gd name="connsiteX13" fmla="*/ 118922 w 118922"/>
                  <a:gd name="connsiteY13" fmla="*/ 11905 h 105185"/>
                  <a:gd name="connsiteX14" fmla="*/ 113534 w 118922"/>
                  <a:gd name="connsiteY14" fmla="*/ 1941 h 105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922" h="105185">
                    <a:moveTo>
                      <a:pt x="113534" y="1941"/>
                    </a:moveTo>
                    <a:cubicBezTo>
                      <a:pt x="110213" y="-242"/>
                      <a:pt x="105916" y="-591"/>
                      <a:pt x="102269" y="1012"/>
                    </a:cubicBezTo>
                    <a:cubicBezTo>
                      <a:pt x="74861" y="12998"/>
                      <a:pt x="44062" y="12998"/>
                      <a:pt x="16653" y="1012"/>
                    </a:cubicBezTo>
                    <a:cubicBezTo>
                      <a:pt x="13006" y="-613"/>
                      <a:pt x="8733" y="-265"/>
                      <a:pt x="5388" y="1941"/>
                    </a:cubicBezTo>
                    <a:cubicBezTo>
                      <a:pt x="2020" y="4148"/>
                      <a:pt x="0" y="7887"/>
                      <a:pt x="0" y="11906"/>
                    </a:cubicBezTo>
                    <a:lnTo>
                      <a:pt x="0" y="93294"/>
                    </a:lnTo>
                    <a:cubicBezTo>
                      <a:pt x="0" y="98103"/>
                      <a:pt x="2903" y="102445"/>
                      <a:pt x="7339" y="104280"/>
                    </a:cubicBezTo>
                    <a:cubicBezTo>
                      <a:pt x="11752" y="106092"/>
                      <a:pt x="16886" y="105093"/>
                      <a:pt x="20300" y="101702"/>
                    </a:cubicBezTo>
                    <a:lnTo>
                      <a:pt x="59461" y="62541"/>
                    </a:lnTo>
                    <a:lnTo>
                      <a:pt x="98622" y="101702"/>
                    </a:lnTo>
                    <a:cubicBezTo>
                      <a:pt x="100899" y="103978"/>
                      <a:pt x="103941" y="105186"/>
                      <a:pt x="107031" y="105186"/>
                    </a:cubicBezTo>
                    <a:cubicBezTo>
                      <a:pt x="108564" y="105186"/>
                      <a:pt x="110120" y="104884"/>
                      <a:pt x="111583" y="104279"/>
                    </a:cubicBezTo>
                    <a:cubicBezTo>
                      <a:pt x="116019" y="102444"/>
                      <a:pt x="118922" y="98101"/>
                      <a:pt x="118922" y="93293"/>
                    </a:cubicBezTo>
                    <a:lnTo>
                      <a:pt x="118922" y="11905"/>
                    </a:lnTo>
                    <a:cubicBezTo>
                      <a:pt x="118923" y="7887"/>
                      <a:pt x="116902" y="4148"/>
                      <a:pt x="113534" y="1941"/>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grpSp>
        <p:grpSp>
          <p:nvGrpSpPr>
            <p:cNvPr id="55" name="Gráfico 75">
              <a:extLst>
                <a:ext uri="{FF2B5EF4-FFF2-40B4-BE49-F238E27FC236}">
                  <a16:creationId xmlns:a16="http://schemas.microsoft.com/office/drawing/2014/main" id="{2EE694CB-867C-C7AD-675A-E2BC681403A2}"/>
                </a:ext>
              </a:extLst>
            </p:cNvPr>
            <p:cNvGrpSpPr/>
            <p:nvPr/>
          </p:nvGrpSpPr>
          <p:grpSpPr>
            <a:xfrm>
              <a:off x="9241333" y="1195448"/>
              <a:ext cx="45113" cy="43254"/>
              <a:chOff x="5171013" y="2936812"/>
              <a:chExt cx="571237" cy="571237"/>
            </a:xfrm>
            <a:solidFill>
              <a:schemeClr val="bg1"/>
            </a:solidFill>
          </p:grpSpPr>
          <p:sp>
            <p:nvSpPr>
              <p:cNvPr id="59" name="Forma libre 191">
                <a:extLst>
                  <a:ext uri="{FF2B5EF4-FFF2-40B4-BE49-F238E27FC236}">
                    <a16:creationId xmlns:a16="http://schemas.microsoft.com/office/drawing/2014/main" id="{B95AC033-FA38-6E9B-C587-1E8EBC96F11A}"/>
                  </a:ext>
                </a:extLst>
              </p:cNvPr>
              <p:cNvSpPr/>
              <p:nvPr/>
            </p:nvSpPr>
            <p:spPr>
              <a:xfrm>
                <a:off x="5534526" y="3196464"/>
                <a:ext cx="103862" cy="25966"/>
              </a:xfrm>
              <a:custGeom>
                <a:avLst/>
                <a:gdLst>
                  <a:gd name="connsiteX0" fmla="*/ 12983 w 103862"/>
                  <a:gd name="connsiteY0" fmla="*/ 25966 h 25966"/>
                  <a:gd name="connsiteX1" fmla="*/ 90879 w 103862"/>
                  <a:gd name="connsiteY1" fmla="*/ 25966 h 25966"/>
                  <a:gd name="connsiteX2" fmla="*/ 103862 w 103862"/>
                  <a:gd name="connsiteY2" fmla="*/ 12983 h 25966"/>
                  <a:gd name="connsiteX3" fmla="*/ 90879 w 103862"/>
                  <a:gd name="connsiteY3" fmla="*/ 0 h 25966"/>
                  <a:gd name="connsiteX4" fmla="*/ 12983 w 103862"/>
                  <a:gd name="connsiteY4" fmla="*/ 0 h 25966"/>
                  <a:gd name="connsiteX5" fmla="*/ 0 w 103862"/>
                  <a:gd name="connsiteY5" fmla="*/ 12983 h 25966"/>
                  <a:gd name="connsiteX6" fmla="*/ 12983 w 103862"/>
                  <a:gd name="connsiteY6" fmla="*/ 25966 h 2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862" h="25966">
                    <a:moveTo>
                      <a:pt x="12983" y="25966"/>
                    </a:moveTo>
                    <a:lnTo>
                      <a:pt x="90879" y="25966"/>
                    </a:lnTo>
                    <a:cubicBezTo>
                      <a:pt x="98055" y="25966"/>
                      <a:pt x="103862" y="20159"/>
                      <a:pt x="103862" y="12983"/>
                    </a:cubicBezTo>
                    <a:cubicBezTo>
                      <a:pt x="103862" y="5807"/>
                      <a:pt x="98055" y="0"/>
                      <a:pt x="90879" y="0"/>
                    </a:cubicBezTo>
                    <a:lnTo>
                      <a:pt x="12983" y="0"/>
                    </a:lnTo>
                    <a:cubicBezTo>
                      <a:pt x="5807" y="0"/>
                      <a:pt x="0" y="5807"/>
                      <a:pt x="0" y="12983"/>
                    </a:cubicBezTo>
                    <a:cubicBezTo>
                      <a:pt x="1" y="20159"/>
                      <a:pt x="5807" y="25966"/>
                      <a:pt x="12983" y="25966"/>
                    </a:cubicBezTo>
                    <a:close/>
                  </a:path>
                </a:pathLst>
              </a:custGeom>
              <a:grpFill/>
              <a:ln w="11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0" name="Forma libre 192">
                <a:extLst>
                  <a:ext uri="{FF2B5EF4-FFF2-40B4-BE49-F238E27FC236}">
                    <a16:creationId xmlns:a16="http://schemas.microsoft.com/office/drawing/2014/main" id="{004A38AE-56BD-78E1-6A49-41446CA8530B}"/>
                  </a:ext>
                </a:extLst>
              </p:cNvPr>
              <p:cNvSpPr/>
              <p:nvPr/>
            </p:nvSpPr>
            <p:spPr>
              <a:xfrm>
                <a:off x="5482596" y="3274360"/>
                <a:ext cx="155793" cy="25966"/>
              </a:xfrm>
              <a:custGeom>
                <a:avLst/>
                <a:gdLst>
                  <a:gd name="connsiteX0" fmla="*/ 12983 w 155793"/>
                  <a:gd name="connsiteY0" fmla="*/ 25966 h 25966"/>
                  <a:gd name="connsiteX1" fmla="*/ 142810 w 155793"/>
                  <a:gd name="connsiteY1" fmla="*/ 25966 h 25966"/>
                  <a:gd name="connsiteX2" fmla="*/ 155793 w 155793"/>
                  <a:gd name="connsiteY2" fmla="*/ 12983 h 25966"/>
                  <a:gd name="connsiteX3" fmla="*/ 142810 w 155793"/>
                  <a:gd name="connsiteY3" fmla="*/ 0 h 25966"/>
                  <a:gd name="connsiteX4" fmla="*/ 12983 w 155793"/>
                  <a:gd name="connsiteY4" fmla="*/ 0 h 25966"/>
                  <a:gd name="connsiteX5" fmla="*/ 0 w 155793"/>
                  <a:gd name="connsiteY5" fmla="*/ 12983 h 25966"/>
                  <a:gd name="connsiteX6" fmla="*/ 12983 w 155793"/>
                  <a:gd name="connsiteY6" fmla="*/ 25966 h 2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793" h="25966">
                    <a:moveTo>
                      <a:pt x="12983" y="25966"/>
                    </a:moveTo>
                    <a:lnTo>
                      <a:pt x="142810" y="25966"/>
                    </a:lnTo>
                    <a:cubicBezTo>
                      <a:pt x="149986" y="25966"/>
                      <a:pt x="155793" y="20159"/>
                      <a:pt x="155793" y="12983"/>
                    </a:cubicBezTo>
                    <a:cubicBezTo>
                      <a:pt x="155793" y="5807"/>
                      <a:pt x="149986" y="0"/>
                      <a:pt x="142810" y="0"/>
                    </a:cubicBezTo>
                    <a:lnTo>
                      <a:pt x="12983" y="0"/>
                    </a:lnTo>
                    <a:cubicBezTo>
                      <a:pt x="5807" y="0"/>
                      <a:pt x="0" y="5807"/>
                      <a:pt x="0" y="12983"/>
                    </a:cubicBezTo>
                    <a:cubicBezTo>
                      <a:pt x="0" y="20159"/>
                      <a:pt x="5807" y="25966"/>
                      <a:pt x="12983" y="25966"/>
                    </a:cubicBezTo>
                    <a:close/>
                  </a:path>
                </a:pathLst>
              </a:custGeom>
              <a:grpFill/>
              <a:ln w="11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1" name="Forma libre 193">
                <a:extLst>
                  <a:ext uri="{FF2B5EF4-FFF2-40B4-BE49-F238E27FC236}">
                    <a16:creationId xmlns:a16="http://schemas.microsoft.com/office/drawing/2014/main" id="{FF543638-2DA0-5446-68C3-1AE8F5D647E6}"/>
                  </a:ext>
                </a:extLst>
              </p:cNvPr>
              <p:cNvSpPr/>
              <p:nvPr/>
            </p:nvSpPr>
            <p:spPr>
              <a:xfrm>
                <a:off x="5482596" y="3352256"/>
                <a:ext cx="155793" cy="25966"/>
              </a:xfrm>
              <a:custGeom>
                <a:avLst/>
                <a:gdLst>
                  <a:gd name="connsiteX0" fmla="*/ 12983 w 155793"/>
                  <a:gd name="connsiteY0" fmla="*/ 25966 h 25966"/>
                  <a:gd name="connsiteX1" fmla="*/ 142810 w 155793"/>
                  <a:gd name="connsiteY1" fmla="*/ 25966 h 25966"/>
                  <a:gd name="connsiteX2" fmla="*/ 155793 w 155793"/>
                  <a:gd name="connsiteY2" fmla="*/ 12983 h 25966"/>
                  <a:gd name="connsiteX3" fmla="*/ 142810 w 155793"/>
                  <a:gd name="connsiteY3" fmla="*/ 0 h 25966"/>
                  <a:gd name="connsiteX4" fmla="*/ 12983 w 155793"/>
                  <a:gd name="connsiteY4" fmla="*/ 0 h 25966"/>
                  <a:gd name="connsiteX5" fmla="*/ 0 w 155793"/>
                  <a:gd name="connsiteY5" fmla="*/ 12983 h 25966"/>
                  <a:gd name="connsiteX6" fmla="*/ 12983 w 155793"/>
                  <a:gd name="connsiteY6" fmla="*/ 25966 h 2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793" h="25966">
                    <a:moveTo>
                      <a:pt x="12983" y="25966"/>
                    </a:moveTo>
                    <a:lnTo>
                      <a:pt x="142810" y="25966"/>
                    </a:lnTo>
                    <a:cubicBezTo>
                      <a:pt x="149986" y="25966"/>
                      <a:pt x="155793" y="20159"/>
                      <a:pt x="155793" y="12983"/>
                    </a:cubicBezTo>
                    <a:cubicBezTo>
                      <a:pt x="155793" y="5807"/>
                      <a:pt x="149986" y="0"/>
                      <a:pt x="142810" y="0"/>
                    </a:cubicBezTo>
                    <a:lnTo>
                      <a:pt x="12983" y="0"/>
                    </a:lnTo>
                    <a:cubicBezTo>
                      <a:pt x="5807" y="0"/>
                      <a:pt x="0" y="5807"/>
                      <a:pt x="0" y="12983"/>
                    </a:cubicBezTo>
                    <a:cubicBezTo>
                      <a:pt x="0" y="20159"/>
                      <a:pt x="5807" y="25966"/>
                      <a:pt x="12983" y="25966"/>
                    </a:cubicBezTo>
                    <a:close/>
                  </a:path>
                </a:pathLst>
              </a:custGeom>
              <a:grpFill/>
              <a:ln w="11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2" name="Forma libre 194">
                <a:extLst>
                  <a:ext uri="{FF2B5EF4-FFF2-40B4-BE49-F238E27FC236}">
                    <a16:creationId xmlns:a16="http://schemas.microsoft.com/office/drawing/2014/main" id="{6A265DEB-BDC1-AF19-C7B1-A23B6AFB8C3D}"/>
                  </a:ext>
                </a:extLst>
              </p:cNvPr>
              <p:cNvSpPr/>
              <p:nvPr/>
            </p:nvSpPr>
            <p:spPr>
              <a:xfrm>
                <a:off x="5261890" y="3118568"/>
                <a:ext cx="181757" cy="181757"/>
              </a:xfrm>
              <a:custGeom>
                <a:avLst/>
                <a:gdLst>
                  <a:gd name="connsiteX0" fmla="*/ 181758 w 181757"/>
                  <a:gd name="connsiteY0" fmla="*/ 90879 h 181757"/>
                  <a:gd name="connsiteX1" fmla="*/ 90879 w 181757"/>
                  <a:gd name="connsiteY1" fmla="*/ 181758 h 181757"/>
                  <a:gd name="connsiteX2" fmla="*/ 0 w 181757"/>
                  <a:gd name="connsiteY2" fmla="*/ 90879 h 181757"/>
                  <a:gd name="connsiteX3" fmla="*/ 90879 w 181757"/>
                  <a:gd name="connsiteY3" fmla="*/ 0 h 181757"/>
                  <a:gd name="connsiteX4" fmla="*/ 181758 w 181757"/>
                  <a:gd name="connsiteY4" fmla="*/ 90879 h 181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757" h="181757">
                    <a:moveTo>
                      <a:pt x="181758" y="90879"/>
                    </a:moveTo>
                    <a:cubicBezTo>
                      <a:pt x="181758" y="141070"/>
                      <a:pt x="141070" y="181758"/>
                      <a:pt x="90879" y="181758"/>
                    </a:cubicBezTo>
                    <a:cubicBezTo>
                      <a:pt x="40688" y="181758"/>
                      <a:pt x="0" y="141070"/>
                      <a:pt x="0" y="90879"/>
                    </a:cubicBezTo>
                    <a:cubicBezTo>
                      <a:pt x="0" y="40688"/>
                      <a:pt x="40688" y="0"/>
                      <a:pt x="90879" y="0"/>
                    </a:cubicBezTo>
                    <a:cubicBezTo>
                      <a:pt x="141070" y="0"/>
                      <a:pt x="181758" y="40688"/>
                      <a:pt x="181758" y="90879"/>
                    </a:cubicBezTo>
                    <a:close/>
                  </a:path>
                </a:pathLst>
              </a:custGeom>
              <a:grpFill/>
              <a:ln w="11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3" name="Forma libre 195">
                <a:extLst>
                  <a:ext uri="{FF2B5EF4-FFF2-40B4-BE49-F238E27FC236}">
                    <a16:creationId xmlns:a16="http://schemas.microsoft.com/office/drawing/2014/main" id="{6CF0B05A-4B9D-440C-A1F0-E49608D35C41}"/>
                  </a:ext>
                </a:extLst>
              </p:cNvPr>
              <p:cNvSpPr/>
              <p:nvPr/>
            </p:nvSpPr>
            <p:spPr>
              <a:xfrm>
                <a:off x="5287856" y="3315323"/>
                <a:ext cx="129825" cy="114834"/>
              </a:xfrm>
              <a:custGeom>
                <a:avLst/>
                <a:gdLst>
                  <a:gd name="connsiteX0" fmla="*/ 123943 w 129825"/>
                  <a:gd name="connsiteY0" fmla="*/ 2132 h 114834"/>
                  <a:gd name="connsiteX1" fmla="*/ 111646 w 129825"/>
                  <a:gd name="connsiteY1" fmla="*/ 1104 h 114834"/>
                  <a:gd name="connsiteX2" fmla="*/ 18180 w 129825"/>
                  <a:gd name="connsiteY2" fmla="*/ 1104 h 114834"/>
                  <a:gd name="connsiteX3" fmla="*/ 5882 w 129825"/>
                  <a:gd name="connsiteY3" fmla="*/ 2132 h 114834"/>
                  <a:gd name="connsiteX4" fmla="*/ 0 w 129825"/>
                  <a:gd name="connsiteY4" fmla="*/ 12997 h 114834"/>
                  <a:gd name="connsiteX5" fmla="*/ 0 w 129825"/>
                  <a:gd name="connsiteY5" fmla="*/ 101847 h 114834"/>
                  <a:gd name="connsiteX6" fmla="*/ 8012 w 129825"/>
                  <a:gd name="connsiteY6" fmla="*/ 113840 h 114834"/>
                  <a:gd name="connsiteX7" fmla="*/ 22161 w 129825"/>
                  <a:gd name="connsiteY7" fmla="*/ 111025 h 114834"/>
                  <a:gd name="connsiteX8" fmla="*/ 64913 w 129825"/>
                  <a:gd name="connsiteY8" fmla="*/ 68274 h 114834"/>
                  <a:gd name="connsiteX9" fmla="*/ 107664 w 129825"/>
                  <a:gd name="connsiteY9" fmla="*/ 111025 h 114834"/>
                  <a:gd name="connsiteX10" fmla="*/ 116844 w 129825"/>
                  <a:gd name="connsiteY10" fmla="*/ 114829 h 114834"/>
                  <a:gd name="connsiteX11" fmla="*/ 121813 w 129825"/>
                  <a:gd name="connsiteY11" fmla="*/ 113839 h 114834"/>
                  <a:gd name="connsiteX12" fmla="*/ 129826 w 129825"/>
                  <a:gd name="connsiteY12" fmla="*/ 101846 h 114834"/>
                  <a:gd name="connsiteX13" fmla="*/ 129826 w 129825"/>
                  <a:gd name="connsiteY13" fmla="*/ 12996 h 114834"/>
                  <a:gd name="connsiteX14" fmla="*/ 123943 w 129825"/>
                  <a:gd name="connsiteY14" fmla="*/ 2132 h 114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9825" h="114834">
                    <a:moveTo>
                      <a:pt x="123943" y="2132"/>
                    </a:moveTo>
                    <a:cubicBezTo>
                      <a:pt x="120292" y="-265"/>
                      <a:pt x="115677" y="-645"/>
                      <a:pt x="111646" y="1104"/>
                    </a:cubicBezTo>
                    <a:cubicBezTo>
                      <a:pt x="81674" y="14188"/>
                      <a:pt x="48152" y="14188"/>
                      <a:pt x="18180" y="1104"/>
                    </a:cubicBezTo>
                    <a:cubicBezTo>
                      <a:pt x="14123" y="-670"/>
                      <a:pt x="9508" y="-291"/>
                      <a:pt x="5882" y="2132"/>
                    </a:cubicBezTo>
                    <a:cubicBezTo>
                      <a:pt x="2205" y="4528"/>
                      <a:pt x="0" y="8610"/>
                      <a:pt x="0" y="12997"/>
                    </a:cubicBezTo>
                    <a:lnTo>
                      <a:pt x="0" y="101847"/>
                    </a:lnTo>
                    <a:cubicBezTo>
                      <a:pt x="0" y="107096"/>
                      <a:pt x="3169" y="111837"/>
                      <a:pt x="8012" y="113840"/>
                    </a:cubicBezTo>
                    <a:cubicBezTo>
                      <a:pt x="12830" y="115856"/>
                      <a:pt x="18435" y="114753"/>
                      <a:pt x="22161" y="111025"/>
                    </a:cubicBezTo>
                    <a:lnTo>
                      <a:pt x="64913" y="68274"/>
                    </a:lnTo>
                    <a:lnTo>
                      <a:pt x="107664" y="111025"/>
                    </a:lnTo>
                    <a:cubicBezTo>
                      <a:pt x="110150" y="113511"/>
                      <a:pt x="113471" y="114829"/>
                      <a:pt x="116844" y="114829"/>
                    </a:cubicBezTo>
                    <a:cubicBezTo>
                      <a:pt x="118517" y="114829"/>
                      <a:pt x="120217" y="114512"/>
                      <a:pt x="121813" y="113839"/>
                    </a:cubicBezTo>
                    <a:cubicBezTo>
                      <a:pt x="126656" y="111836"/>
                      <a:pt x="129826" y="107094"/>
                      <a:pt x="129826" y="101846"/>
                    </a:cubicBezTo>
                    <a:lnTo>
                      <a:pt x="129826" y="12996"/>
                    </a:lnTo>
                    <a:cubicBezTo>
                      <a:pt x="129827" y="8609"/>
                      <a:pt x="127620" y="4527"/>
                      <a:pt x="123943" y="2132"/>
                    </a:cubicBezTo>
                    <a:close/>
                  </a:path>
                </a:pathLst>
              </a:custGeom>
              <a:grpFill/>
              <a:ln w="11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4" name="Forma libre 196">
                <a:extLst>
                  <a:ext uri="{FF2B5EF4-FFF2-40B4-BE49-F238E27FC236}">
                    <a16:creationId xmlns:a16="http://schemas.microsoft.com/office/drawing/2014/main" id="{0B0D0C03-9E87-29A5-D0AA-984D5AA629F6}"/>
                  </a:ext>
                </a:extLst>
              </p:cNvPr>
              <p:cNvSpPr/>
              <p:nvPr/>
            </p:nvSpPr>
            <p:spPr>
              <a:xfrm>
                <a:off x="5171013" y="2936812"/>
                <a:ext cx="571237" cy="571237"/>
              </a:xfrm>
              <a:custGeom>
                <a:avLst/>
                <a:gdLst>
                  <a:gd name="connsiteX0" fmla="*/ 519307 w 571237"/>
                  <a:gd name="connsiteY0" fmla="*/ 0 h 571237"/>
                  <a:gd name="connsiteX1" fmla="*/ 51931 w 571237"/>
                  <a:gd name="connsiteY1" fmla="*/ 0 h 571237"/>
                  <a:gd name="connsiteX2" fmla="*/ 0 w 571237"/>
                  <a:gd name="connsiteY2" fmla="*/ 51931 h 571237"/>
                  <a:gd name="connsiteX3" fmla="*/ 0 w 571237"/>
                  <a:gd name="connsiteY3" fmla="*/ 519307 h 571237"/>
                  <a:gd name="connsiteX4" fmla="*/ 51931 w 571237"/>
                  <a:gd name="connsiteY4" fmla="*/ 571238 h 571237"/>
                  <a:gd name="connsiteX5" fmla="*/ 519307 w 571237"/>
                  <a:gd name="connsiteY5" fmla="*/ 571238 h 571237"/>
                  <a:gd name="connsiteX6" fmla="*/ 571238 w 571237"/>
                  <a:gd name="connsiteY6" fmla="*/ 519307 h 571237"/>
                  <a:gd name="connsiteX7" fmla="*/ 571238 w 571237"/>
                  <a:gd name="connsiteY7" fmla="*/ 51931 h 571237"/>
                  <a:gd name="connsiteX8" fmla="*/ 519307 w 571237"/>
                  <a:gd name="connsiteY8" fmla="*/ 0 h 571237"/>
                  <a:gd name="connsiteX9" fmla="*/ 168775 w 571237"/>
                  <a:gd name="connsiteY9" fmla="*/ 51931 h 571237"/>
                  <a:gd name="connsiteX10" fmla="*/ 181758 w 571237"/>
                  <a:gd name="connsiteY10" fmla="*/ 64914 h 571237"/>
                  <a:gd name="connsiteX11" fmla="*/ 168775 w 571237"/>
                  <a:gd name="connsiteY11" fmla="*/ 77897 h 571237"/>
                  <a:gd name="connsiteX12" fmla="*/ 155792 w 571237"/>
                  <a:gd name="connsiteY12" fmla="*/ 64913 h 571237"/>
                  <a:gd name="connsiteX13" fmla="*/ 168775 w 571237"/>
                  <a:gd name="connsiteY13" fmla="*/ 51931 h 571237"/>
                  <a:gd name="connsiteX14" fmla="*/ 116844 w 571237"/>
                  <a:gd name="connsiteY14" fmla="*/ 51931 h 571237"/>
                  <a:gd name="connsiteX15" fmla="*/ 129827 w 571237"/>
                  <a:gd name="connsiteY15" fmla="*/ 64914 h 571237"/>
                  <a:gd name="connsiteX16" fmla="*/ 116844 w 571237"/>
                  <a:gd name="connsiteY16" fmla="*/ 77896 h 571237"/>
                  <a:gd name="connsiteX17" fmla="*/ 103861 w 571237"/>
                  <a:gd name="connsiteY17" fmla="*/ 64913 h 571237"/>
                  <a:gd name="connsiteX18" fmla="*/ 116844 w 571237"/>
                  <a:gd name="connsiteY18" fmla="*/ 51931 h 571237"/>
                  <a:gd name="connsiteX19" fmla="*/ 64913 w 571237"/>
                  <a:gd name="connsiteY19" fmla="*/ 51931 h 571237"/>
                  <a:gd name="connsiteX20" fmla="*/ 77896 w 571237"/>
                  <a:gd name="connsiteY20" fmla="*/ 64913 h 571237"/>
                  <a:gd name="connsiteX21" fmla="*/ 64913 w 571237"/>
                  <a:gd name="connsiteY21" fmla="*/ 77896 h 571237"/>
                  <a:gd name="connsiteX22" fmla="*/ 51930 w 571237"/>
                  <a:gd name="connsiteY22" fmla="*/ 64913 h 571237"/>
                  <a:gd name="connsiteX23" fmla="*/ 64913 w 571237"/>
                  <a:gd name="connsiteY23" fmla="*/ 51931 h 571237"/>
                  <a:gd name="connsiteX24" fmla="*/ 519307 w 571237"/>
                  <a:gd name="connsiteY24" fmla="*/ 519307 h 571237"/>
                  <a:gd name="connsiteX25" fmla="*/ 51931 w 571237"/>
                  <a:gd name="connsiteY25" fmla="*/ 519307 h 571237"/>
                  <a:gd name="connsiteX26" fmla="*/ 51931 w 571237"/>
                  <a:gd name="connsiteY26" fmla="*/ 129827 h 571237"/>
                  <a:gd name="connsiteX27" fmla="*/ 519307 w 571237"/>
                  <a:gd name="connsiteY27" fmla="*/ 129827 h 571237"/>
                  <a:gd name="connsiteX28" fmla="*/ 519307 w 571237"/>
                  <a:gd name="connsiteY28" fmla="*/ 519307 h 571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71237" h="571237">
                    <a:moveTo>
                      <a:pt x="519307" y="0"/>
                    </a:moveTo>
                    <a:lnTo>
                      <a:pt x="51931" y="0"/>
                    </a:lnTo>
                    <a:cubicBezTo>
                      <a:pt x="23303" y="0"/>
                      <a:pt x="0" y="23290"/>
                      <a:pt x="0" y="51931"/>
                    </a:cubicBezTo>
                    <a:lnTo>
                      <a:pt x="0" y="519307"/>
                    </a:lnTo>
                    <a:cubicBezTo>
                      <a:pt x="0" y="547947"/>
                      <a:pt x="23303" y="571238"/>
                      <a:pt x="51931" y="571238"/>
                    </a:cubicBezTo>
                    <a:lnTo>
                      <a:pt x="519307" y="571238"/>
                    </a:lnTo>
                    <a:cubicBezTo>
                      <a:pt x="547934" y="571238"/>
                      <a:pt x="571238" y="547948"/>
                      <a:pt x="571238" y="519307"/>
                    </a:cubicBezTo>
                    <a:lnTo>
                      <a:pt x="571238" y="51931"/>
                    </a:lnTo>
                    <a:cubicBezTo>
                      <a:pt x="571236" y="23290"/>
                      <a:pt x="547934" y="0"/>
                      <a:pt x="519307" y="0"/>
                    </a:cubicBezTo>
                    <a:close/>
                    <a:moveTo>
                      <a:pt x="168775" y="51931"/>
                    </a:moveTo>
                    <a:cubicBezTo>
                      <a:pt x="175945" y="51931"/>
                      <a:pt x="181758" y="57743"/>
                      <a:pt x="181758" y="64914"/>
                    </a:cubicBezTo>
                    <a:cubicBezTo>
                      <a:pt x="181758" y="72084"/>
                      <a:pt x="175945" y="77897"/>
                      <a:pt x="168775" y="77897"/>
                    </a:cubicBezTo>
                    <a:cubicBezTo>
                      <a:pt x="161605" y="77897"/>
                      <a:pt x="155792" y="72083"/>
                      <a:pt x="155792" y="64913"/>
                    </a:cubicBezTo>
                    <a:cubicBezTo>
                      <a:pt x="155792" y="57742"/>
                      <a:pt x="161605" y="51931"/>
                      <a:pt x="168775" y="51931"/>
                    </a:cubicBezTo>
                    <a:close/>
                    <a:moveTo>
                      <a:pt x="116844" y="51931"/>
                    </a:moveTo>
                    <a:cubicBezTo>
                      <a:pt x="124014" y="51931"/>
                      <a:pt x="129827" y="57743"/>
                      <a:pt x="129827" y="64914"/>
                    </a:cubicBezTo>
                    <a:cubicBezTo>
                      <a:pt x="129827" y="72083"/>
                      <a:pt x="124014" y="77896"/>
                      <a:pt x="116844" y="77896"/>
                    </a:cubicBezTo>
                    <a:cubicBezTo>
                      <a:pt x="109674" y="77896"/>
                      <a:pt x="103861" y="72083"/>
                      <a:pt x="103861" y="64913"/>
                    </a:cubicBezTo>
                    <a:cubicBezTo>
                      <a:pt x="103861" y="57742"/>
                      <a:pt x="109674" y="51931"/>
                      <a:pt x="116844" y="51931"/>
                    </a:cubicBezTo>
                    <a:close/>
                    <a:moveTo>
                      <a:pt x="64913" y="51931"/>
                    </a:moveTo>
                    <a:cubicBezTo>
                      <a:pt x="72083" y="51931"/>
                      <a:pt x="77896" y="57742"/>
                      <a:pt x="77896" y="64913"/>
                    </a:cubicBezTo>
                    <a:cubicBezTo>
                      <a:pt x="77896" y="72083"/>
                      <a:pt x="72083" y="77896"/>
                      <a:pt x="64913" y="77896"/>
                    </a:cubicBezTo>
                    <a:cubicBezTo>
                      <a:pt x="57743" y="77896"/>
                      <a:pt x="51930" y="72083"/>
                      <a:pt x="51930" y="64913"/>
                    </a:cubicBezTo>
                    <a:cubicBezTo>
                      <a:pt x="51931" y="57742"/>
                      <a:pt x="57744" y="51931"/>
                      <a:pt x="64913" y="51931"/>
                    </a:cubicBezTo>
                    <a:close/>
                    <a:moveTo>
                      <a:pt x="519307" y="519307"/>
                    </a:moveTo>
                    <a:lnTo>
                      <a:pt x="51931" y="519307"/>
                    </a:lnTo>
                    <a:lnTo>
                      <a:pt x="51931" y="129827"/>
                    </a:lnTo>
                    <a:lnTo>
                      <a:pt x="519307" y="129827"/>
                    </a:lnTo>
                    <a:lnTo>
                      <a:pt x="519307" y="519307"/>
                    </a:lnTo>
                    <a:close/>
                  </a:path>
                </a:pathLst>
              </a:custGeom>
              <a:grpFill/>
              <a:ln w="11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grpSp>
        <p:grpSp>
          <p:nvGrpSpPr>
            <p:cNvPr id="56" name="Gráfico 40">
              <a:extLst>
                <a:ext uri="{FF2B5EF4-FFF2-40B4-BE49-F238E27FC236}">
                  <a16:creationId xmlns:a16="http://schemas.microsoft.com/office/drawing/2014/main" id="{2BC7A15E-6F88-83FD-1EF1-727EF0A31984}"/>
                </a:ext>
              </a:extLst>
            </p:cNvPr>
            <p:cNvGrpSpPr/>
            <p:nvPr/>
          </p:nvGrpSpPr>
          <p:grpSpPr>
            <a:xfrm>
              <a:off x="9247297" y="1272428"/>
              <a:ext cx="33164" cy="42367"/>
              <a:chOff x="6390418" y="264676"/>
              <a:chExt cx="449651" cy="599145"/>
            </a:xfrm>
            <a:solidFill>
              <a:schemeClr val="bg1"/>
            </a:solidFill>
          </p:grpSpPr>
          <p:sp>
            <p:nvSpPr>
              <p:cNvPr id="57" name="Forma libre 302">
                <a:extLst>
                  <a:ext uri="{FF2B5EF4-FFF2-40B4-BE49-F238E27FC236}">
                    <a16:creationId xmlns:a16="http://schemas.microsoft.com/office/drawing/2014/main" id="{5FF51228-E92F-9F68-2AD1-A6D9DF7B0278}"/>
                  </a:ext>
                </a:extLst>
              </p:cNvPr>
              <p:cNvSpPr/>
              <p:nvPr/>
            </p:nvSpPr>
            <p:spPr>
              <a:xfrm>
                <a:off x="6390418" y="264676"/>
                <a:ext cx="449651" cy="599145"/>
              </a:xfrm>
              <a:custGeom>
                <a:avLst/>
                <a:gdLst>
                  <a:gd name="connsiteX0" fmla="*/ 445694 w 449650"/>
                  <a:gd name="connsiteY0" fmla="*/ 129089 h 599144"/>
                  <a:gd name="connsiteX1" fmla="*/ 321145 w 449650"/>
                  <a:gd name="connsiteY1" fmla="*/ 4541 h 599144"/>
                  <a:gd name="connsiteX2" fmla="*/ 312323 w 449650"/>
                  <a:gd name="connsiteY2" fmla="*/ 876 h 599144"/>
                  <a:gd name="connsiteX3" fmla="*/ 50708 w 449650"/>
                  <a:gd name="connsiteY3" fmla="*/ 876 h 599144"/>
                  <a:gd name="connsiteX4" fmla="*/ 876 w 449650"/>
                  <a:gd name="connsiteY4" fmla="*/ 50708 h 599144"/>
                  <a:gd name="connsiteX5" fmla="*/ 876 w 449650"/>
                  <a:gd name="connsiteY5" fmla="*/ 549022 h 599144"/>
                  <a:gd name="connsiteX6" fmla="*/ 50708 w 449650"/>
                  <a:gd name="connsiteY6" fmla="*/ 598853 h 599144"/>
                  <a:gd name="connsiteX7" fmla="*/ 399528 w 449650"/>
                  <a:gd name="connsiteY7" fmla="*/ 598853 h 599144"/>
                  <a:gd name="connsiteX8" fmla="*/ 449359 w 449650"/>
                  <a:gd name="connsiteY8" fmla="*/ 549021 h 599144"/>
                  <a:gd name="connsiteX9" fmla="*/ 449359 w 449650"/>
                  <a:gd name="connsiteY9" fmla="*/ 137912 h 599144"/>
                  <a:gd name="connsiteX10" fmla="*/ 445694 w 449650"/>
                  <a:gd name="connsiteY10" fmla="*/ 129089 h 599144"/>
                  <a:gd name="connsiteX11" fmla="*/ 88081 w 449650"/>
                  <a:gd name="connsiteY11" fmla="*/ 125455 h 599144"/>
                  <a:gd name="connsiteX12" fmla="*/ 237576 w 449650"/>
                  <a:gd name="connsiteY12" fmla="*/ 125455 h 599144"/>
                  <a:gd name="connsiteX13" fmla="*/ 250034 w 449650"/>
                  <a:gd name="connsiteY13" fmla="*/ 137913 h 599144"/>
                  <a:gd name="connsiteX14" fmla="*/ 237576 w 449650"/>
                  <a:gd name="connsiteY14" fmla="*/ 150371 h 599144"/>
                  <a:gd name="connsiteX15" fmla="*/ 88081 w 449650"/>
                  <a:gd name="connsiteY15" fmla="*/ 150371 h 599144"/>
                  <a:gd name="connsiteX16" fmla="*/ 75623 w 449650"/>
                  <a:gd name="connsiteY16" fmla="*/ 137913 h 599144"/>
                  <a:gd name="connsiteX17" fmla="*/ 88081 w 449650"/>
                  <a:gd name="connsiteY17" fmla="*/ 125455 h 599144"/>
                  <a:gd name="connsiteX18" fmla="*/ 271226 w 449650"/>
                  <a:gd name="connsiteY18" fmla="*/ 470698 h 599144"/>
                  <a:gd name="connsiteX19" fmla="*/ 200202 w 449650"/>
                  <a:gd name="connsiteY19" fmla="*/ 524106 h 599144"/>
                  <a:gd name="connsiteX20" fmla="*/ 173437 w 449650"/>
                  <a:gd name="connsiteY20" fmla="*/ 487316 h 599144"/>
                  <a:gd name="connsiteX21" fmla="*/ 137912 w 449650"/>
                  <a:gd name="connsiteY21" fmla="*/ 524106 h 599144"/>
                  <a:gd name="connsiteX22" fmla="*/ 109127 w 449650"/>
                  <a:gd name="connsiteY22" fmla="*/ 509714 h 599144"/>
                  <a:gd name="connsiteX23" fmla="*/ 95550 w 449650"/>
                  <a:gd name="connsiteY23" fmla="*/ 521612 h 599144"/>
                  <a:gd name="connsiteX24" fmla="*/ 88080 w 449650"/>
                  <a:gd name="connsiteY24" fmla="*/ 524106 h 599144"/>
                  <a:gd name="connsiteX25" fmla="*/ 78104 w 449650"/>
                  <a:gd name="connsiteY25" fmla="*/ 519118 h 599144"/>
                  <a:gd name="connsiteX26" fmla="*/ 80610 w 449650"/>
                  <a:gd name="connsiteY26" fmla="*/ 501684 h 599144"/>
                  <a:gd name="connsiteX27" fmla="*/ 92509 w 449650"/>
                  <a:gd name="connsiteY27" fmla="*/ 491197 h 599144"/>
                  <a:gd name="connsiteX28" fmla="*/ 75623 w 449650"/>
                  <a:gd name="connsiteY28" fmla="*/ 449359 h 599144"/>
                  <a:gd name="connsiteX29" fmla="*/ 112997 w 449650"/>
                  <a:gd name="connsiteY29" fmla="*/ 399527 h 599144"/>
                  <a:gd name="connsiteX30" fmla="*/ 150370 w 449650"/>
                  <a:gd name="connsiteY30" fmla="*/ 436900 h 599144"/>
                  <a:gd name="connsiteX31" fmla="*/ 125624 w 449650"/>
                  <a:gd name="connsiteY31" fmla="*/ 491014 h 599144"/>
                  <a:gd name="connsiteX32" fmla="*/ 138033 w 449650"/>
                  <a:gd name="connsiteY32" fmla="*/ 499189 h 599144"/>
                  <a:gd name="connsiteX33" fmla="*/ 151999 w 449650"/>
                  <a:gd name="connsiteY33" fmla="*/ 474456 h 599144"/>
                  <a:gd name="connsiteX34" fmla="*/ 175286 w 449650"/>
                  <a:gd name="connsiteY34" fmla="*/ 449358 h 599144"/>
                  <a:gd name="connsiteX35" fmla="*/ 197087 w 449650"/>
                  <a:gd name="connsiteY35" fmla="*/ 479383 h 599144"/>
                  <a:gd name="connsiteX36" fmla="*/ 203194 w 449650"/>
                  <a:gd name="connsiteY36" fmla="*/ 497461 h 599144"/>
                  <a:gd name="connsiteX37" fmla="*/ 253756 w 449650"/>
                  <a:gd name="connsiteY37" fmla="*/ 452934 h 599144"/>
                  <a:gd name="connsiteX38" fmla="*/ 271372 w 449650"/>
                  <a:gd name="connsiteY38" fmla="*/ 453080 h 599144"/>
                  <a:gd name="connsiteX39" fmla="*/ 271226 w 449650"/>
                  <a:gd name="connsiteY39" fmla="*/ 470698 h 599144"/>
                  <a:gd name="connsiteX40" fmla="*/ 362153 w 449650"/>
                  <a:gd name="connsiteY40" fmla="*/ 374612 h 599144"/>
                  <a:gd name="connsiteX41" fmla="*/ 187744 w 449650"/>
                  <a:gd name="connsiteY41" fmla="*/ 374612 h 599144"/>
                  <a:gd name="connsiteX42" fmla="*/ 175286 w 449650"/>
                  <a:gd name="connsiteY42" fmla="*/ 362153 h 599144"/>
                  <a:gd name="connsiteX43" fmla="*/ 187744 w 449650"/>
                  <a:gd name="connsiteY43" fmla="*/ 349695 h 599144"/>
                  <a:gd name="connsiteX44" fmla="*/ 362153 w 449650"/>
                  <a:gd name="connsiteY44" fmla="*/ 349695 h 599144"/>
                  <a:gd name="connsiteX45" fmla="*/ 374612 w 449650"/>
                  <a:gd name="connsiteY45" fmla="*/ 362153 h 599144"/>
                  <a:gd name="connsiteX46" fmla="*/ 362153 w 449650"/>
                  <a:gd name="connsiteY46" fmla="*/ 374612 h 599144"/>
                  <a:gd name="connsiteX47" fmla="*/ 362153 w 449650"/>
                  <a:gd name="connsiteY47" fmla="*/ 299864 h 599144"/>
                  <a:gd name="connsiteX48" fmla="*/ 88081 w 449650"/>
                  <a:gd name="connsiteY48" fmla="*/ 299864 h 599144"/>
                  <a:gd name="connsiteX49" fmla="*/ 75623 w 449650"/>
                  <a:gd name="connsiteY49" fmla="*/ 287406 h 599144"/>
                  <a:gd name="connsiteX50" fmla="*/ 88081 w 449650"/>
                  <a:gd name="connsiteY50" fmla="*/ 274948 h 599144"/>
                  <a:gd name="connsiteX51" fmla="*/ 362155 w 449650"/>
                  <a:gd name="connsiteY51" fmla="*/ 274948 h 599144"/>
                  <a:gd name="connsiteX52" fmla="*/ 374613 w 449650"/>
                  <a:gd name="connsiteY52" fmla="*/ 287406 h 599144"/>
                  <a:gd name="connsiteX53" fmla="*/ 362153 w 449650"/>
                  <a:gd name="connsiteY53" fmla="*/ 299864 h 599144"/>
                  <a:gd name="connsiteX54" fmla="*/ 362153 w 449650"/>
                  <a:gd name="connsiteY54" fmla="*/ 225117 h 599144"/>
                  <a:gd name="connsiteX55" fmla="*/ 88081 w 449650"/>
                  <a:gd name="connsiteY55" fmla="*/ 225117 h 599144"/>
                  <a:gd name="connsiteX56" fmla="*/ 75623 w 449650"/>
                  <a:gd name="connsiteY56" fmla="*/ 212659 h 599144"/>
                  <a:gd name="connsiteX57" fmla="*/ 88081 w 449650"/>
                  <a:gd name="connsiteY57" fmla="*/ 200201 h 599144"/>
                  <a:gd name="connsiteX58" fmla="*/ 362155 w 449650"/>
                  <a:gd name="connsiteY58" fmla="*/ 200201 h 599144"/>
                  <a:gd name="connsiteX59" fmla="*/ 374613 w 449650"/>
                  <a:gd name="connsiteY59" fmla="*/ 212659 h 599144"/>
                  <a:gd name="connsiteX60" fmla="*/ 362153 w 449650"/>
                  <a:gd name="connsiteY60" fmla="*/ 225117 h 599144"/>
                  <a:gd name="connsiteX61" fmla="*/ 349696 w 449650"/>
                  <a:gd name="connsiteY61" fmla="*/ 125455 h 599144"/>
                  <a:gd name="connsiteX62" fmla="*/ 324781 w 449650"/>
                  <a:gd name="connsiteY62" fmla="*/ 100540 h 599144"/>
                  <a:gd name="connsiteX63" fmla="*/ 324781 w 449650"/>
                  <a:gd name="connsiteY63" fmla="*/ 43408 h 599144"/>
                  <a:gd name="connsiteX64" fmla="*/ 406828 w 449650"/>
                  <a:gd name="connsiteY64" fmla="*/ 125455 h 599144"/>
                  <a:gd name="connsiteX65" fmla="*/ 349696 w 449650"/>
                  <a:gd name="connsiteY65" fmla="*/ 125455 h 599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449650" h="599144">
                    <a:moveTo>
                      <a:pt x="445694" y="129089"/>
                    </a:moveTo>
                    <a:lnTo>
                      <a:pt x="321145" y="4541"/>
                    </a:lnTo>
                    <a:cubicBezTo>
                      <a:pt x="318890" y="2279"/>
                      <a:pt x="315773" y="876"/>
                      <a:pt x="312323" y="876"/>
                    </a:cubicBezTo>
                    <a:lnTo>
                      <a:pt x="50708" y="876"/>
                    </a:lnTo>
                    <a:cubicBezTo>
                      <a:pt x="23237" y="876"/>
                      <a:pt x="876" y="23224"/>
                      <a:pt x="876" y="50708"/>
                    </a:cubicBezTo>
                    <a:lnTo>
                      <a:pt x="876" y="549022"/>
                    </a:lnTo>
                    <a:cubicBezTo>
                      <a:pt x="876" y="576505"/>
                      <a:pt x="23237" y="598853"/>
                      <a:pt x="50708" y="598853"/>
                    </a:cubicBezTo>
                    <a:lnTo>
                      <a:pt x="399528" y="598853"/>
                    </a:lnTo>
                    <a:cubicBezTo>
                      <a:pt x="426998" y="598853"/>
                      <a:pt x="449359" y="576505"/>
                      <a:pt x="449359" y="549021"/>
                    </a:cubicBezTo>
                    <a:lnTo>
                      <a:pt x="449359" y="137912"/>
                    </a:lnTo>
                    <a:cubicBezTo>
                      <a:pt x="449359" y="134462"/>
                      <a:pt x="447956" y="131345"/>
                      <a:pt x="445694" y="129089"/>
                    </a:cubicBezTo>
                    <a:close/>
                    <a:moveTo>
                      <a:pt x="88081" y="125455"/>
                    </a:moveTo>
                    <a:lnTo>
                      <a:pt x="237576" y="125455"/>
                    </a:lnTo>
                    <a:cubicBezTo>
                      <a:pt x="244462" y="125455"/>
                      <a:pt x="250034" y="131027"/>
                      <a:pt x="250034" y="137913"/>
                    </a:cubicBezTo>
                    <a:cubicBezTo>
                      <a:pt x="250034" y="144799"/>
                      <a:pt x="244462" y="150371"/>
                      <a:pt x="237576" y="150371"/>
                    </a:cubicBezTo>
                    <a:lnTo>
                      <a:pt x="88081" y="150371"/>
                    </a:lnTo>
                    <a:cubicBezTo>
                      <a:pt x="81195" y="150371"/>
                      <a:pt x="75623" y="144799"/>
                      <a:pt x="75623" y="137913"/>
                    </a:cubicBezTo>
                    <a:cubicBezTo>
                      <a:pt x="75623" y="131027"/>
                      <a:pt x="81195" y="125455"/>
                      <a:pt x="88081" y="125455"/>
                    </a:cubicBezTo>
                    <a:close/>
                    <a:moveTo>
                      <a:pt x="271226" y="470698"/>
                    </a:moveTo>
                    <a:cubicBezTo>
                      <a:pt x="216991" y="524106"/>
                      <a:pt x="204362" y="524106"/>
                      <a:pt x="200202" y="524106"/>
                    </a:cubicBezTo>
                    <a:cubicBezTo>
                      <a:pt x="184727" y="524106"/>
                      <a:pt x="179179" y="506344"/>
                      <a:pt x="173437" y="487316"/>
                    </a:cubicBezTo>
                    <a:cubicBezTo>
                      <a:pt x="164750" y="504945"/>
                      <a:pt x="154750" y="524106"/>
                      <a:pt x="137912" y="524106"/>
                    </a:cubicBezTo>
                    <a:cubicBezTo>
                      <a:pt x="129249" y="524106"/>
                      <a:pt x="118884" y="518401"/>
                      <a:pt x="109127" y="509714"/>
                    </a:cubicBezTo>
                    <a:cubicBezTo>
                      <a:pt x="104480" y="514336"/>
                      <a:pt x="99856" y="518388"/>
                      <a:pt x="95550" y="521612"/>
                    </a:cubicBezTo>
                    <a:cubicBezTo>
                      <a:pt x="93311" y="523292"/>
                      <a:pt x="90683" y="524106"/>
                      <a:pt x="88080" y="524106"/>
                    </a:cubicBezTo>
                    <a:cubicBezTo>
                      <a:pt x="84309" y="524106"/>
                      <a:pt x="80561" y="522390"/>
                      <a:pt x="78104" y="519118"/>
                    </a:cubicBezTo>
                    <a:cubicBezTo>
                      <a:pt x="73991" y="513619"/>
                      <a:pt x="75110" y="505808"/>
                      <a:pt x="80610" y="501684"/>
                    </a:cubicBezTo>
                    <a:cubicBezTo>
                      <a:pt x="84552" y="498715"/>
                      <a:pt x="88567" y="495139"/>
                      <a:pt x="92509" y="491197"/>
                    </a:cubicBezTo>
                    <a:cubicBezTo>
                      <a:pt x="82606" y="477535"/>
                      <a:pt x="75623" y="461963"/>
                      <a:pt x="75623" y="449359"/>
                    </a:cubicBezTo>
                    <a:cubicBezTo>
                      <a:pt x="75623" y="420927"/>
                      <a:pt x="98301" y="399527"/>
                      <a:pt x="112997" y="399527"/>
                    </a:cubicBezTo>
                    <a:cubicBezTo>
                      <a:pt x="127450" y="399527"/>
                      <a:pt x="150370" y="409674"/>
                      <a:pt x="150370" y="436900"/>
                    </a:cubicBezTo>
                    <a:cubicBezTo>
                      <a:pt x="150370" y="452764"/>
                      <a:pt x="139347" y="473288"/>
                      <a:pt x="125624" y="491014"/>
                    </a:cubicBezTo>
                    <a:cubicBezTo>
                      <a:pt x="130709" y="495759"/>
                      <a:pt x="135333" y="498909"/>
                      <a:pt x="138033" y="499189"/>
                    </a:cubicBezTo>
                    <a:cubicBezTo>
                      <a:pt x="140783" y="497255"/>
                      <a:pt x="148350" y="481853"/>
                      <a:pt x="151999" y="474456"/>
                    </a:cubicBezTo>
                    <a:cubicBezTo>
                      <a:pt x="159445" y="459346"/>
                      <a:pt x="164360" y="449358"/>
                      <a:pt x="175286" y="449358"/>
                    </a:cubicBezTo>
                    <a:cubicBezTo>
                      <a:pt x="188060" y="449358"/>
                      <a:pt x="192025" y="462606"/>
                      <a:pt x="197087" y="479383"/>
                    </a:cubicBezTo>
                    <a:cubicBezTo>
                      <a:pt x="198572" y="484358"/>
                      <a:pt x="201029" y="492558"/>
                      <a:pt x="203194" y="497461"/>
                    </a:cubicBezTo>
                    <a:cubicBezTo>
                      <a:pt x="212343" y="491280"/>
                      <a:pt x="235434" y="470963"/>
                      <a:pt x="253756" y="452934"/>
                    </a:cubicBezTo>
                    <a:cubicBezTo>
                      <a:pt x="258671" y="448128"/>
                      <a:pt x="266554" y="448152"/>
                      <a:pt x="271372" y="453080"/>
                    </a:cubicBezTo>
                    <a:cubicBezTo>
                      <a:pt x="276189" y="457984"/>
                      <a:pt x="276142" y="465867"/>
                      <a:pt x="271226" y="470698"/>
                    </a:cubicBezTo>
                    <a:close/>
                    <a:moveTo>
                      <a:pt x="362153" y="374612"/>
                    </a:moveTo>
                    <a:lnTo>
                      <a:pt x="187744" y="374612"/>
                    </a:lnTo>
                    <a:cubicBezTo>
                      <a:pt x="180858" y="374612"/>
                      <a:pt x="175286" y="369039"/>
                      <a:pt x="175286" y="362153"/>
                    </a:cubicBezTo>
                    <a:cubicBezTo>
                      <a:pt x="175286" y="355267"/>
                      <a:pt x="180858" y="349695"/>
                      <a:pt x="187744" y="349695"/>
                    </a:cubicBezTo>
                    <a:lnTo>
                      <a:pt x="362153" y="349695"/>
                    </a:lnTo>
                    <a:cubicBezTo>
                      <a:pt x="369039" y="349695"/>
                      <a:pt x="374612" y="355267"/>
                      <a:pt x="374612" y="362153"/>
                    </a:cubicBezTo>
                    <a:cubicBezTo>
                      <a:pt x="374612" y="369039"/>
                      <a:pt x="369039" y="374612"/>
                      <a:pt x="362153" y="374612"/>
                    </a:cubicBezTo>
                    <a:close/>
                    <a:moveTo>
                      <a:pt x="362153" y="299864"/>
                    </a:moveTo>
                    <a:lnTo>
                      <a:pt x="88081" y="299864"/>
                    </a:lnTo>
                    <a:cubicBezTo>
                      <a:pt x="81195" y="299864"/>
                      <a:pt x="75623" y="294292"/>
                      <a:pt x="75623" y="287406"/>
                    </a:cubicBezTo>
                    <a:cubicBezTo>
                      <a:pt x="75623" y="280520"/>
                      <a:pt x="81195" y="274948"/>
                      <a:pt x="88081" y="274948"/>
                    </a:cubicBezTo>
                    <a:lnTo>
                      <a:pt x="362155" y="274948"/>
                    </a:lnTo>
                    <a:cubicBezTo>
                      <a:pt x="369041" y="274948"/>
                      <a:pt x="374613" y="280520"/>
                      <a:pt x="374613" y="287406"/>
                    </a:cubicBezTo>
                    <a:cubicBezTo>
                      <a:pt x="374612" y="294292"/>
                      <a:pt x="369039" y="299864"/>
                      <a:pt x="362153" y="299864"/>
                    </a:cubicBezTo>
                    <a:close/>
                    <a:moveTo>
                      <a:pt x="362153" y="225117"/>
                    </a:moveTo>
                    <a:lnTo>
                      <a:pt x="88081" y="225117"/>
                    </a:lnTo>
                    <a:cubicBezTo>
                      <a:pt x="81195" y="225117"/>
                      <a:pt x="75623" y="219545"/>
                      <a:pt x="75623" y="212659"/>
                    </a:cubicBezTo>
                    <a:cubicBezTo>
                      <a:pt x="75623" y="205773"/>
                      <a:pt x="81195" y="200201"/>
                      <a:pt x="88081" y="200201"/>
                    </a:cubicBezTo>
                    <a:lnTo>
                      <a:pt x="362155" y="200201"/>
                    </a:lnTo>
                    <a:cubicBezTo>
                      <a:pt x="369041" y="200201"/>
                      <a:pt x="374613" y="205773"/>
                      <a:pt x="374613" y="212659"/>
                    </a:cubicBezTo>
                    <a:cubicBezTo>
                      <a:pt x="374612" y="219545"/>
                      <a:pt x="369039" y="225117"/>
                      <a:pt x="362153" y="225117"/>
                    </a:cubicBezTo>
                    <a:close/>
                    <a:moveTo>
                      <a:pt x="349696" y="125455"/>
                    </a:moveTo>
                    <a:cubicBezTo>
                      <a:pt x="335949" y="125455"/>
                      <a:pt x="324781" y="114274"/>
                      <a:pt x="324781" y="100540"/>
                    </a:cubicBezTo>
                    <a:lnTo>
                      <a:pt x="324781" y="43408"/>
                    </a:lnTo>
                    <a:lnTo>
                      <a:pt x="406828" y="125455"/>
                    </a:lnTo>
                    <a:lnTo>
                      <a:pt x="349696" y="12545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8" name="Forma libre 303">
                <a:extLst>
                  <a:ext uri="{FF2B5EF4-FFF2-40B4-BE49-F238E27FC236}">
                    <a16:creationId xmlns:a16="http://schemas.microsoft.com/office/drawing/2014/main" id="{55B45628-B112-189E-569E-537A41C802DA}"/>
                  </a:ext>
                </a:extLst>
              </p:cNvPr>
              <p:cNvSpPr/>
              <p:nvPr/>
            </p:nvSpPr>
            <p:spPr>
              <a:xfrm>
                <a:off x="6490081" y="688243"/>
                <a:ext cx="25694" cy="47885"/>
              </a:xfrm>
              <a:custGeom>
                <a:avLst/>
                <a:gdLst>
                  <a:gd name="connsiteX0" fmla="*/ 13334 w 25694"/>
                  <a:gd name="connsiteY0" fmla="*/ 876 h 47884"/>
                  <a:gd name="connsiteX1" fmla="*/ 876 w 25694"/>
                  <a:gd name="connsiteY1" fmla="*/ 25791 h 47884"/>
                  <a:gd name="connsiteX2" fmla="*/ 9538 w 25694"/>
                  <a:gd name="connsiteY2" fmla="*/ 47885 h 47884"/>
                  <a:gd name="connsiteX3" fmla="*/ 25792 w 25694"/>
                  <a:gd name="connsiteY3" fmla="*/ 13334 h 47884"/>
                  <a:gd name="connsiteX4" fmla="*/ 13334 w 25694"/>
                  <a:gd name="connsiteY4" fmla="*/ 876 h 47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94" h="47884">
                    <a:moveTo>
                      <a:pt x="13334" y="876"/>
                    </a:moveTo>
                    <a:cubicBezTo>
                      <a:pt x="12020" y="1703"/>
                      <a:pt x="876" y="10597"/>
                      <a:pt x="876" y="25791"/>
                    </a:cubicBezTo>
                    <a:cubicBezTo>
                      <a:pt x="876" y="32166"/>
                      <a:pt x="4477" y="40172"/>
                      <a:pt x="9538" y="47885"/>
                    </a:cubicBezTo>
                    <a:cubicBezTo>
                      <a:pt x="19077" y="34685"/>
                      <a:pt x="25792" y="21278"/>
                      <a:pt x="25792" y="13334"/>
                    </a:cubicBezTo>
                    <a:cubicBezTo>
                      <a:pt x="25792" y="1472"/>
                      <a:pt x="15403" y="876"/>
                      <a:pt x="13334" y="87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grpSp>
        <p:sp>
          <p:nvSpPr>
            <p:cNvPr id="31" name="Content Placeholder 18">
              <a:extLst>
                <a:ext uri="{FF2B5EF4-FFF2-40B4-BE49-F238E27FC236}">
                  <a16:creationId xmlns:a16="http://schemas.microsoft.com/office/drawing/2014/main" id="{2743DFEF-F9C4-955C-547E-49968888DCB6}"/>
                </a:ext>
              </a:extLst>
            </p:cNvPr>
            <p:cNvSpPr txBox="1">
              <a:spLocks/>
            </p:cNvSpPr>
            <p:nvPr/>
          </p:nvSpPr>
          <p:spPr>
            <a:xfrm>
              <a:off x="9188862" y="956372"/>
              <a:ext cx="465404" cy="123111"/>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tx2">
                      <a:lumMod val="100000"/>
                      <a:alpha val="0"/>
                    </a:schemeClr>
                  </a:solidFill>
                  <a:prstDash val="solid"/>
                  <a:round/>
                  <a:headEnd type="none" w="med" len="med"/>
                  <a:tailEnd type="none" w="med" len="med"/>
                </a14:hiddenLine>
              </a:ext>
            </a:extLst>
          </p:spPr>
          <p:txBody>
            <a:bodyPr wrap="square" lIns="0" tIns="0" rIns="0" bIns="0">
              <a:spAutoFit/>
            </a:bodyPr>
            <a:lstStyle>
              <a:lvl1pPr marL="180000" indent="-180000" algn="l" defTabSz="914400" rtl="0" eaLnBrk="1" latinLnBrk="0" hangingPunct="1">
                <a:lnSpc>
                  <a:spcPct val="90000"/>
                </a:lnSpc>
                <a:spcBef>
                  <a:spcPts val="1000"/>
                </a:spcBef>
                <a:buFont typeface="Wingdings" panose="05000000000000000000" pitchFamily="2" charset="2"/>
                <a:buChar char="§"/>
                <a:defRPr sz="1600" kern="1200" baseline="0">
                  <a:solidFill>
                    <a:schemeClr val="tx1"/>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146D"/>
                </a:buClr>
                <a:buSzTx/>
                <a:buFont typeface="Wingdings" panose="05000000000000000000" pitchFamily="2" charset="2"/>
                <a:buNone/>
                <a:tabLst/>
                <a:defRPr/>
              </a:pPr>
              <a:r>
                <a:rPr kumimoji="0" lang="en-GB" sz="400" b="0" i="0" u="none" strike="noStrike" kern="1200" cap="none" spc="0" normalizeH="0" baseline="0" noProof="0">
                  <a:ln>
                    <a:noFill/>
                  </a:ln>
                  <a:solidFill>
                    <a:schemeClr val="accent1"/>
                  </a:solidFill>
                  <a:effectLst/>
                  <a:uLnTx/>
                  <a:uFillTx/>
                  <a:latin typeface="Arial" panose="020B0604020202020204"/>
                  <a:ea typeface="+mn-ea"/>
                  <a:cs typeface="Arial"/>
                  <a:sym typeface="Arial"/>
                </a:rPr>
                <a:t>BATTERY PASS</a:t>
              </a:r>
            </a:p>
            <a:p>
              <a:pPr marL="0" marR="0" lvl="0" indent="0" algn="l" defTabSz="914400" rtl="0" eaLnBrk="1" fontAlgn="auto" latinLnBrk="0" hangingPunct="1">
                <a:lnSpc>
                  <a:spcPct val="100000"/>
                </a:lnSpc>
                <a:spcBef>
                  <a:spcPts val="0"/>
                </a:spcBef>
                <a:spcAft>
                  <a:spcPts val="0"/>
                </a:spcAft>
                <a:buClr>
                  <a:srgbClr val="00146D"/>
                </a:buClr>
                <a:buSzTx/>
                <a:buFont typeface="Wingdings" panose="05000000000000000000" pitchFamily="2" charset="2"/>
                <a:buNone/>
                <a:tabLst/>
                <a:defRPr/>
              </a:pPr>
              <a:r>
                <a:rPr kumimoji="0" lang="en-GB" sz="400" b="0" i="1" u="none" strike="noStrike" kern="1200" cap="none" spc="0" normalizeH="0" baseline="0" noProof="0">
                  <a:ln>
                    <a:noFill/>
                  </a:ln>
                  <a:solidFill>
                    <a:schemeClr val="accent1"/>
                  </a:solidFill>
                  <a:effectLst/>
                  <a:uLnTx/>
                  <a:uFillTx/>
                  <a:latin typeface="Arial" panose="020B0604020202020204"/>
                  <a:ea typeface="+mn-ea"/>
                  <a:cs typeface="Arial"/>
                  <a:sym typeface="Arial"/>
                </a:rPr>
                <a:t>N</a:t>
              </a:r>
              <a:r>
                <a:rPr kumimoji="0" lang="en-GB" sz="400" b="0" i="1" u="none" strike="noStrike" kern="1200" cap="none" spc="0" normalizeH="0" baseline="30000" noProof="0">
                  <a:ln>
                    <a:noFill/>
                  </a:ln>
                  <a:solidFill>
                    <a:schemeClr val="accent1"/>
                  </a:solidFill>
                  <a:effectLst/>
                  <a:uLnTx/>
                  <a:uFillTx/>
                  <a:latin typeface="Arial" panose="020B0604020202020204"/>
                  <a:ea typeface="+mn-ea"/>
                  <a:cs typeface="Arial"/>
                  <a:sym typeface="Arial"/>
                </a:rPr>
                <a:t>o</a:t>
              </a:r>
              <a:r>
                <a:rPr kumimoji="0" lang="en-GB" sz="400" b="0" i="1" u="none" strike="noStrike" kern="1200" cap="none" spc="0" normalizeH="0" baseline="0" noProof="0">
                  <a:ln>
                    <a:noFill/>
                  </a:ln>
                  <a:solidFill>
                    <a:schemeClr val="accent1"/>
                  </a:solidFill>
                  <a:effectLst/>
                  <a:uLnTx/>
                  <a:uFillTx/>
                  <a:latin typeface="Arial" panose="020B0604020202020204"/>
                  <a:ea typeface="+mn-ea"/>
                  <a:cs typeface="Arial"/>
                  <a:sym typeface="Arial"/>
                </a:rPr>
                <a:t>- SZ41621956</a:t>
              </a:r>
            </a:p>
          </p:txBody>
        </p:sp>
      </p:grpSp>
      <p:sp>
        <p:nvSpPr>
          <p:cNvPr id="85" name="Rectangle 1">
            <a:extLst>
              <a:ext uri="{FF2B5EF4-FFF2-40B4-BE49-F238E27FC236}">
                <a16:creationId xmlns:a16="http://schemas.microsoft.com/office/drawing/2014/main" id="{708FFFF4-836E-CAE8-FF42-C86A9D563698}"/>
              </a:ext>
            </a:extLst>
          </p:cNvPr>
          <p:cNvSpPr/>
          <p:nvPr/>
        </p:nvSpPr>
        <p:spPr>
          <a:xfrm>
            <a:off x="8393625" y="2465667"/>
            <a:ext cx="2892761" cy="574207"/>
          </a:xfrm>
          <a:prstGeom prst="rect">
            <a:avLst/>
          </a:prstGeom>
          <a:solidFill>
            <a:schemeClr val="bg1">
              <a:lumMod val="9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accent1"/>
                </a:solidFill>
                <a:effectLst/>
                <a:uLnTx/>
                <a:uFillTx/>
                <a:latin typeface="Arial" panose="020B0604020202020204"/>
                <a:ea typeface="+mn-ea"/>
                <a:cs typeface="Arial"/>
                <a:sym typeface="Arial"/>
              </a:rPr>
              <a:t>Economic operators’    back-end systems </a:t>
            </a:r>
            <a:br>
              <a:rPr kumimoji="0" lang="en-GB" sz="1600" b="0" i="0" u="none" strike="noStrike" kern="1200" cap="none" spc="0" normalizeH="0" baseline="0" noProof="0">
                <a:ln>
                  <a:noFill/>
                </a:ln>
                <a:solidFill>
                  <a:schemeClr val="accent1"/>
                </a:solidFill>
                <a:effectLst/>
                <a:uLnTx/>
                <a:uFillTx/>
                <a:latin typeface="Arial" panose="020B0604020202020204"/>
                <a:ea typeface="+mn-ea"/>
                <a:cs typeface="Arial"/>
                <a:sym typeface="Arial"/>
              </a:rPr>
            </a:br>
            <a:endParaRPr kumimoji="0" lang="en-GB" sz="1600" b="0" i="0" u="none" strike="noStrike" kern="1200" cap="none" spc="0" normalizeH="0" baseline="0" noProof="0">
              <a:ln>
                <a:noFill/>
              </a:ln>
              <a:solidFill>
                <a:schemeClr val="accent1"/>
              </a:solidFill>
              <a:effectLst/>
              <a:uLnTx/>
              <a:uFillTx/>
              <a:latin typeface="Arial" panose="020B0604020202020204"/>
              <a:ea typeface="+mn-ea"/>
              <a:cs typeface="Arial"/>
              <a:sym typeface="Arial"/>
            </a:endParaRPr>
          </a:p>
        </p:txBody>
      </p:sp>
      <p:cxnSp>
        <p:nvCxnSpPr>
          <p:cNvPr id="86" name="Verbinder: gekrümmt 64">
            <a:extLst>
              <a:ext uri="{FF2B5EF4-FFF2-40B4-BE49-F238E27FC236}">
                <a16:creationId xmlns:a16="http://schemas.microsoft.com/office/drawing/2014/main" id="{C53CEC2B-983D-22D3-9209-7D2CBBA8FE87}"/>
              </a:ext>
            </a:extLst>
          </p:cNvPr>
          <p:cNvCxnSpPr>
            <a:cxnSpLocks/>
          </p:cNvCxnSpPr>
          <p:nvPr/>
        </p:nvCxnSpPr>
        <p:spPr>
          <a:xfrm rot="5400000" flipH="1" flipV="1">
            <a:off x="4285774" y="1379070"/>
            <a:ext cx="2719691" cy="5551844"/>
          </a:xfrm>
          <a:prstGeom prst="curvedConnector2">
            <a:avLst/>
          </a:prstGeom>
          <a:ln>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87" name="Arrow: Chevron 23">
            <a:extLst>
              <a:ext uri="{FF2B5EF4-FFF2-40B4-BE49-F238E27FC236}">
                <a16:creationId xmlns:a16="http://schemas.microsoft.com/office/drawing/2014/main" id="{16C8231C-745E-8C26-C199-E8E8769C132D}"/>
              </a:ext>
            </a:extLst>
          </p:cNvPr>
          <p:cNvSpPr/>
          <p:nvPr/>
        </p:nvSpPr>
        <p:spPr>
          <a:xfrm>
            <a:off x="10729957" y="5514837"/>
            <a:ext cx="1206452" cy="468000"/>
          </a:xfrm>
          <a:prstGeom prst="chevr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Recycler</a:t>
            </a:r>
          </a:p>
        </p:txBody>
      </p:sp>
      <p:sp>
        <p:nvSpPr>
          <p:cNvPr id="90" name="Textfeld 36">
            <a:extLst>
              <a:ext uri="{FF2B5EF4-FFF2-40B4-BE49-F238E27FC236}">
                <a16:creationId xmlns:a16="http://schemas.microsoft.com/office/drawing/2014/main" id="{E42E3353-8F1F-8DAB-AEB3-BDED59D85DE6}"/>
              </a:ext>
            </a:extLst>
          </p:cNvPr>
          <p:cNvSpPr txBox="1"/>
          <p:nvPr/>
        </p:nvSpPr>
        <p:spPr>
          <a:xfrm rot="20919649">
            <a:off x="3174590" y="2845989"/>
            <a:ext cx="5742556" cy="1102308"/>
          </a:xfrm>
          <a:prstGeom prst="rect">
            <a:avLst/>
          </a:prstGeom>
          <a:noFill/>
        </p:spPr>
        <p:txBody>
          <a:bodyPr wrap="square" rtlCol="0">
            <a:prstTxWarp prst="textArchUp">
              <a:avLst>
                <a:gd name="adj" fmla="val 11631323"/>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GB" sz="1000" b="0" i="0" u="none" strike="noStrike" kern="1200" cap="none" spc="0" normalizeH="0" baseline="0" noProof="0">
                <a:ln>
                  <a:noFill/>
                </a:ln>
                <a:solidFill>
                  <a:schemeClr val="accent1"/>
                </a:solidFill>
                <a:effectLst/>
                <a:uLnTx/>
                <a:uFillTx/>
                <a:latin typeface="Arial" panose="020B0604020202020204"/>
                <a:ea typeface="+mn-ea"/>
                <a:cs typeface="Arial"/>
                <a:sym typeface="Arial"/>
              </a:rPr>
            </a:br>
            <a:r>
              <a:rPr kumimoji="0" lang="en-GB" sz="900" b="0" i="0" u="none" strike="noStrike" kern="1200" cap="none" spc="0" normalizeH="0" baseline="0" noProof="0">
                <a:ln>
                  <a:noFill/>
                </a:ln>
                <a:solidFill>
                  <a:schemeClr val="accent1"/>
                </a:solidFill>
                <a:effectLst/>
                <a:uLnTx/>
                <a:uFillTx/>
                <a:latin typeface="Arial" panose="020B0604020202020204"/>
                <a:ea typeface="+mn-ea"/>
                <a:cs typeface="Arial"/>
                <a:sym typeface="Arial"/>
              </a:rPr>
              <a:t>Direct reporting for aggregation in economic operator’s back-end system(s)</a:t>
            </a:r>
            <a:endParaRPr kumimoji="0" lang="en-GB" sz="1000" b="0" i="0" u="none" strike="noStrike" kern="1200" cap="none" spc="0" normalizeH="0" baseline="0" noProof="0">
              <a:ln>
                <a:noFill/>
              </a:ln>
              <a:solidFill>
                <a:schemeClr val="accent1"/>
              </a:solidFill>
              <a:effectLst/>
              <a:uLnTx/>
              <a:uFillTx/>
              <a:latin typeface="Arial" panose="020B0604020202020204"/>
              <a:ea typeface="+mn-ea"/>
              <a:cs typeface="Arial"/>
              <a:sym typeface="Arial"/>
            </a:endParaRPr>
          </a:p>
        </p:txBody>
      </p:sp>
      <p:cxnSp>
        <p:nvCxnSpPr>
          <p:cNvPr id="92" name="Gerader Verbinder 34">
            <a:extLst>
              <a:ext uri="{FF2B5EF4-FFF2-40B4-BE49-F238E27FC236}">
                <a16:creationId xmlns:a16="http://schemas.microsoft.com/office/drawing/2014/main" id="{BB03DE6E-77CE-C195-F49C-7E77F36E25E7}"/>
              </a:ext>
            </a:extLst>
          </p:cNvPr>
          <p:cNvCxnSpPr>
            <a:cxnSpLocks/>
          </p:cNvCxnSpPr>
          <p:nvPr/>
        </p:nvCxnSpPr>
        <p:spPr>
          <a:xfrm>
            <a:off x="303872" y="4662112"/>
            <a:ext cx="11448000" cy="0"/>
          </a:xfrm>
          <a:prstGeom prst="line">
            <a:avLst/>
          </a:pr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93" name="Gerader Verbinder 34">
            <a:extLst>
              <a:ext uri="{FF2B5EF4-FFF2-40B4-BE49-F238E27FC236}">
                <a16:creationId xmlns:a16="http://schemas.microsoft.com/office/drawing/2014/main" id="{01909CE0-D9D5-DFE7-1C24-D10EABD0361A}"/>
              </a:ext>
            </a:extLst>
          </p:cNvPr>
          <p:cNvCxnSpPr>
            <a:cxnSpLocks/>
          </p:cNvCxnSpPr>
          <p:nvPr/>
        </p:nvCxnSpPr>
        <p:spPr>
          <a:xfrm>
            <a:off x="306894" y="2292206"/>
            <a:ext cx="11448000" cy="0"/>
          </a:xfrm>
          <a:prstGeom prst="line">
            <a:avLst/>
          </a:pr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95" name="Verbinder: gekrümmt 98">
            <a:extLst>
              <a:ext uri="{FF2B5EF4-FFF2-40B4-BE49-F238E27FC236}">
                <a16:creationId xmlns:a16="http://schemas.microsoft.com/office/drawing/2014/main" id="{1D390583-9EC1-7C64-2DB8-10EC7BD11BF4}"/>
              </a:ext>
            </a:extLst>
          </p:cNvPr>
          <p:cNvCxnSpPr>
            <a:cxnSpLocks/>
          </p:cNvCxnSpPr>
          <p:nvPr/>
        </p:nvCxnSpPr>
        <p:spPr>
          <a:xfrm rot="5400000" flipH="1" flipV="1">
            <a:off x="9638395" y="2377383"/>
            <a:ext cx="346070" cy="1"/>
          </a:xfrm>
          <a:prstGeom prst="curvedConnector3">
            <a:avLst>
              <a:gd name="adj1" fmla="val 50000"/>
            </a:avLst>
          </a:prstGeom>
          <a:ln w="28575">
            <a:solidFill>
              <a:schemeClr val="accent5"/>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57572E0E-0F1D-17AC-9060-22FF162AF1A1}"/>
              </a:ext>
            </a:extLst>
          </p:cNvPr>
          <p:cNvSpPr txBox="1"/>
          <p:nvPr/>
        </p:nvSpPr>
        <p:spPr>
          <a:xfrm>
            <a:off x="7117369" y="1741180"/>
            <a:ext cx="2539328" cy="430887"/>
          </a:xfrm>
          <a:prstGeom prst="rect">
            <a:avLst/>
          </a:prstGeom>
          <a:solidFill>
            <a:schemeClr val="bg1"/>
          </a:solidFill>
        </p:spPr>
        <p:txBody>
          <a:bodyPr wrap="square" tIns="0" rIns="36000" bIns="0">
            <a:spAutoFit/>
          </a:bodyPr>
          <a:lstStyle/>
          <a:p>
            <a:pPr lvl="0" algn="r">
              <a:defRPr/>
            </a:pPr>
            <a:r>
              <a:rPr kumimoji="0" lang="en-GB" sz="1400" b="1" i="0" u="none" strike="noStrike" kern="1200" cap="none" spc="0" normalizeH="0" baseline="0" noProof="0">
                <a:ln>
                  <a:noFill/>
                </a:ln>
                <a:solidFill>
                  <a:schemeClr val="accent1"/>
                </a:solidFill>
                <a:effectLst/>
                <a:uLnTx/>
                <a:uFillTx/>
                <a:latin typeface="Arial" panose="020B0604020202020204"/>
                <a:ea typeface="+mn-ea"/>
                <a:cs typeface="Arial"/>
                <a:sym typeface="Arial"/>
              </a:rPr>
              <a:t>Battery Passport Systems </a:t>
            </a:r>
            <a:br>
              <a:rPr kumimoji="0" lang="en-GB" sz="1400" b="1" i="0" u="none" strike="noStrike" kern="1200" cap="none" spc="0" normalizeH="0" baseline="0" noProof="0">
                <a:ln>
                  <a:noFill/>
                </a:ln>
                <a:solidFill>
                  <a:schemeClr val="accent1"/>
                </a:solidFill>
                <a:effectLst/>
                <a:uLnTx/>
                <a:uFillTx/>
                <a:latin typeface="Arial" panose="020B0604020202020204"/>
                <a:ea typeface="+mn-ea"/>
                <a:cs typeface="Arial"/>
                <a:sym typeface="Arial"/>
              </a:rPr>
            </a:br>
            <a:endParaRPr kumimoji="0" lang="en-GB" sz="1400" b="0" i="0" u="none" strike="noStrike" kern="1200" cap="none" spc="0" normalizeH="0" baseline="0" noProof="0">
              <a:ln>
                <a:noFill/>
              </a:ln>
              <a:solidFill>
                <a:schemeClr val="accent1"/>
              </a:solidFill>
              <a:effectLst/>
              <a:uLnTx/>
              <a:uFillTx/>
              <a:latin typeface="Arial" panose="020B0604020202020204"/>
              <a:ea typeface="+mn-ea"/>
              <a:cs typeface="Arial"/>
              <a:sym typeface="Arial"/>
            </a:endParaRPr>
          </a:p>
        </p:txBody>
      </p:sp>
      <p:grpSp>
        <p:nvGrpSpPr>
          <p:cNvPr id="101" name="Group 100">
            <a:extLst>
              <a:ext uri="{FF2B5EF4-FFF2-40B4-BE49-F238E27FC236}">
                <a16:creationId xmlns:a16="http://schemas.microsoft.com/office/drawing/2014/main" id="{02BA028A-4C8A-DB92-49C8-77772925352A}"/>
              </a:ext>
            </a:extLst>
          </p:cNvPr>
          <p:cNvGrpSpPr/>
          <p:nvPr/>
        </p:nvGrpSpPr>
        <p:grpSpPr>
          <a:xfrm>
            <a:off x="8258175" y="1165708"/>
            <a:ext cx="507316" cy="507316"/>
            <a:chOff x="8156575" y="1264599"/>
            <a:chExt cx="507316" cy="507316"/>
          </a:xfrm>
          <a:solidFill>
            <a:schemeClr val="accent1"/>
          </a:solidFill>
        </p:grpSpPr>
        <p:pic>
          <p:nvPicPr>
            <p:cNvPr id="102" name="Graphic 101" descr="Smart Phone with solid fill">
              <a:extLst>
                <a:ext uri="{FF2B5EF4-FFF2-40B4-BE49-F238E27FC236}">
                  <a16:creationId xmlns:a16="http://schemas.microsoft.com/office/drawing/2014/main" id="{CBD152D1-22C2-0DBB-0C8C-0929D1E3EDB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156575" y="1264599"/>
              <a:ext cx="507316" cy="507316"/>
            </a:xfrm>
            <a:prstGeom prst="rect">
              <a:avLst/>
            </a:prstGeom>
          </p:spPr>
        </p:pic>
        <p:pic>
          <p:nvPicPr>
            <p:cNvPr id="103" name="Graphic 102" descr="Qr Code with solid fill">
              <a:extLst>
                <a:ext uri="{FF2B5EF4-FFF2-40B4-BE49-F238E27FC236}">
                  <a16:creationId xmlns:a16="http://schemas.microsoft.com/office/drawing/2014/main" id="{FB1CA056-123C-9093-F7DE-C46CECC366D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319941" y="1442688"/>
              <a:ext cx="189413" cy="189413"/>
            </a:xfrm>
            <a:prstGeom prst="rect">
              <a:avLst/>
            </a:prstGeom>
          </p:spPr>
        </p:pic>
      </p:grpSp>
      <p:sp>
        <p:nvSpPr>
          <p:cNvPr id="104" name="Arrow: Chevron 18">
            <a:extLst>
              <a:ext uri="{FF2B5EF4-FFF2-40B4-BE49-F238E27FC236}">
                <a16:creationId xmlns:a16="http://schemas.microsoft.com/office/drawing/2014/main" id="{8DF2C22B-98A1-CF73-4DC1-57F59D69086B}"/>
              </a:ext>
            </a:extLst>
          </p:cNvPr>
          <p:cNvSpPr/>
          <p:nvPr/>
        </p:nvSpPr>
        <p:spPr>
          <a:xfrm>
            <a:off x="4465116" y="5504009"/>
            <a:ext cx="1206452" cy="46800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Cells and modules manufacturer</a:t>
            </a:r>
          </a:p>
        </p:txBody>
      </p:sp>
      <p:sp>
        <p:nvSpPr>
          <p:cNvPr id="105" name="Subtitle 23">
            <a:extLst>
              <a:ext uri="{FF2B5EF4-FFF2-40B4-BE49-F238E27FC236}">
                <a16:creationId xmlns:a16="http://schemas.microsoft.com/office/drawing/2014/main" id="{5CD12A00-ABBC-E23C-D3F5-81D51B5583A1}"/>
              </a:ext>
            </a:extLst>
          </p:cNvPr>
          <p:cNvSpPr txBox="1">
            <a:spLocks/>
          </p:cNvSpPr>
          <p:nvPr/>
        </p:nvSpPr>
        <p:spPr>
          <a:xfrm>
            <a:off x="3427307" y="6267928"/>
            <a:ext cx="5979441" cy="298800"/>
          </a:xfrm>
          <a:prstGeom prst="rect">
            <a:avLst/>
          </a:prstGeom>
        </p:spPr>
        <p:txBody>
          <a:bodyPr vert="horz" lIns="0" tIns="0" rIns="0" bIns="0" rtlCol="0">
            <a:noAutofit/>
          </a:bodyPr>
          <a:lstStyle>
            <a:lvl1pPr marL="342900" marR="0" indent="-342900" algn="l" defTabSz="914400" rtl="0" eaLnBrk="1" fontAlgn="auto" latinLnBrk="0" hangingPunct="1">
              <a:lnSpc>
                <a:spcPct val="110000"/>
              </a:lnSpc>
              <a:spcBef>
                <a:spcPts val="0"/>
              </a:spcBef>
              <a:spcAft>
                <a:spcPts val="0"/>
              </a:spcAft>
              <a:buClr>
                <a:schemeClr val="accent1"/>
              </a:buClr>
              <a:buSzTx/>
              <a:buFont typeface="Wingdings" panose="05000000000000000000" pitchFamily="2" charset="2"/>
              <a:buChar char="n"/>
              <a:tabLst/>
              <a:defRPr sz="2000" b="0" i="0" kern="1200" baseline="0">
                <a:solidFill>
                  <a:schemeClr val="tx1"/>
                </a:solidFill>
                <a:latin typeface="Arial" panose="020B0604020202020204" pitchFamily="34" charset="0"/>
                <a:ea typeface="+mn-ea"/>
                <a:cs typeface="+mn-cs"/>
              </a:defRPr>
            </a:lvl1pPr>
            <a:lvl2pPr marL="719138" marR="0" indent="-361950" algn="l" defTabSz="914400" rtl="0" eaLnBrk="1" fontAlgn="auto" latinLnBrk="0" hangingPunct="1">
              <a:lnSpc>
                <a:spcPct val="110000"/>
              </a:lnSpc>
              <a:spcBef>
                <a:spcPts val="600"/>
              </a:spcBef>
              <a:spcAft>
                <a:spcPts val="0"/>
              </a:spcAft>
              <a:buClr>
                <a:srgbClr val="004A96"/>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4738" marR="0" indent="-355600" algn="l" defTabSz="914400" rtl="0" eaLnBrk="1" fontAlgn="auto" latinLnBrk="0" hangingPunct="1">
              <a:lnSpc>
                <a:spcPct val="110000"/>
              </a:lnSpc>
              <a:spcBef>
                <a:spcPts val="300"/>
              </a:spcBef>
              <a:spcAft>
                <a:spcPts val="0"/>
              </a:spcAft>
              <a:buClr>
                <a:srgbClr val="004A96"/>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61950" algn="l" defTabSz="914400" rtl="0" eaLnBrk="1" fontAlgn="auto" latinLnBrk="0" hangingPunct="1">
              <a:lnSpc>
                <a:spcPct val="110000"/>
              </a:lnSpc>
              <a:spcBef>
                <a:spcPts val="0"/>
              </a:spcBef>
              <a:spcAft>
                <a:spcPct val="50000"/>
              </a:spcAft>
              <a:buClr>
                <a:srgbClr val="004A96"/>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marL="0" marR="0" lvl="0" indent="0" algn="l" defTabSz="914400" rtl="0" eaLnBrk="1" fontAlgn="auto" latinLnBrk="0" hangingPunct="1">
              <a:lnSpc>
                <a:spcPct val="110000"/>
              </a:lnSpc>
              <a:spcBef>
                <a:spcPts val="0"/>
              </a:spcBef>
              <a:spcAft>
                <a:spcPts val="0"/>
              </a:spcAft>
              <a:buClr>
                <a:srgbClr val="004A96"/>
              </a:buClr>
              <a:buSzTx/>
              <a:buFont typeface="Wingdings" panose="05000000000000000000" pitchFamily="2" charset="2"/>
              <a:buNone/>
              <a:tabLst/>
              <a:defRPr/>
            </a:pPr>
            <a:r>
              <a:rPr kumimoji="0" lang="en-GB" sz="1000" b="0" i="0" u="none" strike="noStrike" kern="1200" cap="none" spc="0" normalizeH="0" baseline="0" noProof="0">
                <a:ln>
                  <a:noFill/>
                </a:ln>
                <a:solidFill>
                  <a:srgbClr val="000000">
                    <a:lumMod val="100000"/>
                  </a:srgbClr>
                </a:solidFill>
                <a:effectLst/>
                <a:uLnTx/>
                <a:uFillTx/>
                <a:latin typeface="+mn-lt"/>
                <a:ea typeface="Work Sans"/>
                <a:cs typeface="Work Sans"/>
                <a:sym typeface="Work Sans"/>
              </a:rPr>
              <a:t>This project receives funding from the </a:t>
            </a:r>
            <a:r>
              <a:rPr kumimoji="0" lang="en-GB" sz="1000" b="0" i="0" u="sng" strike="noStrike" kern="1200" cap="none" spc="0" normalizeH="0" baseline="0" noProof="0">
                <a:ln>
                  <a:noFill/>
                </a:ln>
                <a:solidFill>
                  <a:srgbClr val="004A96"/>
                </a:solidFill>
                <a:effectLst/>
                <a:uLnTx/>
                <a:uFillTx/>
                <a:latin typeface="+mn-lt"/>
                <a:ea typeface="Work Sans"/>
                <a:cs typeface="Work Sans"/>
                <a:sym typeface="Work Sans"/>
                <a:hlinkClick r:id="rId13">
                  <a:extLst>
                    <a:ext uri="{A12FA001-AC4F-418D-AE19-62706E023703}">
                      <ahyp:hlinkClr xmlns:ahyp="http://schemas.microsoft.com/office/drawing/2018/hyperlinkcolor" val="tx"/>
                    </a:ext>
                  </a:extLst>
                </a:hlinkClick>
              </a:rPr>
              <a:t>German Federal Ministry for Economic Affairs and Climate Action</a:t>
            </a:r>
            <a:r>
              <a:rPr kumimoji="0" lang="en-GB" sz="1000" b="0" i="0" u="none" strike="noStrike" kern="1200" cap="none" spc="0" normalizeH="0" baseline="0" noProof="0">
                <a:ln>
                  <a:noFill/>
                </a:ln>
                <a:solidFill>
                  <a:srgbClr val="000000">
                    <a:lumMod val="100000"/>
                  </a:srgbClr>
                </a:solidFill>
                <a:effectLst/>
                <a:uLnTx/>
                <a:uFillTx/>
                <a:latin typeface="+mn-lt"/>
                <a:ea typeface="Work Sans"/>
                <a:cs typeface="Work Sans"/>
                <a:sym typeface="Work Sans"/>
              </a:rPr>
              <a:t> by resolution of the German Bundestag under grant agreement No 16BZF335.</a:t>
            </a:r>
          </a:p>
        </p:txBody>
      </p:sp>
      <p:grpSp>
        <p:nvGrpSpPr>
          <p:cNvPr id="106" name="Group 11">
            <a:extLst>
              <a:ext uri="{FF2B5EF4-FFF2-40B4-BE49-F238E27FC236}">
                <a16:creationId xmlns:a16="http://schemas.microsoft.com/office/drawing/2014/main" id="{908CE249-68BE-7AD4-C9D6-FA94B16034D8}"/>
              </a:ext>
            </a:extLst>
          </p:cNvPr>
          <p:cNvGrpSpPr/>
          <p:nvPr/>
        </p:nvGrpSpPr>
        <p:grpSpPr>
          <a:xfrm>
            <a:off x="3711378" y="4912081"/>
            <a:ext cx="507316" cy="507316"/>
            <a:chOff x="8156575" y="1264599"/>
            <a:chExt cx="507316" cy="507316"/>
          </a:xfrm>
          <a:solidFill>
            <a:schemeClr val="accent1"/>
          </a:solidFill>
        </p:grpSpPr>
        <p:pic>
          <p:nvPicPr>
            <p:cNvPr id="107" name="Graphic 160" descr="Smart Phone with solid fill">
              <a:extLst>
                <a:ext uri="{FF2B5EF4-FFF2-40B4-BE49-F238E27FC236}">
                  <a16:creationId xmlns:a16="http://schemas.microsoft.com/office/drawing/2014/main" id="{CA044EC2-F711-3FF3-94D5-043B8A5AE32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156575" y="1264599"/>
              <a:ext cx="507316" cy="507316"/>
            </a:xfrm>
            <a:prstGeom prst="rect">
              <a:avLst/>
            </a:prstGeom>
          </p:spPr>
        </p:pic>
        <p:pic>
          <p:nvPicPr>
            <p:cNvPr id="108" name="Graphic 161" descr="Qr Code with solid fill">
              <a:extLst>
                <a:ext uri="{FF2B5EF4-FFF2-40B4-BE49-F238E27FC236}">
                  <a16:creationId xmlns:a16="http://schemas.microsoft.com/office/drawing/2014/main" id="{8CB207D5-B38C-C691-EA77-516EE5083FE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319941" y="1442688"/>
              <a:ext cx="189413" cy="189413"/>
            </a:xfrm>
            <a:prstGeom prst="rect">
              <a:avLst/>
            </a:prstGeom>
          </p:spPr>
        </p:pic>
      </p:grpSp>
      <p:grpSp>
        <p:nvGrpSpPr>
          <p:cNvPr id="109" name="Group 11">
            <a:extLst>
              <a:ext uri="{FF2B5EF4-FFF2-40B4-BE49-F238E27FC236}">
                <a16:creationId xmlns:a16="http://schemas.microsoft.com/office/drawing/2014/main" id="{FC2CB4E9-A673-7C8E-71C1-1626FB26D62D}"/>
              </a:ext>
            </a:extLst>
          </p:cNvPr>
          <p:cNvGrpSpPr/>
          <p:nvPr/>
        </p:nvGrpSpPr>
        <p:grpSpPr>
          <a:xfrm>
            <a:off x="6813167" y="4959792"/>
            <a:ext cx="507316" cy="507316"/>
            <a:chOff x="8156575" y="1264599"/>
            <a:chExt cx="507316" cy="507316"/>
          </a:xfrm>
          <a:solidFill>
            <a:schemeClr val="accent1"/>
          </a:solidFill>
        </p:grpSpPr>
        <p:pic>
          <p:nvPicPr>
            <p:cNvPr id="110" name="Graphic 160" descr="Smart Phone with solid fill">
              <a:extLst>
                <a:ext uri="{FF2B5EF4-FFF2-40B4-BE49-F238E27FC236}">
                  <a16:creationId xmlns:a16="http://schemas.microsoft.com/office/drawing/2014/main" id="{07751785-6094-F879-5811-7DD570C31FA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156575" y="1264599"/>
              <a:ext cx="507316" cy="507316"/>
            </a:xfrm>
            <a:prstGeom prst="rect">
              <a:avLst/>
            </a:prstGeom>
          </p:spPr>
        </p:pic>
        <p:pic>
          <p:nvPicPr>
            <p:cNvPr id="111" name="Graphic 161" descr="Qr Code with solid fill">
              <a:extLst>
                <a:ext uri="{FF2B5EF4-FFF2-40B4-BE49-F238E27FC236}">
                  <a16:creationId xmlns:a16="http://schemas.microsoft.com/office/drawing/2014/main" id="{2277C71D-DD6B-144C-94B8-E6660E9E996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319941" y="1442688"/>
              <a:ext cx="189413" cy="189413"/>
            </a:xfrm>
            <a:prstGeom prst="rect">
              <a:avLst/>
            </a:prstGeom>
          </p:spPr>
        </p:pic>
      </p:grpSp>
      <p:pic>
        <p:nvPicPr>
          <p:cNvPr id="114" name="Graphic 113">
            <a:extLst>
              <a:ext uri="{FF2B5EF4-FFF2-40B4-BE49-F238E27FC236}">
                <a16:creationId xmlns:a16="http://schemas.microsoft.com/office/drawing/2014/main" id="{F0AE3243-CF96-4035-5052-CBE523B02E6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45785" y="3627269"/>
            <a:ext cx="856102" cy="856102"/>
          </a:xfrm>
          <a:prstGeom prst="rect">
            <a:avLst/>
          </a:prstGeom>
        </p:spPr>
      </p:pic>
      <p:pic>
        <p:nvPicPr>
          <p:cNvPr id="115" name="Graphic 114">
            <a:extLst>
              <a:ext uri="{FF2B5EF4-FFF2-40B4-BE49-F238E27FC236}">
                <a16:creationId xmlns:a16="http://schemas.microsoft.com/office/drawing/2014/main" id="{0381B421-3A77-C27E-CF6C-D9F446DC726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45785" y="4862144"/>
            <a:ext cx="856102" cy="856102"/>
          </a:xfrm>
          <a:prstGeom prst="rect">
            <a:avLst/>
          </a:prstGeom>
        </p:spPr>
      </p:pic>
      <p:sp>
        <p:nvSpPr>
          <p:cNvPr id="116" name="TextBox 115">
            <a:extLst>
              <a:ext uri="{FF2B5EF4-FFF2-40B4-BE49-F238E27FC236}">
                <a16:creationId xmlns:a16="http://schemas.microsoft.com/office/drawing/2014/main" id="{189DD331-3F80-95AF-D329-95228E1E2996}"/>
              </a:ext>
            </a:extLst>
          </p:cNvPr>
          <p:cNvSpPr txBox="1"/>
          <p:nvPr/>
        </p:nvSpPr>
        <p:spPr>
          <a:xfrm>
            <a:off x="8834280" y="5509485"/>
            <a:ext cx="955904" cy="45704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u="none" strike="noStrike" kern="1200" cap="none" spc="0" normalizeH="0" baseline="0">
                <a:ln>
                  <a:noFill/>
                </a:ln>
                <a:solidFill>
                  <a:schemeClr val="bg1"/>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Reuser</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u="none" strike="noStrike" kern="1200" cap="none" spc="0" normalizeH="0" baseline="0">
                <a:ln>
                  <a:noFill/>
                </a:ln>
                <a:solidFill>
                  <a:schemeClr val="bg1"/>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Remanufacturer</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u="none" strike="noStrike" kern="1200" cap="none" spc="0" normalizeH="0" baseline="0">
                <a:ln>
                  <a:noFill/>
                </a:ln>
                <a:solidFill>
                  <a:schemeClr val="bg1"/>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Repurposer</a:t>
            </a:r>
          </a:p>
        </p:txBody>
      </p:sp>
      <p:sp>
        <p:nvSpPr>
          <p:cNvPr id="132" name="TextBox 131">
            <a:extLst>
              <a:ext uri="{FF2B5EF4-FFF2-40B4-BE49-F238E27FC236}">
                <a16:creationId xmlns:a16="http://schemas.microsoft.com/office/drawing/2014/main" id="{46629E69-464E-88CC-97FC-44F727A64D3F}"/>
              </a:ext>
            </a:extLst>
          </p:cNvPr>
          <p:cNvSpPr txBox="1"/>
          <p:nvPr/>
        </p:nvSpPr>
        <p:spPr>
          <a:xfrm>
            <a:off x="1634615" y="3916821"/>
            <a:ext cx="2285705"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chemeClr val="accent1"/>
                </a:solidFill>
                <a:effectLst/>
                <a:uLnTx/>
                <a:uFillTx/>
                <a:latin typeface="Arial" panose="020B0604020202020204"/>
                <a:ea typeface="+mn-ea"/>
                <a:cs typeface="Arial"/>
                <a:sym typeface="Arial"/>
              </a:rPr>
              <a:t>Data Exchange</a:t>
            </a:r>
            <a:endParaRPr kumimoji="0" lang="en-GB" sz="1800" b="0" i="0" u="none" strike="noStrike" kern="1200" cap="none" spc="0" normalizeH="0" baseline="0" noProof="0">
              <a:ln>
                <a:noFill/>
              </a:ln>
              <a:solidFill>
                <a:schemeClr val="accent1"/>
              </a:solidFill>
              <a:effectLst/>
              <a:uLnTx/>
              <a:uFillTx/>
              <a:latin typeface="Arial" panose="020B0604020202020204"/>
              <a:ea typeface="+mn-ea"/>
              <a:cs typeface="Arial"/>
              <a:sym typeface="Arial"/>
            </a:endParaRPr>
          </a:p>
        </p:txBody>
      </p:sp>
      <p:sp>
        <p:nvSpPr>
          <p:cNvPr id="133" name="TextBox 132">
            <a:extLst>
              <a:ext uri="{FF2B5EF4-FFF2-40B4-BE49-F238E27FC236}">
                <a16:creationId xmlns:a16="http://schemas.microsoft.com/office/drawing/2014/main" id="{6587C16F-6A34-B23A-F0FA-76517C9D60F3}"/>
              </a:ext>
            </a:extLst>
          </p:cNvPr>
          <p:cNvSpPr txBox="1"/>
          <p:nvPr/>
        </p:nvSpPr>
        <p:spPr>
          <a:xfrm>
            <a:off x="1634614" y="5151696"/>
            <a:ext cx="2285705"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chemeClr val="accent1"/>
                </a:solidFill>
                <a:effectLst/>
                <a:uLnTx/>
                <a:uFillTx/>
                <a:latin typeface="Arial" panose="020B0604020202020204"/>
                <a:ea typeface="+mn-ea"/>
                <a:cs typeface="Arial"/>
                <a:sym typeface="Arial"/>
              </a:rPr>
              <a:t>Data Collection </a:t>
            </a:r>
            <a:endParaRPr kumimoji="0" lang="en-GB" sz="1800" b="0" i="0" u="none" strike="noStrike" kern="1200" cap="none" spc="0" normalizeH="0" baseline="0" noProof="0">
              <a:ln>
                <a:noFill/>
              </a:ln>
              <a:solidFill>
                <a:schemeClr val="accent1"/>
              </a:solidFill>
              <a:effectLst/>
              <a:uLnTx/>
              <a:uFillTx/>
              <a:latin typeface="Arial" panose="020B0604020202020204"/>
              <a:ea typeface="+mn-ea"/>
              <a:cs typeface="Arial"/>
              <a:sym typeface="Arial"/>
            </a:endParaRPr>
          </a:p>
        </p:txBody>
      </p:sp>
      <p:sp>
        <p:nvSpPr>
          <p:cNvPr id="6" name="Fußzeilenplatzhalter 3">
            <a:extLst>
              <a:ext uri="{FF2B5EF4-FFF2-40B4-BE49-F238E27FC236}">
                <a16:creationId xmlns:a16="http://schemas.microsoft.com/office/drawing/2014/main" id="{0439B506-A8D3-D970-673C-CB66B8C55FFE}"/>
              </a:ext>
            </a:extLst>
          </p:cNvPr>
          <p:cNvSpPr txBox="1">
            <a:spLocks/>
          </p:cNvSpPr>
          <p:nvPr/>
        </p:nvSpPr>
        <p:spPr>
          <a:xfrm>
            <a:off x="1368178" y="6516000"/>
            <a:ext cx="5616000" cy="167933"/>
          </a:xfrm>
          <a:prstGeom prst="rect">
            <a:avLst/>
          </a:prstGeom>
        </p:spPr>
        <p:txBody>
          <a:bodyPr lIns="0" tIns="0" rIns="0" bIns="0"/>
          <a:ls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900">
                <a:latin typeface="Arial" panose="020B0604020202020204"/>
                <a:cs typeface="Arial"/>
              </a:rPr>
              <a:t>|  </a:t>
            </a:r>
            <a:r>
              <a:rPr lang="en-US" sz="900">
                <a:latin typeface="+mj-lt"/>
                <a:cs typeface="Calibri" panose="020F0502020204030204" pitchFamily="34" charset="0"/>
                <a:sym typeface="Calibri" panose="020F0502020204030204" pitchFamily="34" charset="0"/>
              </a:rPr>
              <a:t>Source: </a:t>
            </a:r>
            <a:r>
              <a:rPr lang="en-US" sz="900">
                <a:latin typeface="+mj-lt"/>
                <a:cs typeface="Calibri" panose="020F0502020204030204" pitchFamily="34" charset="0"/>
                <a:sym typeface="Calibri" panose="020F0502020204030204" pitchFamily="34" charset="0"/>
                <a:hlinkClick r:id="rId18">
                  <a:extLst>
                    <a:ext uri="{A12FA001-AC4F-418D-AE19-62706E023703}">
                      <ahyp:hlinkClr xmlns:ahyp="http://schemas.microsoft.com/office/drawing/2018/hyperlinkcolor" val="tx"/>
                    </a:ext>
                  </a:extLst>
                </a:hlinkClick>
              </a:rPr>
              <a:t>https://thebatterypass.eu</a:t>
            </a:r>
            <a:r>
              <a:rPr lang="en-US" sz="900">
                <a:latin typeface="+mj-lt"/>
                <a:cs typeface="Calibri" panose="020F0502020204030204" pitchFamily="34" charset="0"/>
                <a:sym typeface="Calibri" panose="020F0502020204030204" pitchFamily="34" charset="0"/>
              </a:rPr>
              <a:t> </a:t>
            </a:r>
          </a:p>
        </p:txBody>
      </p:sp>
      <p:pic>
        <p:nvPicPr>
          <p:cNvPr id="26" name="object 8">
            <a:extLst>
              <a:ext uri="{FF2B5EF4-FFF2-40B4-BE49-F238E27FC236}">
                <a16:creationId xmlns:a16="http://schemas.microsoft.com/office/drawing/2014/main" id="{D0F7A988-816E-5225-C866-DCE9D911AE65}"/>
              </a:ext>
            </a:extLst>
          </p:cNvPr>
          <p:cNvPicPr/>
          <p:nvPr/>
        </p:nvPicPr>
        <p:blipFill>
          <a:blip r:embed="rId19" cstate="print"/>
          <a:stretch>
            <a:fillRect/>
          </a:stretch>
        </p:blipFill>
        <p:spPr>
          <a:xfrm>
            <a:off x="226800" y="6013170"/>
            <a:ext cx="863921" cy="283182"/>
          </a:xfrm>
          <a:prstGeom prst="rect">
            <a:avLst/>
          </a:prstGeom>
        </p:spPr>
      </p:pic>
    </p:spTree>
    <p:extLst>
      <p:ext uri="{BB962C8B-B14F-4D97-AF65-F5344CB8AC3E}">
        <p14:creationId xmlns:p14="http://schemas.microsoft.com/office/powerpoint/2010/main" val="25836809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93FF9A-69DA-3A56-4AE6-9CDE53AFCC4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8F194EA-B8C7-981B-61D9-86332E57659B}"/>
              </a:ext>
            </a:extLst>
          </p:cNvPr>
          <p:cNvSpPr>
            <a:spLocks noGrp="1"/>
          </p:cNvSpPr>
          <p:nvPr>
            <p:ph type="title"/>
          </p:nvPr>
        </p:nvSpPr>
        <p:spPr/>
        <p:txBody>
          <a:bodyPr/>
          <a:lstStyle/>
          <a:p>
            <a:r>
              <a:rPr lang="en-GB"/>
              <a:t>Lessons Learned from the Battery Pass</a:t>
            </a:r>
            <a:br>
              <a:rPr lang="en-GB"/>
            </a:br>
            <a:endParaRPr lang="en-CH" b="0"/>
          </a:p>
        </p:txBody>
      </p:sp>
      <p:sp>
        <p:nvSpPr>
          <p:cNvPr id="4" name="Date Placeholder 3">
            <a:extLst>
              <a:ext uri="{FF2B5EF4-FFF2-40B4-BE49-F238E27FC236}">
                <a16:creationId xmlns:a16="http://schemas.microsoft.com/office/drawing/2014/main" id="{6FA4DF44-4836-3B1A-166C-533B2D228386}"/>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368FC967-E25B-4DC7-87C0-1C454DF70C3D}"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5" name="Slide Number Placeholder 4">
            <a:extLst>
              <a:ext uri="{FF2B5EF4-FFF2-40B4-BE49-F238E27FC236}">
                <a16:creationId xmlns:a16="http://schemas.microsoft.com/office/drawing/2014/main" id="{141E5813-D1BB-DA82-FBEE-795B55E9763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24</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cxnSp>
        <p:nvCxnSpPr>
          <p:cNvPr id="7" name="Gerader Verbinder 34">
            <a:extLst>
              <a:ext uri="{FF2B5EF4-FFF2-40B4-BE49-F238E27FC236}">
                <a16:creationId xmlns:a16="http://schemas.microsoft.com/office/drawing/2014/main" id="{C597C113-ED8B-649E-F8BF-699A10880314}"/>
              </a:ext>
            </a:extLst>
          </p:cNvPr>
          <p:cNvCxnSpPr>
            <a:cxnSpLocks/>
          </p:cNvCxnSpPr>
          <p:nvPr/>
        </p:nvCxnSpPr>
        <p:spPr>
          <a:xfrm>
            <a:off x="336478" y="3436307"/>
            <a:ext cx="11448000" cy="0"/>
          </a:xfrm>
          <a:prstGeom prst="line">
            <a:avLst/>
          </a:pr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8" name="Verbinder: gekrümmt 52">
            <a:extLst>
              <a:ext uri="{FF2B5EF4-FFF2-40B4-BE49-F238E27FC236}">
                <a16:creationId xmlns:a16="http://schemas.microsoft.com/office/drawing/2014/main" id="{1BCC6526-2F0B-8FDB-30D7-7FC3F7D4FB7F}"/>
              </a:ext>
            </a:extLst>
          </p:cNvPr>
          <p:cNvCxnSpPr>
            <a:cxnSpLocks/>
            <a:stCxn id="17" idx="0"/>
            <a:endCxn id="85" idx="1"/>
          </p:cNvCxnSpPr>
          <p:nvPr/>
        </p:nvCxnSpPr>
        <p:spPr>
          <a:xfrm rot="5400000" flipH="1" flipV="1">
            <a:off x="6337030" y="3458242"/>
            <a:ext cx="2762066" cy="1351124"/>
          </a:xfrm>
          <a:prstGeom prst="curvedConnector2">
            <a:avLst/>
          </a:prstGeom>
          <a:ln w="28575">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 name="Verbinder: gekrümmt 55">
            <a:extLst>
              <a:ext uri="{FF2B5EF4-FFF2-40B4-BE49-F238E27FC236}">
                <a16:creationId xmlns:a16="http://schemas.microsoft.com/office/drawing/2014/main" id="{8D2EA482-A4A5-EB18-043D-70D3B1DE58C0}"/>
              </a:ext>
            </a:extLst>
          </p:cNvPr>
          <p:cNvCxnSpPr>
            <a:cxnSpLocks/>
            <a:stCxn id="16" idx="0"/>
            <a:endCxn id="85" idx="1"/>
          </p:cNvCxnSpPr>
          <p:nvPr/>
        </p:nvCxnSpPr>
        <p:spPr>
          <a:xfrm rot="5400000" flipH="1" flipV="1">
            <a:off x="5811134" y="2932347"/>
            <a:ext cx="2762066" cy="2402915"/>
          </a:xfrm>
          <a:prstGeom prst="curvedConnector2">
            <a:avLst/>
          </a:prstGeom>
          <a:ln>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 name="Verbinder: gekrümmt 58">
            <a:extLst>
              <a:ext uri="{FF2B5EF4-FFF2-40B4-BE49-F238E27FC236}">
                <a16:creationId xmlns:a16="http://schemas.microsoft.com/office/drawing/2014/main" id="{336BA101-217E-AE4E-EFD3-BB723C8BB0EA}"/>
              </a:ext>
            </a:extLst>
          </p:cNvPr>
          <p:cNvCxnSpPr>
            <a:cxnSpLocks/>
            <a:endCxn id="85" idx="1"/>
          </p:cNvCxnSpPr>
          <p:nvPr/>
        </p:nvCxnSpPr>
        <p:spPr>
          <a:xfrm flipV="1">
            <a:off x="4938919" y="2752771"/>
            <a:ext cx="3454706" cy="2762067"/>
          </a:xfrm>
          <a:prstGeom prst="curvedConnector3">
            <a:avLst>
              <a:gd name="adj1" fmla="val 50000"/>
            </a:avLst>
          </a:prstGeom>
          <a:ln>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1" name="Verbinder: gekrümmt 64">
            <a:extLst>
              <a:ext uri="{FF2B5EF4-FFF2-40B4-BE49-F238E27FC236}">
                <a16:creationId xmlns:a16="http://schemas.microsoft.com/office/drawing/2014/main" id="{51418D9C-0FFC-D348-B4A1-C4DA444C4302}"/>
              </a:ext>
            </a:extLst>
          </p:cNvPr>
          <p:cNvCxnSpPr>
            <a:cxnSpLocks/>
            <a:stCxn id="15" idx="0"/>
            <a:endCxn id="85" idx="1"/>
          </p:cNvCxnSpPr>
          <p:nvPr/>
        </p:nvCxnSpPr>
        <p:spPr>
          <a:xfrm rot="5400000" flipH="1" flipV="1">
            <a:off x="4762565" y="1883778"/>
            <a:ext cx="2762066" cy="4500053"/>
          </a:xfrm>
          <a:prstGeom prst="curvedConnector2">
            <a:avLst/>
          </a:prstGeom>
          <a:ln>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2" name="Rectangle 1">
            <a:extLst>
              <a:ext uri="{FF2B5EF4-FFF2-40B4-BE49-F238E27FC236}">
                <a16:creationId xmlns:a16="http://schemas.microsoft.com/office/drawing/2014/main" id="{E9B7546D-28A9-D449-2D5F-1529C442E895}"/>
              </a:ext>
            </a:extLst>
          </p:cNvPr>
          <p:cNvSpPr/>
          <p:nvPr/>
        </p:nvSpPr>
        <p:spPr>
          <a:xfrm>
            <a:off x="3562006" y="4056225"/>
            <a:ext cx="6897493" cy="307777"/>
          </a:xfrm>
          <a:prstGeom prst="rect">
            <a:avLst/>
          </a:prstGeom>
          <a:solidFill>
            <a:srgbClr val="F2F2F2">
              <a:alpha val="63137"/>
            </a:srgbClr>
          </a:solidFill>
          <a:ln w="6350">
            <a:solidFill>
              <a:schemeClr val="accent6">
                <a:lumMod val="40000"/>
                <a:lumOff val="60000"/>
              </a:schemeClr>
            </a:solidFill>
            <a:prstDash val="dashDot"/>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GB" sz="1400">
                <a:solidFill>
                  <a:schemeClr val="tx1">
                    <a:lumMod val="65000"/>
                    <a:lumOff val="35000"/>
                  </a:schemeClr>
                </a:solidFill>
                <a:latin typeface="Arial" panose="020B0604020202020204"/>
                <a:cs typeface="Arial"/>
                <a:sym typeface="Arial"/>
              </a:rPr>
              <a:t>        </a:t>
            </a:r>
            <a:r>
              <a:rPr kumimoji="0" lang="en-GB" sz="1400" b="0" i="0" u="none" strike="noStrike" kern="1200" cap="none" spc="0" normalizeH="0" baseline="0" noProof="0">
                <a:ln>
                  <a:noFill/>
                </a:ln>
                <a:solidFill>
                  <a:schemeClr val="tx1">
                    <a:lumMod val="65000"/>
                    <a:lumOff val="35000"/>
                  </a:schemeClr>
                </a:solidFill>
                <a:effectLst/>
                <a:uLnTx/>
                <a:uFillTx/>
                <a:latin typeface="Arial" panose="020B0604020202020204"/>
                <a:ea typeface="+mn-ea"/>
                <a:cs typeface="Arial"/>
                <a:sym typeface="Arial"/>
              </a:rPr>
              <a:t>Optional supportive systems </a:t>
            </a:r>
            <a:r>
              <a:rPr kumimoji="0" lang="en-GB" sz="1100" b="0" i="0" u="none" strike="noStrike" kern="1200" cap="none" spc="0" normalizeH="0" baseline="0" noProof="0">
                <a:ln>
                  <a:noFill/>
                </a:ln>
                <a:solidFill>
                  <a:schemeClr val="tx1">
                    <a:lumMod val="65000"/>
                    <a:lumOff val="35000"/>
                  </a:schemeClr>
                </a:solidFill>
                <a:effectLst/>
                <a:uLnTx/>
                <a:uFillTx/>
                <a:latin typeface="Arial" panose="020B0604020202020204"/>
                <a:ea typeface="+mn-ea"/>
                <a:cs typeface="Arial"/>
                <a:sym typeface="Arial"/>
              </a:rPr>
              <a:t>(e.g., traceability systems, IMDS)</a:t>
            </a:r>
          </a:p>
        </p:txBody>
      </p:sp>
      <p:sp>
        <p:nvSpPr>
          <p:cNvPr id="13" name="Arrow: Pentagon 16">
            <a:extLst>
              <a:ext uri="{FF2B5EF4-FFF2-40B4-BE49-F238E27FC236}">
                <a16:creationId xmlns:a16="http://schemas.microsoft.com/office/drawing/2014/main" id="{CCB80EA5-823F-6569-ADF8-7DC87969C25B}"/>
              </a:ext>
            </a:extLst>
          </p:cNvPr>
          <p:cNvSpPr/>
          <p:nvPr/>
        </p:nvSpPr>
        <p:spPr>
          <a:xfrm>
            <a:off x="1303764" y="5514837"/>
            <a:ext cx="1206452" cy="46800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Miner</a:t>
            </a:r>
          </a:p>
        </p:txBody>
      </p:sp>
      <p:sp>
        <p:nvSpPr>
          <p:cNvPr id="14" name="Arrow: Chevron 17">
            <a:extLst>
              <a:ext uri="{FF2B5EF4-FFF2-40B4-BE49-F238E27FC236}">
                <a16:creationId xmlns:a16="http://schemas.microsoft.com/office/drawing/2014/main" id="{2633EF8B-FFB8-D88C-4D24-78B5068C577A}"/>
              </a:ext>
            </a:extLst>
          </p:cNvPr>
          <p:cNvSpPr/>
          <p:nvPr/>
        </p:nvSpPr>
        <p:spPr>
          <a:xfrm>
            <a:off x="2355555" y="5514837"/>
            <a:ext cx="1206452" cy="46800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Refiner</a:t>
            </a:r>
          </a:p>
        </p:txBody>
      </p:sp>
      <p:sp>
        <p:nvSpPr>
          <p:cNvPr id="15" name="Arrow: Chevron 18">
            <a:extLst>
              <a:ext uri="{FF2B5EF4-FFF2-40B4-BE49-F238E27FC236}">
                <a16:creationId xmlns:a16="http://schemas.microsoft.com/office/drawing/2014/main" id="{25AE6181-03F9-FC8B-369F-B7F176EF3EF4}"/>
              </a:ext>
            </a:extLst>
          </p:cNvPr>
          <p:cNvSpPr/>
          <p:nvPr/>
        </p:nvSpPr>
        <p:spPr>
          <a:xfrm>
            <a:off x="3407346" y="5514837"/>
            <a:ext cx="1206452" cy="46800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Precursor and CAM producer</a:t>
            </a:r>
          </a:p>
        </p:txBody>
      </p:sp>
      <p:sp>
        <p:nvSpPr>
          <p:cNvPr id="16" name="Arrow: Chevron 21">
            <a:extLst>
              <a:ext uri="{FF2B5EF4-FFF2-40B4-BE49-F238E27FC236}">
                <a16:creationId xmlns:a16="http://schemas.microsoft.com/office/drawing/2014/main" id="{83EDBE30-A63B-EB5D-3226-A3AA27F2B3F2}"/>
              </a:ext>
            </a:extLst>
          </p:cNvPr>
          <p:cNvSpPr/>
          <p:nvPr/>
        </p:nvSpPr>
        <p:spPr>
          <a:xfrm>
            <a:off x="5504484" y="5514837"/>
            <a:ext cx="1206452" cy="46800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Pack producer</a:t>
            </a:r>
          </a:p>
        </p:txBody>
      </p:sp>
      <p:sp>
        <p:nvSpPr>
          <p:cNvPr id="17" name="Arrow: Chevron 22">
            <a:extLst>
              <a:ext uri="{FF2B5EF4-FFF2-40B4-BE49-F238E27FC236}">
                <a16:creationId xmlns:a16="http://schemas.microsoft.com/office/drawing/2014/main" id="{9B21B77B-E221-11C1-D3A1-996E6F70940F}"/>
              </a:ext>
            </a:extLst>
          </p:cNvPr>
          <p:cNvSpPr/>
          <p:nvPr/>
        </p:nvSpPr>
        <p:spPr>
          <a:xfrm>
            <a:off x="6556275" y="5514837"/>
            <a:ext cx="1206452" cy="468000"/>
          </a:xfrm>
          <a:prstGeom prst="chevron">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OEM</a:t>
            </a:r>
          </a:p>
        </p:txBody>
      </p:sp>
      <p:sp>
        <p:nvSpPr>
          <p:cNvPr id="18" name="Arrow: Chevron 23">
            <a:extLst>
              <a:ext uri="{FF2B5EF4-FFF2-40B4-BE49-F238E27FC236}">
                <a16:creationId xmlns:a16="http://schemas.microsoft.com/office/drawing/2014/main" id="{10623611-D455-7319-C8DA-58152226DDB4}"/>
              </a:ext>
            </a:extLst>
          </p:cNvPr>
          <p:cNvSpPr/>
          <p:nvPr/>
        </p:nvSpPr>
        <p:spPr>
          <a:xfrm>
            <a:off x="9687900" y="5514837"/>
            <a:ext cx="1206452" cy="468000"/>
          </a:xfrm>
          <a:prstGeom prst="chevr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Collect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Dismantler</a:t>
            </a:r>
          </a:p>
        </p:txBody>
      </p:sp>
      <p:sp>
        <p:nvSpPr>
          <p:cNvPr id="19" name="Arrow: Chevron 23">
            <a:extLst>
              <a:ext uri="{FF2B5EF4-FFF2-40B4-BE49-F238E27FC236}">
                <a16:creationId xmlns:a16="http://schemas.microsoft.com/office/drawing/2014/main" id="{B3F30242-E1E3-5E89-004F-0AEB611B90B8}"/>
              </a:ext>
            </a:extLst>
          </p:cNvPr>
          <p:cNvSpPr/>
          <p:nvPr/>
        </p:nvSpPr>
        <p:spPr>
          <a:xfrm>
            <a:off x="8643116" y="5514837"/>
            <a:ext cx="1206452" cy="468000"/>
          </a:xfrm>
          <a:prstGeom prst="chevr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u="none" strike="noStrike" kern="1200" cap="none" spc="0" normalizeH="0" baseline="0" noProof="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endParaRPr>
          </a:p>
        </p:txBody>
      </p:sp>
      <p:cxnSp>
        <p:nvCxnSpPr>
          <p:cNvPr id="20" name="Verbinder: gekrümmt 25">
            <a:extLst>
              <a:ext uri="{FF2B5EF4-FFF2-40B4-BE49-F238E27FC236}">
                <a16:creationId xmlns:a16="http://schemas.microsoft.com/office/drawing/2014/main" id="{BD656D2E-064D-E7F7-81CC-122CC80D2578}"/>
              </a:ext>
            </a:extLst>
          </p:cNvPr>
          <p:cNvCxnSpPr>
            <a:cxnSpLocks/>
          </p:cNvCxnSpPr>
          <p:nvPr/>
        </p:nvCxnSpPr>
        <p:spPr>
          <a:xfrm rot="16200000" flipH="1">
            <a:off x="2344407" y="4931672"/>
            <a:ext cx="75" cy="1094857"/>
          </a:xfrm>
          <a:prstGeom prst="curvedConnector3">
            <a:avLst>
              <a:gd name="adj1" fmla="val -419246667"/>
            </a:avLst>
          </a:prstGeom>
          <a:ln w="28575">
            <a:solidFill>
              <a:schemeClr val="accent4">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1" name="Verbinder: gekrümmt 27">
            <a:extLst>
              <a:ext uri="{FF2B5EF4-FFF2-40B4-BE49-F238E27FC236}">
                <a16:creationId xmlns:a16="http://schemas.microsoft.com/office/drawing/2014/main" id="{850C4C0D-2BFD-6ADD-1467-D9CAE54BB93D}"/>
              </a:ext>
            </a:extLst>
          </p:cNvPr>
          <p:cNvCxnSpPr>
            <a:cxnSpLocks/>
          </p:cNvCxnSpPr>
          <p:nvPr/>
        </p:nvCxnSpPr>
        <p:spPr>
          <a:xfrm rot="5400000" flipH="1" flipV="1">
            <a:off x="3407834" y="4963178"/>
            <a:ext cx="75" cy="1031996"/>
          </a:xfrm>
          <a:prstGeom prst="curvedConnector3">
            <a:avLst>
              <a:gd name="adj1" fmla="val 419788000"/>
            </a:avLst>
          </a:prstGeom>
          <a:ln w="28575">
            <a:solidFill>
              <a:schemeClr val="accent4">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2" name="Verbinder: gekrümmt 32">
            <a:extLst>
              <a:ext uri="{FF2B5EF4-FFF2-40B4-BE49-F238E27FC236}">
                <a16:creationId xmlns:a16="http://schemas.microsoft.com/office/drawing/2014/main" id="{C226E4F7-4657-F6C2-0FCA-E56FDD12F11C}"/>
              </a:ext>
            </a:extLst>
          </p:cNvPr>
          <p:cNvCxnSpPr>
            <a:cxnSpLocks/>
          </p:cNvCxnSpPr>
          <p:nvPr/>
        </p:nvCxnSpPr>
        <p:spPr>
          <a:xfrm rot="5400000" flipH="1" flipV="1">
            <a:off x="4452938" y="4950068"/>
            <a:ext cx="12700" cy="1058140"/>
          </a:xfrm>
          <a:prstGeom prst="curvedConnector3">
            <a:avLst>
              <a:gd name="adj1" fmla="val 2619764"/>
            </a:avLst>
          </a:prstGeom>
          <a:ln w="28575">
            <a:solidFill>
              <a:schemeClr val="accent4">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3" name="Verbinder: gekrümmt 35">
            <a:extLst>
              <a:ext uri="{FF2B5EF4-FFF2-40B4-BE49-F238E27FC236}">
                <a16:creationId xmlns:a16="http://schemas.microsoft.com/office/drawing/2014/main" id="{3FF18DA4-EAEF-3B5C-4970-33F2F7AC252F}"/>
              </a:ext>
            </a:extLst>
          </p:cNvPr>
          <p:cNvCxnSpPr>
            <a:cxnSpLocks/>
          </p:cNvCxnSpPr>
          <p:nvPr/>
        </p:nvCxnSpPr>
        <p:spPr>
          <a:xfrm rot="5400000" flipH="1" flipV="1">
            <a:off x="5505562" y="4955584"/>
            <a:ext cx="12700" cy="1047108"/>
          </a:xfrm>
          <a:prstGeom prst="curvedConnector3">
            <a:avLst>
              <a:gd name="adj1" fmla="val 2579654"/>
            </a:avLst>
          </a:prstGeom>
          <a:ln w="28575">
            <a:solidFill>
              <a:schemeClr val="accent4">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4" name="Verbinder: gekrümmt 49">
            <a:extLst>
              <a:ext uri="{FF2B5EF4-FFF2-40B4-BE49-F238E27FC236}">
                <a16:creationId xmlns:a16="http://schemas.microsoft.com/office/drawing/2014/main" id="{B0E5CB93-3CAB-282F-6FAC-C4606BA44AD0}"/>
              </a:ext>
            </a:extLst>
          </p:cNvPr>
          <p:cNvCxnSpPr>
            <a:cxnSpLocks/>
          </p:cNvCxnSpPr>
          <p:nvPr/>
        </p:nvCxnSpPr>
        <p:spPr>
          <a:xfrm rot="16200000" flipH="1">
            <a:off x="6550017" y="4950643"/>
            <a:ext cx="6350" cy="1050640"/>
          </a:xfrm>
          <a:prstGeom prst="curvedConnector3">
            <a:avLst>
              <a:gd name="adj1" fmla="val -5061622"/>
            </a:avLst>
          </a:prstGeom>
          <a:ln w="28575">
            <a:solidFill>
              <a:schemeClr val="accent4">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5" name="Arrow: Chevron 23">
            <a:extLst>
              <a:ext uri="{FF2B5EF4-FFF2-40B4-BE49-F238E27FC236}">
                <a16:creationId xmlns:a16="http://schemas.microsoft.com/office/drawing/2014/main" id="{31074C99-C088-2315-4D32-282F6F64896C}"/>
              </a:ext>
            </a:extLst>
          </p:cNvPr>
          <p:cNvSpPr/>
          <p:nvPr/>
        </p:nvSpPr>
        <p:spPr>
          <a:xfrm>
            <a:off x="7601059" y="5514837"/>
            <a:ext cx="1206452" cy="468000"/>
          </a:xfrm>
          <a:prstGeom prst="chevr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End-user</a:t>
            </a:r>
          </a:p>
        </p:txBody>
      </p:sp>
      <p:cxnSp>
        <p:nvCxnSpPr>
          <p:cNvPr id="26" name="Verbinder: gekrümmt 94">
            <a:extLst>
              <a:ext uri="{FF2B5EF4-FFF2-40B4-BE49-F238E27FC236}">
                <a16:creationId xmlns:a16="http://schemas.microsoft.com/office/drawing/2014/main" id="{5E3800D9-6368-9AB7-3C0D-7E04617BD713}"/>
              </a:ext>
            </a:extLst>
          </p:cNvPr>
          <p:cNvCxnSpPr>
            <a:cxnSpLocks/>
            <a:stCxn id="25" idx="0"/>
            <a:endCxn id="85" idx="2"/>
          </p:cNvCxnSpPr>
          <p:nvPr/>
        </p:nvCxnSpPr>
        <p:spPr>
          <a:xfrm rot="5400000" flipH="1" flipV="1">
            <a:off x="7726164" y="3400996"/>
            <a:ext cx="2474963" cy="1752721"/>
          </a:xfrm>
          <a:prstGeom prst="curvedConnector3">
            <a:avLst>
              <a:gd name="adj1" fmla="val 50000"/>
            </a:avLst>
          </a:prstGeom>
          <a:ln w="28575">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7" name="Verbinder: gekrümmt 97">
            <a:extLst>
              <a:ext uri="{FF2B5EF4-FFF2-40B4-BE49-F238E27FC236}">
                <a16:creationId xmlns:a16="http://schemas.microsoft.com/office/drawing/2014/main" id="{701727BE-4A22-6FFA-AF69-AB6DCE5EBD78}"/>
              </a:ext>
            </a:extLst>
          </p:cNvPr>
          <p:cNvCxnSpPr>
            <a:cxnSpLocks/>
            <a:stCxn id="87" idx="0"/>
            <a:endCxn id="85" idx="2"/>
          </p:cNvCxnSpPr>
          <p:nvPr/>
        </p:nvCxnSpPr>
        <p:spPr>
          <a:xfrm rot="16200000" flipV="1">
            <a:off x="9290614" y="3589267"/>
            <a:ext cx="2474963" cy="1376177"/>
          </a:xfrm>
          <a:prstGeom prst="curvedConnector3">
            <a:avLst>
              <a:gd name="adj1" fmla="val 50000"/>
            </a:avLst>
          </a:prstGeom>
          <a:ln w="28575">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8" name="Verbinder: gekrümmt 71">
            <a:extLst>
              <a:ext uri="{FF2B5EF4-FFF2-40B4-BE49-F238E27FC236}">
                <a16:creationId xmlns:a16="http://schemas.microsoft.com/office/drawing/2014/main" id="{C2F49122-F1F8-97A3-B915-7C33C3C40876}"/>
              </a:ext>
            </a:extLst>
          </p:cNvPr>
          <p:cNvCxnSpPr>
            <a:cxnSpLocks/>
          </p:cNvCxnSpPr>
          <p:nvPr/>
        </p:nvCxnSpPr>
        <p:spPr>
          <a:xfrm rot="5400000" flipH="1" flipV="1">
            <a:off x="3759878" y="853175"/>
            <a:ext cx="2719691" cy="6603635"/>
          </a:xfrm>
          <a:prstGeom prst="curvedConnector2">
            <a:avLst/>
          </a:prstGeom>
          <a:ln>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85" name="Rectangle 1">
            <a:extLst>
              <a:ext uri="{FF2B5EF4-FFF2-40B4-BE49-F238E27FC236}">
                <a16:creationId xmlns:a16="http://schemas.microsoft.com/office/drawing/2014/main" id="{DD42585F-5669-D56A-E929-F0608C268193}"/>
              </a:ext>
            </a:extLst>
          </p:cNvPr>
          <p:cNvSpPr/>
          <p:nvPr/>
        </p:nvSpPr>
        <p:spPr>
          <a:xfrm>
            <a:off x="8393625" y="2465667"/>
            <a:ext cx="2892761" cy="574207"/>
          </a:xfrm>
          <a:prstGeom prst="rect">
            <a:avLst/>
          </a:prstGeom>
          <a:solidFill>
            <a:schemeClr val="bg1">
              <a:lumMod val="9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accent1"/>
                </a:solidFill>
                <a:effectLst/>
                <a:uLnTx/>
                <a:uFillTx/>
                <a:latin typeface="Arial" panose="020B0604020202020204"/>
                <a:ea typeface="+mn-ea"/>
                <a:cs typeface="Arial"/>
                <a:sym typeface="Arial"/>
              </a:rPr>
              <a:t>Economic operators’    back-end systems </a:t>
            </a:r>
            <a:br>
              <a:rPr kumimoji="0" lang="en-GB" sz="1600" b="0" i="0" u="none" strike="noStrike" kern="1200" cap="none" spc="0" normalizeH="0" baseline="0" noProof="0">
                <a:ln>
                  <a:noFill/>
                </a:ln>
                <a:solidFill>
                  <a:schemeClr val="accent1"/>
                </a:solidFill>
                <a:effectLst/>
                <a:uLnTx/>
                <a:uFillTx/>
                <a:latin typeface="Arial" panose="020B0604020202020204"/>
                <a:ea typeface="+mn-ea"/>
                <a:cs typeface="Arial"/>
                <a:sym typeface="Arial"/>
              </a:rPr>
            </a:br>
            <a:endParaRPr kumimoji="0" lang="en-GB" sz="1600" b="0" i="0" u="none" strike="noStrike" kern="1200" cap="none" spc="0" normalizeH="0" baseline="0" noProof="0">
              <a:ln>
                <a:noFill/>
              </a:ln>
              <a:solidFill>
                <a:schemeClr val="accent1"/>
              </a:solidFill>
              <a:effectLst/>
              <a:uLnTx/>
              <a:uFillTx/>
              <a:latin typeface="Arial" panose="020B0604020202020204"/>
              <a:ea typeface="+mn-ea"/>
              <a:cs typeface="Arial"/>
              <a:sym typeface="Arial"/>
            </a:endParaRPr>
          </a:p>
        </p:txBody>
      </p:sp>
      <p:cxnSp>
        <p:nvCxnSpPr>
          <p:cNvPr id="86" name="Verbinder: gekrümmt 64">
            <a:extLst>
              <a:ext uri="{FF2B5EF4-FFF2-40B4-BE49-F238E27FC236}">
                <a16:creationId xmlns:a16="http://schemas.microsoft.com/office/drawing/2014/main" id="{23A59731-EF04-38D1-D167-13044517B319}"/>
              </a:ext>
            </a:extLst>
          </p:cNvPr>
          <p:cNvCxnSpPr>
            <a:cxnSpLocks/>
          </p:cNvCxnSpPr>
          <p:nvPr/>
        </p:nvCxnSpPr>
        <p:spPr>
          <a:xfrm rot="5400000" flipH="1" flipV="1">
            <a:off x="4285774" y="1379070"/>
            <a:ext cx="2719691" cy="5551844"/>
          </a:xfrm>
          <a:prstGeom prst="curvedConnector2">
            <a:avLst/>
          </a:prstGeom>
          <a:ln>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87" name="Arrow: Chevron 23">
            <a:extLst>
              <a:ext uri="{FF2B5EF4-FFF2-40B4-BE49-F238E27FC236}">
                <a16:creationId xmlns:a16="http://schemas.microsoft.com/office/drawing/2014/main" id="{28C658C3-0900-1267-BD2E-13AB0D96516D}"/>
              </a:ext>
            </a:extLst>
          </p:cNvPr>
          <p:cNvSpPr/>
          <p:nvPr/>
        </p:nvSpPr>
        <p:spPr>
          <a:xfrm>
            <a:off x="10729957" y="5514837"/>
            <a:ext cx="1206452" cy="468000"/>
          </a:xfrm>
          <a:prstGeom prst="chevr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Recycler</a:t>
            </a:r>
          </a:p>
        </p:txBody>
      </p:sp>
      <p:cxnSp>
        <p:nvCxnSpPr>
          <p:cNvPr id="88" name="Verbinder: gekrümmt 94">
            <a:extLst>
              <a:ext uri="{FF2B5EF4-FFF2-40B4-BE49-F238E27FC236}">
                <a16:creationId xmlns:a16="http://schemas.microsoft.com/office/drawing/2014/main" id="{C9F2F483-33A7-B2FC-44B9-CC6A9702E564}"/>
              </a:ext>
            </a:extLst>
          </p:cNvPr>
          <p:cNvCxnSpPr>
            <a:cxnSpLocks/>
            <a:stCxn id="19" idx="0"/>
            <a:endCxn id="85" idx="2"/>
          </p:cNvCxnSpPr>
          <p:nvPr/>
        </p:nvCxnSpPr>
        <p:spPr>
          <a:xfrm rot="5400000" flipH="1" flipV="1">
            <a:off x="8247193" y="3922024"/>
            <a:ext cx="2474963" cy="710664"/>
          </a:xfrm>
          <a:prstGeom prst="curvedConnector3">
            <a:avLst>
              <a:gd name="adj1" fmla="val 50000"/>
            </a:avLst>
          </a:prstGeom>
          <a:ln w="28575">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9" name="Verbinder: gekrümmt 97">
            <a:extLst>
              <a:ext uri="{FF2B5EF4-FFF2-40B4-BE49-F238E27FC236}">
                <a16:creationId xmlns:a16="http://schemas.microsoft.com/office/drawing/2014/main" id="{5208785D-1879-0BCB-28D4-36CEEE219730}"/>
              </a:ext>
            </a:extLst>
          </p:cNvPr>
          <p:cNvCxnSpPr>
            <a:cxnSpLocks/>
            <a:stCxn id="18" idx="0"/>
            <a:endCxn id="85" idx="2"/>
          </p:cNvCxnSpPr>
          <p:nvPr/>
        </p:nvCxnSpPr>
        <p:spPr>
          <a:xfrm rot="16200000" flipV="1">
            <a:off x="8769585" y="4110296"/>
            <a:ext cx="2474963" cy="334120"/>
          </a:xfrm>
          <a:prstGeom prst="curvedConnector3">
            <a:avLst>
              <a:gd name="adj1" fmla="val 50000"/>
            </a:avLst>
          </a:prstGeom>
          <a:ln w="28575">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0" name="Textfeld 36">
            <a:extLst>
              <a:ext uri="{FF2B5EF4-FFF2-40B4-BE49-F238E27FC236}">
                <a16:creationId xmlns:a16="http://schemas.microsoft.com/office/drawing/2014/main" id="{104EE605-396E-A47A-FE54-9ED12AD18C20}"/>
              </a:ext>
            </a:extLst>
          </p:cNvPr>
          <p:cNvSpPr txBox="1"/>
          <p:nvPr/>
        </p:nvSpPr>
        <p:spPr>
          <a:xfrm rot="20919649">
            <a:off x="3174590" y="2845989"/>
            <a:ext cx="5742556" cy="1102308"/>
          </a:xfrm>
          <a:prstGeom prst="rect">
            <a:avLst/>
          </a:prstGeom>
          <a:noFill/>
        </p:spPr>
        <p:txBody>
          <a:bodyPr wrap="square" rtlCol="0">
            <a:prstTxWarp prst="textArchUp">
              <a:avLst>
                <a:gd name="adj" fmla="val 11631323"/>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GB" sz="1000" b="0" i="0" u="none" strike="noStrike" kern="1200" cap="none" spc="0" normalizeH="0" baseline="0" noProof="0">
                <a:ln>
                  <a:noFill/>
                </a:ln>
                <a:solidFill>
                  <a:schemeClr val="accent1"/>
                </a:solidFill>
                <a:effectLst/>
                <a:uLnTx/>
                <a:uFillTx/>
                <a:latin typeface="Arial" panose="020B0604020202020204"/>
                <a:ea typeface="+mn-ea"/>
                <a:cs typeface="Arial"/>
                <a:sym typeface="Arial"/>
              </a:rPr>
            </a:br>
            <a:r>
              <a:rPr kumimoji="0" lang="en-GB" sz="900" b="0" i="0" u="none" strike="noStrike" kern="1200" cap="none" spc="0" normalizeH="0" baseline="0" noProof="0">
                <a:ln>
                  <a:noFill/>
                </a:ln>
                <a:solidFill>
                  <a:schemeClr val="accent1"/>
                </a:solidFill>
                <a:effectLst/>
                <a:uLnTx/>
                <a:uFillTx/>
                <a:latin typeface="Arial" panose="020B0604020202020204"/>
                <a:ea typeface="+mn-ea"/>
                <a:cs typeface="Arial"/>
                <a:sym typeface="Arial"/>
              </a:rPr>
              <a:t>Direct reporting for aggregation in economic operator’s back-end system(s)</a:t>
            </a:r>
            <a:endParaRPr kumimoji="0" lang="en-GB" sz="1000" b="0" i="0" u="none" strike="noStrike" kern="1200" cap="none" spc="0" normalizeH="0" baseline="0" noProof="0">
              <a:ln>
                <a:noFill/>
              </a:ln>
              <a:solidFill>
                <a:schemeClr val="accent1"/>
              </a:solidFill>
              <a:effectLst/>
              <a:uLnTx/>
              <a:uFillTx/>
              <a:latin typeface="Arial" panose="020B0604020202020204"/>
              <a:ea typeface="+mn-ea"/>
              <a:cs typeface="Arial"/>
              <a:sym typeface="Arial"/>
            </a:endParaRPr>
          </a:p>
        </p:txBody>
      </p:sp>
      <p:cxnSp>
        <p:nvCxnSpPr>
          <p:cNvPr id="92" name="Gerader Verbinder 34">
            <a:extLst>
              <a:ext uri="{FF2B5EF4-FFF2-40B4-BE49-F238E27FC236}">
                <a16:creationId xmlns:a16="http://schemas.microsoft.com/office/drawing/2014/main" id="{096146D4-33B8-505D-E62C-AE0EB0CAFDF2}"/>
              </a:ext>
            </a:extLst>
          </p:cNvPr>
          <p:cNvCxnSpPr>
            <a:cxnSpLocks/>
          </p:cNvCxnSpPr>
          <p:nvPr/>
        </p:nvCxnSpPr>
        <p:spPr>
          <a:xfrm>
            <a:off x="303872" y="4662112"/>
            <a:ext cx="11448000" cy="0"/>
          </a:xfrm>
          <a:prstGeom prst="line">
            <a:avLst/>
          </a:pr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93" name="Gerader Verbinder 34">
            <a:extLst>
              <a:ext uri="{FF2B5EF4-FFF2-40B4-BE49-F238E27FC236}">
                <a16:creationId xmlns:a16="http://schemas.microsoft.com/office/drawing/2014/main" id="{EF7F2530-CFF9-B834-4543-E9A86DB6D3FA}"/>
              </a:ext>
            </a:extLst>
          </p:cNvPr>
          <p:cNvCxnSpPr>
            <a:cxnSpLocks/>
          </p:cNvCxnSpPr>
          <p:nvPr/>
        </p:nvCxnSpPr>
        <p:spPr>
          <a:xfrm>
            <a:off x="306894" y="2292206"/>
            <a:ext cx="11448000" cy="0"/>
          </a:xfrm>
          <a:prstGeom prst="line">
            <a:avLst/>
          </a:pr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95" name="Verbinder: gekrümmt 98">
            <a:extLst>
              <a:ext uri="{FF2B5EF4-FFF2-40B4-BE49-F238E27FC236}">
                <a16:creationId xmlns:a16="http://schemas.microsoft.com/office/drawing/2014/main" id="{BEAE33C0-A3B7-81C6-A6D6-EE0D1A413158}"/>
              </a:ext>
            </a:extLst>
          </p:cNvPr>
          <p:cNvCxnSpPr>
            <a:cxnSpLocks/>
          </p:cNvCxnSpPr>
          <p:nvPr/>
        </p:nvCxnSpPr>
        <p:spPr>
          <a:xfrm rot="5400000" flipH="1" flipV="1">
            <a:off x="9638395" y="2377383"/>
            <a:ext cx="346070" cy="1"/>
          </a:xfrm>
          <a:prstGeom prst="curvedConnector3">
            <a:avLst>
              <a:gd name="adj1" fmla="val 50000"/>
            </a:avLst>
          </a:prstGeom>
          <a:ln w="28575">
            <a:solidFill>
              <a:schemeClr val="accent5"/>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74591216-E59C-08E0-8D94-B29A53CD79F0}"/>
              </a:ext>
            </a:extLst>
          </p:cNvPr>
          <p:cNvSpPr txBox="1"/>
          <p:nvPr/>
        </p:nvSpPr>
        <p:spPr>
          <a:xfrm>
            <a:off x="7117369" y="1741180"/>
            <a:ext cx="2539328" cy="430887"/>
          </a:xfrm>
          <a:prstGeom prst="rect">
            <a:avLst/>
          </a:prstGeom>
          <a:solidFill>
            <a:schemeClr val="bg1"/>
          </a:solidFill>
        </p:spPr>
        <p:txBody>
          <a:bodyPr wrap="square" tIns="0" rIns="36000" bIns="0">
            <a:spAutoFit/>
          </a:bodyPr>
          <a:lstStyle/>
          <a:p>
            <a:pPr lvl="0" algn="r">
              <a:defRPr/>
            </a:pPr>
            <a:r>
              <a:rPr kumimoji="0" lang="en-GB" sz="1400" b="1" i="0" u="none" strike="noStrike" kern="1200" cap="none" spc="0" normalizeH="0" baseline="0" noProof="0">
                <a:ln>
                  <a:noFill/>
                </a:ln>
                <a:solidFill>
                  <a:schemeClr val="accent1"/>
                </a:solidFill>
                <a:effectLst/>
                <a:uLnTx/>
                <a:uFillTx/>
                <a:latin typeface="Arial" panose="020B0604020202020204"/>
                <a:ea typeface="+mn-ea"/>
                <a:cs typeface="Arial"/>
                <a:sym typeface="Arial"/>
              </a:rPr>
              <a:t>Battery Passport Systems </a:t>
            </a:r>
            <a:br>
              <a:rPr kumimoji="0" lang="en-GB" sz="1400" b="1" i="0" u="none" strike="noStrike" kern="1200" cap="none" spc="0" normalizeH="0" baseline="0" noProof="0">
                <a:ln>
                  <a:noFill/>
                </a:ln>
                <a:solidFill>
                  <a:schemeClr val="accent1"/>
                </a:solidFill>
                <a:effectLst/>
                <a:uLnTx/>
                <a:uFillTx/>
                <a:latin typeface="Arial" panose="020B0604020202020204"/>
                <a:ea typeface="+mn-ea"/>
                <a:cs typeface="Arial"/>
                <a:sym typeface="Arial"/>
              </a:rPr>
            </a:br>
            <a:endParaRPr kumimoji="0" lang="en-GB" sz="1400" b="0" i="0" u="none" strike="noStrike" kern="1200" cap="none" spc="0" normalizeH="0" baseline="0" noProof="0">
              <a:ln>
                <a:noFill/>
              </a:ln>
              <a:solidFill>
                <a:schemeClr val="accent1"/>
              </a:solidFill>
              <a:effectLst/>
              <a:uLnTx/>
              <a:uFillTx/>
              <a:latin typeface="Arial" panose="020B0604020202020204"/>
              <a:ea typeface="+mn-ea"/>
              <a:cs typeface="Arial"/>
              <a:sym typeface="Arial"/>
            </a:endParaRPr>
          </a:p>
        </p:txBody>
      </p:sp>
      <p:grpSp>
        <p:nvGrpSpPr>
          <p:cNvPr id="101" name="Group 100">
            <a:extLst>
              <a:ext uri="{FF2B5EF4-FFF2-40B4-BE49-F238E27FC236}">
                <a16:creationId xmlns:a16="http://schemas.microsoft.com/office/drawing/2014/main" id="{BD0F518F-5FAC-6DE6-FEAB-57B29EC9D727}"/>
              </a:ext>
            </a:extLst>
          </p:cNvPr>
          <p:cNvGrpSpPr/>
          <p:nvPr/>
        </p:nvGrpSpPr>
        <p:grpSpPr>
          <a:xfrm>
            <a:off x="8258175" y="1165708"/>
            <a:ext cx="507316" cy="507316"/>
            <a:chOff x="8156575" y="1264599"/>
            <a:chExt cx="507316" cy="507316"/>
          </a:xfrm>
          <a:solidFill>
            <a:schemeClr val="accent1"/>
          </a:solidFill>
        </p:grpSpPr>
        <p:pic>
          <p:nvPicPr>
            <p:cNvPr id="102" name="Graphic 101" descr="Smart Phone with solid fill">
              <a:extLst>
                <a:ext uri="{FF2B5EF4-FFF2-40B4-BE49-F238E27FC236}">
                  <a16:creationId xmlns:a16="http://schemas.microsoft.com/office/drawing/2014/main" id="{ED36279D-AE19-D25A-3D21-7039D7D6731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56575" y="1264599"/>
              <a:ext cx="507316" cy="507316"/>
            </a:xfrm>
            <a:prstGeom prst="rect">
              <a:avLst/>
            </a:prstGeom>
          </p:spPr>
        </p:pic>
        <p:pic>
          <p:nvPicPr>
            <p:cNvPr id="103" name="Graphic 102" descr="Qr Code with solid fill">
              <a:extLst>
                <a:ext uri="{FF2B5EF4-FFF2-40B4-BE49-F238E27FC236}">
                  <a16:creationId xmlns:a16="http://schemas.microsoft.com/office/drawing/2014/main" id="{C3EA6A9C-419E-F656-C81C-8EEF8B99BF1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19941" y="1442688"/>
              <a:ext cx="189413" cy="189413"/>
            </a:xfrm>
            <a:prstGeom prst="rect">
              <a:avLst/>
            </a:prstGeom>
          </p:spPr>
        </p:pic>
      </p:grpSp>
      <p:sp>
        <p:nvSpPr>
          <p:cNvPr id="104" name="Arrow: Chevron 18">
            <a:extLst>
              <a:ext uri="{FF2B5EF4-FFF2-40B4-BE49-F238E27FC236}">
                <a16:creationId xmlns:a16="http://schemas.microsoft.com/office/drawing/2014/main" id="{77B1E155-1809-29EC-BB11-83263262BCB6}"/>
              </a:ext>
            </a:extLst>
          </p:cNvPr>
          <p:cNvSpPr/>
          <p:nvPr/>
        </p:nvSpPr>
        <p:spPr>
          <a:xfrm>
            <a:off x="4465116" y="5504009"/>
            <a:ext cx="1206452" cy="46800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Cells and modules manufacturer</a:t>
            </a:r>
          </a:p>
        </p:txBody>
      </p:sp>
      <p:sp>
        <p:nvSpPr>
          <p:cNvPr id="105" name="Subtitle 23">
            <a:extLst>
              <a:ext uri="{FF2B5EF4-FFF2-40B4-BE49-F238E27FC236}">
                <a16:creationId xmlns:a16="http://schemas.microsoft.com/office/drawing/2014/main" id="{10B573D0-B6DD-8B43-991F-3D9D5360F7FC}"/>
              </a:ext>
            </a:extLst>
          </p:cNvPr>
          <p:cNvSpPr txBox="1">
            <a:spLocks/>
          </p:cNvSpPr>
          <p:nvPr/>
        </p:nvSpPr>
        <p:spPr>
          <a:xfrm>
            <a:off x="3427307" y="6267928"/>
            <a:ext cx="5979441" cy="298800"/>
          </a:xfrm>
          <a:prstGeom prst="rect">
            <a:avLst/>
          </a:prstGeom>
        </p:spPr>
        <p:txBody>
          <a:bodyPr vert="horz" lIns="0" tIns="0" rIns="0" bIns="0" rtlCol="0">
            <a:noAutofit/>
          </a:bodyPr>
          <a:lstStyle>
            <a:lvl1pPr marL="342900" marR="0" indent="-342900" algn="l" defTabSz="914400" rtl="0" eaLnBrk="1" fontAlgn="auto" latinLnBrk="0" hangingPunct="1">
              <a:lnSpc>
                <a:spcPct val="110000"/>
              </a:lnSpc>
              <a:spcBef>
                <a:spcPts val="0"/>
              </a:spcBef>
              <a:spcAft>
                <a:spcPts val="0"/>
              </a:spcAft>
              <a:buClr>
                <a:schemeClr val="accent1"/>
              </a:buClr>
              <a:buSzTx/>
              <a:buFont typeface="Wingdings" panose="05000000000000000000" pitchFamily="2" charset="2"/>
              <a:buChar char="n"/>
              <a:tabLst/>
              <a:defRPr sz="2000" b="0" i="0" kern="1200" baseline="0">
                <a:solidFill>
                  <a:schemeClr val="tx1"/>
                </a:solidFill>
                <a:latin typeface="Arial" panose="020B0604020202020204" pitchFamily="34" charset="0"/>
                <a:ea typeface="+mn-ea"/>
                <a:cs typeface="+mn-cs"/>
              </a:defRPr>
            </a:lvl1pPr>
            <a:lvl2pPr marL="719138" marR="0" indent="-361950" algn="l" defTabSz="914400" rtl="0" eaLnBrk="1" fontAlgn="auto" latinLnBrk="0" hangingPunct="1">
              <a:lnSpc>
                <a:spcPct val="110000"/>
              </a:lnSpc>
              <a:spcBef>
                <a:spcPts val="600"/>
              </a:spcBef>
              <a:spcAft>
                <a:spcPts val="0"/>
              </a:spcAft>
              <a:buClr>
                <a:srgbClr val="004A96"/>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4738" marR="0" indent="-355600" algn="l" defTabSz="914400" rtl="0" eaLnBrk="1" fontAlgn="auto" latinLnBrk="0" hangingPunct="1">
              <a:lnSpc>
                <a:spcPct val="110000"/>
              </a:lnSpc>
              <a:spcBef>
                <a:spcPts val="300"/>
              </a:spcBef>
              <a:spcAft>
                <a:spcPts val="0"/>
              </a:spcAft>
              <a:buClr>
                <a:srgbClr val="004A96"/>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61950" algn="l" defTabSz="914400" rtl="0" eaLnBrk="1" fontAlgn="auto" latinLnBrk="0" hangingPunct="1">
              <a:lnSpc>
                <a:spcPct val="110000"/>
              </a:lnSpc>
              <a:spcBef>
                <a:spcPts val="0"/>
              </a:spcBef>
              <a:spcAft>
                <a:spcPct val="50000"/>
              </a:spcAft>
              <a:buClr>
                <a:srgbClr val="004A96"/>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marL="0" marR="0" lvl="0" indent="0" algn="l" defTabSz="914400" rtl="0" eaLnBrk="1" fontAlgn="auto" latinLnBrk="0" hangingPunct="1">
              <a:lnSpc>
                <a:spcPct val="110000"/>
              </a:lnSpc>
              <a:spcBef>
                <a:spcPts val="0"/>
              </a:spcBef>
              <a:spcAft>
                <a:spcPts val="0"/>
              </a:spcAft>
              <a:buClr>
                <a:srgbClr val="004A96"/>
              </a:buClr>
              <a:buSzTx/>
              <a:buFont typeface="Wingdings" panose="05000000000000000000" pitchFamily="2" charset="2"/>
              <a:buNone/>
              <a:tabLst/>
              <a:defRPr/>
            </a:pPr>
            <a:r>
              <a:rPr kumimoji="0" lang="en-GB" sz="1000" b="0" i="0" u="none" strike="noStrike" kern="1200" cap="none" spc="0" normalizeH="0" baseline="0" noProof="0">
                <a:ln>
                  <a:noFill/>
                </a:ln>
                <a:solidFill>
                  <a:srgbClr val="000000">
                    <a:lumMod val="100000"/>
                  </a:srgbClr>
                </a:solidFill>
                <a:effectLst/>
                <a:uLnTx/>
                <a:uFillTx/>
                <a:latin typeface="+mn-lt"/>
                <a:ea typeface="Work Sans"/>
                <a:cs typeface="Work Sans"/>
                <a:sym typeface="Work Sans"/>
              </a:rPr>
              <a:t>This project receives funding from the </a:t>
            </a:r>
            <a:r>
              <a:rPr kumimoji="0" lang="en-GB" sz="1000" b="0" i="0" u="sng" strike="noStrike" kern="1200" cap="none" spc="0" normalizeH="0" baseline="0" noProof="0">
                <a:ln>
                  <a:noFill/>
                </a:ln>
                <a:solidFill>
                  <a:srgbClr val="004A96"/>
                </a:solidFill>
                <a:effectLst/>
                <a:uLnTx/>
                <a:uFillTx/>
                <a:latin typeface="+mn-lt"/>
                <a:ea typeface="Work Sans"/>
                <a:cs typeface="Work Sans"/>
                <a:sym typeface="Work Sans"/>
                <a:hlinkClick r:id="rId7">
                  <a:extLst>
                    <a:ext uri="{A12FA001-AC4F-418D-AE19-62706E023703}">
                      <ahyp:hlinkClr xmlns:ahyp="http://schemas.microsoft.com/office/drawing/2018/hyperlinkcolor" val="tx"/>
                    </a:ext>
                  </a:extLst>
                </a:hlinkClick>
              </a:rPr>
              <a:t>German Federal Ministry for Economic Affairs and Climate Action</a:t>
            </a:r>
            <a:r>
              <a:rPr kumimoji="0" lang="en-GB" sz="1000" b="0" i="0" u="none" strike="noStrike" kern="1200" cap="none" spc="0" normalizeH="0" baseline="0" noProof="0">
                <a:ln>
                  <a:noFill/>
                </a:ln>
                <a:solidFill>
                  <a:srgbClr val="000000">
                    <a:lumMod val="100000"/>
                  </a:srgbClr>
                </a:solidFill>
                <a:effectLst/>
                <a:uLnTx/>
                <a:uFillTx/>
                <a:latin typeface="+mn-lt"/>
                <a:ea typeface="Work Sans"/>
                <a:cs typeface="Work Sans"/>
                <a:sym typeface="Work Sans"/>
              </a:rPr>
              <a:t> by resolution of the German Bundestag under grant agreement No 16BZF335.</a:t>
            </a:r>
          </a:p>
        </p:txBody>
      </p:sp>
      <p:grpSp>
        <p:nvGrpSpPr>
          <p:cNvPr id="106" name="Group 11">
            <a:extLst>
              <a:ext uri="{FF2B5EF4-FFF2-40B4-BE49-F238E27FC236}">
                <a16:creationId xmlns:a16="http://schemas.microsoft.com/office/drawing/2014/main" id="{165A9A47-D06D-0467-CE82-34191D472918}"/>
              </a:ext>
            </a:extLst>
          </p:cNvPr>
          <p:cNvGrpSpPr/>
          <p:nvPr/>
        </p:nvGrpSpPr>
        <p:grpSpPr>
          <a:xfrm>
            <a:off x="3711378" y="4912081"/>
            <a:ext cx="507316" cy="507316"/>
            <a:chOff x="8156575" y="1264599"/>
            <a:chExt cx="507316" cy="507316"/>
          </a:xfrm>
          <a:solidFill>
            <a:schemeClr val="accent1"/>
          </a:solidFill>
        </p:grpSpPr>
        <p:pic>
          <p:nvPicPr>
            <p:cNvPr id="107" name="Graphic 160" descr="Smart Phone with solid fill">
              <a:extLst>
                <a:ext uri="{FF2B5EF4-FFF2-40B4-BE49-F238E27FC236}">
                  <a16:creationId xmlns:a16="http://schemas.microsoft.com/office/drawing/2014/main" id="{5D52B0F2-4EF7-7627-F1CA-F1B7D625E72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56575" y="1264599"/>
              <a:ext cx="507316" cy="507316"/>
            </a:xfrm>
            <a:prstGeom prst="rect">
              <a:avLst/>
            </a:prstGeom>
          </p:spPr>
        </p:pic>
        <p:pic>
          <p:nvPicPr>
            <p:cNvPr id="108" name="Graphic 161" descr="Qr Code with solid fill">
              <a:extLst>
                <a:ext uri="{FF2B5EF4-FFF2-40B4-BE49-F238E27FC236}">
                  <a16:creationId xmlns:a16="http://schemas.microsoft.com/office/drawing/2014/main" id="{B31A09E4-E857-9168-1BBF-1FEEFEA072E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19941" y="1442688"/>
              <a:ext cx="189413" cy="189413"/>
            </a:xfrm>
            <a:prstGeom prst="rect">
              <a:avLst/>
            </a:prstGeom>
          </p:spPr>
        </p:pic>
      </p:grpSp>
      <p:grpSp>
        <p:nvGrpSpPr>
          <p:cNvPr id="109" name="Group 11">
            <a:extLst>
              <a:ext uri="{FF2B5EF4-FFF2-40B4-BE49-F238E27FC236}">
                <a16:creationId xmlns:a16="http://schemas.microsoft.com/office/drawing/2014/main" id="{38EE0D4E-7947-5D57-D7F3-252E65D2E211}"/>
              </a:ext>
            </a:extLst>
          </p:cNvPr>
          <p:cNvGrpSpPr/>
          <p:nvPr/>
        </p:nvGrpSpPr>
        <p:grpSpPr>
          <a:xfrm>
            <a:off x="6813167" y="4959792"/>
            <a:ext cx="507316" cy="507316"/>
            <a:chOff x="8156575" y="1264599"/>
            <a:chExt cx="507316" cy="507316"/>
          </a:xfrm>
          <a:solidFill>
            <a:schemeClr val="accent1"/>
          </a:solidFill>
        </p:grpSpPr>
        <p:pic>
          <p:nvPicPr>
            <p:cNvPr id="110" name="Graphic 160" descr="Smart Phone with solid fill">
              <a:extLst>
                <a:ext uri="{FF2B5EF4-FFF2-40B4-BE49-F238E27FC236}">
                  <a16:creationId xmlns:a16="http://schemas.microsoft.com/office/drawing/2014/main" id="{730E51A0-B153-F1C2-45A5-D1630A9D4F3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56575" y="1264599"/>
              <a:ext cx="507316" cy="507316"/>
            </a:xfrm>
            <a:prstGeom prst="rect">
              <a:avLst/>
            </a:prstGeom>
          </p:spPr>
        </p:pic>
        <p:pic>
          <p:nvPicPr>
            <p:cNvPr id="111" name="Graphic 161" descr="Qr Code with solid fill">
              <a:extLst>
                <a:ext uri="{FF2B5EF4-FFF2-40B4-BE49-F238E27FC236}">
                  <a16:creationId xmlns:a16="http://schemas.microsoft.com/office/drawing/2014/main" id="{893D797B-3F25-378B-B87C-C49452B7578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19941" y="1442688"/>
              <a:ext cx="189413" cy="189413"/>
            </a:xfrm>
            <a:prstGeom prst="rect">
              <a:avLst/>
            </a:prstGeom>
          </p:spPr>
        </p:pic>
      </p:grpSp>
      <p:pic>
        <p:nvPicPr>
          <p:cNvPr id="6" name="Graphic 5">
            <a:extLst>
              <a:ext uri="{FF2B5EF4-FFF2-40B4-BE49-F238E27FC236}">
                <a16:creationId xmlns:a16="http://schemas.microsoft.com/office/drawing/2014/main" id="{CF8E124F-4D8F-329E-2CB3-3022EFF742E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45785" y="2392394"/>
            <a:ext cx="856103" cy="856103"/>
          </a:xfrm>
          <a:prstGeom prst="rect">
            <a:avLst/>
          </a:prstGeom>
        </p:spPr>
      </p:pic>
      <p:pic>
        <p:nvPicPr>
          <p:cNvPr id="114" name="Graphic 113">
            <a:extLst>
              <a:ext uri="{FF2B5EF4-FFF2-40B4-BE49-F238E27FC236}">
                <a16:creationId xmlns:a16="http://schemas.microsoft.com/office/drawing/2014/main" id="{CD1C1290-9B0C-E452-B83B-D4A78AF4E2D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45785" y="3627269"/>
            <a:ext cx="856102" cy="856102"/>
          </a:xfrm>
          <a:prstGeom prst="rect">
            <a:avLst/>
          </a:prstGeom>
        </p:spPr>
      </p:pic>
      <p:pic>
        <p:nvPicPr>
          <p:cNvPr id="115" name="Graphic 114">
            <a:extLst>
              <a:ext uri="{FF2B5EF4-FFF2-40B4-BE49-F238E27FC236}">
                <a16:creationId xmlns:a16="http://schemas.microsoft.com/office/drawing/2014/main" id="{52A3D2E0-F856-E7BF-6DF8-B4E366D2A18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45785" y="4862144"/>
            <a:ext cx="856102" cy="856102"/>
          </a:xfrm>
          <a:prstGeom prst="rect">
            <a:avLst/>
          </a:prstGeom>
        </p:spPr>
      </p:pic>
      <p:sp>
        <p:nvSpPr>
          <p:cNvPr id="116" name="TextBox 115">
            <a:extLst>
              <a:ext uri="{FF2B5EF4-FFF2-40B4-BE49-F238E27FC236}">
                <a16:creationId xmlns:a16="http://schemas.microsoft.com/office/drawing/2014/main" id="{B3E2C0C2-ED40-6EF1-6A97-593191C09F86}"/>
              </a:ext>
            </a:extLst>
          </p:cNvPr>
          <p:cNvSpPr txBox="1"/>
          <p:nvPr/>
        </p:nvSpPr>
        <p:spPr>
          <a:xfrm>
            <a:off x="8834280" y="5509485"/>
            <a:ext cx="955904" cy="45704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u="none" strike="noStrike" kern="1200" cap="none" spc="0" normalizeH="0" baseline="0">
                <a:ln>
                  <a:noFill/>
                </a:ln>
                <a:solidFill>
                  <a:schemeClr val="bg1"/>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Reuser</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u="none" strike="noStrike" kern="1200" cap="none" spc="0" normalizeH="0" baseline="0">
                <a:ln>
                  <a:noFill/>
                </a:ln>
                <a:solidFill>
                  <a:schemeClr val="bg1"/>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Remanufacturer</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u="none" strike="noStrike" kern="1200" cap="none" spc="0" normalizeH="0" baseline="0">
                <a:ln>
                  <a:noFill/>
                </a:ln>
                <a:solidFill>
                  <a:schemeClr val="bg1"/>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Repurposer</a:t>
            </a:r>
          </a:p>
        </p:txBody>
      </p:sp>
      <p:sp>
        <p:nvSpPr>
          <p:cNvPr id="131" name="TextBox 130">
            <a:extLst>
              <a:ext uri="{FF2B5EF4-FFF2-40B4-BE49-F238E27FC236}">
                <a16:creationId xmlns:a16="http://schemas.microsoft.com/office/drawing/2014/main" id="{8FC1AD3D-A661-2D8D-892D-CE6881DDB8F8}"/>
              </a:ext>
            </a:extLst>
          </p:cNvPr>
          <p:cNvSpPr txBox="1"/>
          <p:nvPr/>
        </p:nvSpPr>
        <p:spPr>
          <a:xfrm>
            <a:off x="1638165" y="2681946"/>
            <a:ext cx="2285705"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accent1"/>
                </a:solidFill>
                <a:effectLst/>
                <a:uLnTx/>
                <a:uFillTx/>
                <a:latin typeface="Arial" panose="020B0604020202020204"/>
                <a:ea typeface="+mn-ea"/>
                <a:cs typeface="Arial"/>
                <a:sym typeface="Arial"/>
              </a:rPr>
              <a:t>Data </a:t>
            </a:r>
            <a:r>
              <a:rPr lang="en-US" b="1">
                <a:solidFill>
                  <a:schemeClr val="accent1"/>
                </a:solidFill>
                <a:latin typeface="Arial" panose="020B0604020202020204"/>
                <a:cs typeface="Arial"/>
                <a:sym typeface="Arial"/>
              </a:rPr>
              <a:t>P</a:t>
            </a:r>
            <a:r>
              <a:rPr kumimoji="0" lang="en-US" sz="1800" b="1" i="0" u="none" strike="noStrike" kern="1200" cap="none" spc="0" normalizeH="0" baseline="0" noProof="0" err="1">
                <a:ln>
                  <a:noFill/>
                </a:ln>
                <a:solidFill>
                  <a:schemeClr val="accent1"/>
                </a:solidFill>
                <a:effectLst/>
                <a:uLnTx/>
                <a:uFillTx/>
                <a:latin typeface="Arial" panose="020B0604020202020204"/>
                <a:ea typeface="+mn-ea"/>
                <a:cs typeface="Arial"/>
                <a:sym typeface="Arial"/>
              </a:rPr>
              <a:t>rocessing</a:t>
            </a:r>
            <a:endParaRPr kumimoji="0" lang="en-US" sz="1800" b="0" i="0" u="none" strike="noStrike" kern="1200" cap="none" spc="0" normalizeH="0" baseline="30000" noProof="0">
              <a:ln>
                <a:noFill/>
              </a:ln>
              <a:solidFill>
                <a:schemeClr val="accent1"/>
              </a:solidFill>
              <a:effectLst/>
              <a:uLnTx/>
              <a:uFillTx/>
              <a:latin typeface="Arial" panose="020B0604020202020204"/>
              <a:ea typeface="+mn-ea"/>
              <a:cs typeface="Arial"/>
              <a:sym typeface="Arial"/>
            </a:endParaRPr>
          </a:p>
        </p:txBody>
      </p:sp>
      <p:sp>
        <p:nvSpPr>
          <p:cNvPr id="132" name="TextBox 131">
            <a:extLst>
              <a:ext uri="{FF2B5EF4-FFF2-40B4-BE49-F238E27FC236}">
                <a16:creationId xmlns:a16="http://schemas.microsoft.com/office/drawing/2014/main" id="{9744FCE5-C981-9998-B595-A0F0B105679D}"/>
              </a:ext>
            </a:extLst>
          </p:cNvPr>
          <p:cNvSpPr txBox="1"/>
          <p:nvPr/>
        </p:nvSpPr>
        <p:spPr>
          <a:xfrm>
            <a:off x="1634615" y="3916821"/>
            <a:ext cx="2285705"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chemeClr val="accent1"/>
                </a:solidFill>
                <a:effectLst/>
                <a:uLnTx/>
                <a:uFillTx/>
                <a:latin typeface="Arial" panose="020B0604020202020204"/>
                <a:ea typeface="+mn-ea"/>
                <a:cs typeface="Arial"/>
                <a:sym typeface="Arial"/>
              </a:rPr>
              <a:t>Data Exchange</a:t>
            </a:r>
            <a:endParaRPr kumimoji="0" lang="en-GB" sz="1800" b="0" i="0" u="none" strike="noStrike" kern="1200" cap="none" spc="0" normalizeH="0" baseline="0" noProof="0">
              <a:ln>
                <a:noFill/>
              </a:ln>
              <a:solidFill>
                <a:schemeClr val="accent1"/>
              </a:solidFill>
              <a:effectLst/>
              <a:uLnTx/>
              <a:uFillTx/>
              <a:latin typeface="Arial" panose="020B0604020202020204"/>
              <a:ea typeface="+mn-ea"/>
              <a:cs typeface="Arial"/>
              <a:sym typeface="Arial"/>
            </a:endParaRPr>
          </a:p>
        </p:txBody>
      </p:sp>
      <p:sp>
        <p:nvSpPr>
          <p:cNvPr id="133" name="TextBox 132">
            <a:extLst>
              <a:ext uri="{FF2B5EF4-FFF2-40B4-BE49-F238E27FC236}">
                <a16:creationId xmlns:a16="http://schemas.microsoft.com/office/drawing/2014/main" id="{C4542C18-B566-548A-2FFA-74466078295A}"/>
              </a:ext>
            </a:extLst>
          </p:cNvPr>
          <p:cNvSpPr txBox="1"/>
          <p:nvPr/>
        </p:nvSpPr>
        <p:spPr>
          <a:xfrm>
            <a:off x="1634614" y="5151696"/>
            <a:ext cx="2285705"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chemeClr val="accent1"/>
                </a:solidFill>
                <a:effectLst/>
                <a:uLnTx/>
                <a:uFillTx/>
                <a:latin typeface="Arial" panose="020B0604020202020204"/>
                <a:ea typeface="+mn-ea"/>
                <a:cs typeface="Arial"/>
                <a:sym typeface="Arial"/>
              </a:rPr>
              <a:t>Data Collection </a:t>
            </a:r>
            <a:endParaRPr kumimoji="0" lang="en-GB" sz="1800" b="0" i="0" u="none" strike="noStrike" kern="1200" cap="none" spc="0" normalizeH="0" baseline="0" noProof="0">
              <a:ln>
                <a:noFill/>
              </a:ln>
              <a:solidFill>
                <a:schemeClr val="accent1"/>
              </a:solidFill>
              <a:effectLst/>
              <a:uLnTx/>
              <a:uFillTx/>
              <a:latin typeface="Arial" panose="020B0604020202020204"/>
              <a:ea typeface="+mn-ea"/>
              <a:cs typeface="Arial"/>
              <a:sym typeface="Arial"/>
            </a:endParaRPr>
          </a:p>
        </p:txBody>
      </p:sp>
      <p:grpSp>
        <p:nvGrpSpPr>
          <p:cNvPr id="3" name="Group 2">
            <a:extLst>
              <a:ext uri="{FF2B5EF4-FFF2-40B4-BE49-F238E27FC236}">
                <a16:creationId xmlns:a16="http://schemas.microsoft.com/office/drawing/2014/main" id="{802E54D5-EC2C-C329-1FE9-FD45C7FD7278}"/>
              </a:ext>
            </a:extLst>
          </p:cNvPr>
          <p:cNvGrpSpPr/>
          <p:nvPr/>
        </p:nvGrpSpPr>
        <p:grpSpPr>
          <a:xfrm>
            <a:off x="8977745" y="875116"/>
            <a:ext cx="676521" cy="806861"/>
            <a:chOff x="8977745" y="875116"/>
            <a:chExt cx="676521" cy="806861"/>
          </a:xfrm>
        </p:grpSpPr>
        <p:sp>
          <p:nvSpPr>
            <p:cNvPr id="91" name="Rectangle: Rounded Corners 33">
              <a:extLst>
                <a:ext uri="{FF2B5EF4-FFF2-40B4-BE49-F238E27FC236}">
                  <a16:creationId xmlns:a16="http://schemas.microsoft.com/office/drawing/2014/main" id="{762BAC68-B68D-8136-9632-492BC3F1CCBF}"/>
                </a:ext>
              </a:extLst>
            </p:cNvPr>
            <p:cNvSpPr/>
            <p:nvPr/>
          </p:nvSpPr>
          <p:spPr>
            <a:xfrm>
              <a:off x="9000694" y="927856"/>
              <a:ext cx="623077" cy="754121"/>
            </a:xfrm>
            <a:prstGeom prst="roundRect">
              <a:avLst>
                <a:gd name="adj" fmla="val 5786"/>
              </a:avLst>
            </a:prstGeom>
            <a:solidFill>
              <a:schemeClr val="bg1">
                <a:lumMod val="95000"/>
              </a:schemeClr>
            </a:solidFill>
            <a:ln w="63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sp>
          <p:nvSpPr>
            <p:cNvPr id="94" name="Forma libre 156">
              <a:extLst>
                <a:ext uri="{FF2B5EF4-FFF2-40B4-BE49-F238E27FC236}">
                  <a16:creationId xmlns:a16="http://schemas.microsoft.com/office/drawing/2014/main" id="{C0EA1567-B772-DB0C-4C46-1C2084EB4AC4}"/>
                </a:ext>
              </a:extLst>
            </p:cNvPr>
            <p:cNvSpPr/>
            <p:nvPr/>
          </p:nvSpPr>
          <p:spPr>
            <a:xfrm>
              <a:off x="9035967" y="952169"/>
              <a:ext cx="26432" cy="34246"/>
            </a:xfrm>
            <a:custGeom>
              <a:avLst/>
              <a:gdLst>
                <a:gd name="connsiteX0" fmla="*/ 35201 w 70401"/>
                <a:gd name="connsiteY0" fmla="*/ 95138 h 95138"/>
                <a:gd name="connsiteX1" fmla="*/ 70402 w 70401"/>
                <a:gd name="connsiteY1" fmla="*/ 0 h 95138"/>
                <a:gd name="connsiteX2" fmla="*/ 0 w 70401"/>
                <a:gd name="connsiteY2" fmla="*/ 0 h 95138"/>
                <a:gd name="connsiteX3" fmla="*/ 35201 w 70401"/>
                <a:gd name="connsiteY3" fmla="*/ 95138 h 95138"/>
              </a:gdLst>
              <a:ahLst/>
              <a:cxnLst>
                <a:cxn ang="0">
                  <a:pos x="connsiteX0" y="connsiteY0"/>
                </a:cxn>
                <a:cxn ang="0">
                  <a:pos x="connsiteX1" y="connsiteY1"/>
                </a:cxn>
                <a:cxn ang="0">
                  <a:pos x="connsiteX2" y="connsiteY2"/>
                </a:cxn>
                <a:cxn ang="0">
                  <a:pos x="connsiteX3" y="connsiteY3"/>
                </a:cxn>
              </a:cxnLst>
              <a:rect l="l" t="t" r="r" b="b"/>
              <a:pathLst>
                <a:path w="70401" h="95138">
                  <a:moveTo>
                    <a:pt x="35201" y="95138"/>
                  </a:moveTo>
                  <a:cubicBezTo>
                    <a:pt x="48826" y="95138"/>
                    <a:pt x="67989" y="58294"/>
                    <a:pt x="70402" y="0"/>
                  </a:cubicBezTo>
                  <a:lnTo>
                    <a:pt x="0" y="0"/>
                  </a:lnTo>
                  <a:cubicBezTo>
                    <a:pt x="2413" y="58294"/>
                    <a:pt x="21576" y="95138"/>
                    <a:pt x="35201" y="95138"/>
                  </a:cubicBezTo>
                  <a:close/>
                </a:path>
              </a:pathLst>
            </a:custGeom>
            <a:solidFill>
              <a:schemeClr val="accent1"/>
            </a:solid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97" name="Forma libre 157">
              <a:extLst>
                <a:ext uri="{FF2B5EF4-FFF2-40B4-BE49-F238E27FC236}">
                  <a16:creationId xmlns:a16="http://schemas.microsoft.com/office/drawing/2014/main" id="{DED7FF37-F25B-1723-E8B4-854E7E1C319D}"/>
                </a:ext>
              </a:extLst>
            </p:cNvPr>
            <p:cNvSpPr/>
            <p:nvPr/>
          </p:nvSpPr>
          <p:spPr>
            <a:xfrm>
              <a:off x="9009450" y="912168"/>
              <a:ext cx="24866" cy="31440"/>
            </a:xfrm>
            <a:custGeom>
              <a:avLst/>
              <a:gdLst>
                <a:gd name="connsiteX0" fmla="*/ 0 w 66231"/>
                <a:gd name="connsiteY0" fmla="*/ 87344 h 87343"/>
                <a:gd name="connsiteX1" fmla="*/ 46611 w 66231"/>
                <a:gd name="connsiteY1" fmla="*/ 87344 h 87343"/>
                <a:gd name="connsiteX2" fmla="*/ 66232 w 66231"/>
                <a:gd name="connsiteY2" fmla="*/ 0 h 87343"/>
                <a:gd name="connsiteX3" fmla="*/ 0 w 66231"/>
                <a:gd name="connsiteY3" fmla="*/ 87344 h 87343"/>
              </a:gdLst>
              <a:ahLst/>
              <a:cxnLst>
                <a:cxn ang="0">
                  <a:pos x="connsiteX0" y="connsiteY0"/>
                </a:cxn>
                <a:cxn ang="0">
                  <a:pos x="connsiteX1" y="connsiteY1"/>
                </a:cxn>
                <a:cxn ang="0">
                  <a:pos x="connsiteX2" y="connsiteY2"/>
                </a:cxn>
                <a:cxn ang="0">
                  <a:pos x="connsiteX3" y="connsiteY3"/>
                </a:cxn>
              </a:cxnLst>
              <a:rect l="l" t="t" r="r" b="b"/>
              <a:pathLst>
                <a:path w="66231" h="87343">
                  <a:moveTo>
                    <a:pt x="0" y="87344"/>
                  </a:moveTo>
                  <a:lnTo>
                    <a:pt x="46611" y="87344"/>
                  </a:lnTo>
                  <a:cubicBezTo>
                    <a:pt x="47927" y="54949"/>
                    <a:pt x="54618" y="22733"/>
                    <a:pt x="66232" y="0"/>
                  </a:cubicBezTo>
                  <a:cubicBezTo>
                    <a:pt x="30367" y="14363"/>
                    <a:pt x="4473" y="47583"/>
                    <a:pt x="0" y="87344"/>
                  </a:cubicBezTo>
                  <a:close/>
                </a:path>
              </a:pathLst>
            </a:custGeom>
            <a:solidFill>
              <a:schemeClr val="accent1"/>
            </a:solid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98" name="Forma libre 158">
              <a:extLst>
                <a:ext uri="{FF2B5EF4-FFF2-40B4-BE49-F238E27FC236}">
                  <a16:creationId xmlns:a16="http://schemas.microsoft.com/office/drawing/2014/main" id="{63A30421-6471-5E87-7DE8-DF27DE36E2DA}"/>
                </a:ext>
              </a:extLst>
            </p:cNvPr>
            <p:cNvSpPr/>
            <p:nvPr/>
          </p:nvSpPr>
          <p:spPr>
            <a:xfrm>
              <a:off x="9064049" y="912168"/>
              <a:ext cx="24866" cy="31440"/>
            </a:xfrm>
            <a:custGeom>
              <a:avLst/>
              <a:gdLst>
                <a:gd name="connsiteX0" fmla="*/ 66232 w 66231"/>
                <a:gd name="connsiteY0" fmla="*/ 87344 h 87343"/>
                <a:gd name="connsiteX1" fmla="*/ 0 w 66231"/>
                <a:gd name="connsiteY1" fmla="*/ 0 h 87343"/>
                <a:gd name="connsiteX2" fmla="*/ 19621 w 66231"/>
                <a:gd name="connsiteY2" fmla="*/ 87344 h 87343"/>
                <a:gd name="connsiteX3" fmla="*/ 66232 w 66231"/>
                <a:gd name="connsiteY3" fmla="*/ 87344 h 87343"/>
              </a:gdLst>
              <a:ahLst/>
              <a:cxnLst>
                <a:cxn ang="0">
                  <a:pos x="connsiteX0" y="connsiteY0"/>
                </a:cxn>
                <a:cxn ang="0">
                  <a:pos x="connsiteX1" y="connsiteY1"/>
                </a:cxn>
                <a:cxn ang="0">
                  <a:pos x="connsiteX2" y="connsiteY2"/>
                </a:cxn>
                <a:cxn ang="0">
                  <a:pos x="connsiteX3" y="connsiteY3"/>
                </a:cxn>
              </a:cxnLst>
              <a:rect l="l" t="t" r="r" b="b"/>
              <a:pathLst>
                <a:path w="66231" h="87343">
                  <a:moveTo>
                    <a:pt x="66232" y="87344"/>
                  </a:moveTo>
                  <a:cubicBezTo>
                    <a:pt x="61759" y="47583"/>
                    <a:pt x="35865" y="14364"/>
                    <a:pt x="0" y="0"/>
                  </a:cubicBezTo>
                  <a:cubicBezTo>
                    <a:pt x="11614" y="22734"/>
                    <a:pt x="18304" y="54949"/>
                    <a:pt x="19621" y="87344"/>
                  </a:cubicBezTo>
                  <a:lnTo>
                    <a:pt x="66232" y="87344"/>
                  </a:lnTo>
                  <a:close/>
                </a:path>
              </a:pathLst>
            </a:custGeom>
            <a:solidFill>
              <a:schemeClr val="accent1"/>
            </a:solid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99" name="Forma libre 159">
              <a:extLst>
                <a:ext uri="{FF2B5EF4-FFF2-40B4-BE49-F238E27FC236}">
                  <a16:creationId xmlns:a16="http://schemas.microsoft.com/office/drawing/2014/main" id="{7A3920CB-A021-B6BF-CC4E-149A4D899CEB}"/>
                </a:ext>
              </a:extLst>
            </p:cNvPr>
            <p:cNvSpPr/>
            <p:nvPr/>
          </p:nvSpPr>
          <p:spPr>
            <a:xfrm>
              <a:off x="9035967" y="909362"/>
              <a:ext cx="26432" cy="34246"/>
            </a:xfrm>
            <a:custGeom>
              <a:avLst/>
              <a:gdLst>
                <a:gd name="connsiteX0" fmla="*/ 35201 w 70401"/>
                <a:gd name="connsiteY0" fmla="*/ 0 h 95138"/>
                <a:gd name="connsiteX1" fmla="*/ 0 w 70401"/>
                <a:gd name="connsiteY1" fmla="*/ 95138 h 95138"/>
                <a:gd name="connsiteX2" fmla="*/ 70402 w 70401"/>
                <a:gd name="connsiteY2" fmla="*/ 95138 h 95138"/>
                <a:gd name="connsiteX3" fmla="*/ 35201 w 70401"/>
                <a:gd name="connsiteY3" fmla="*/ 0 h 95138"/>
              </a:gdLst>
              <a:ahLst/>
              <a:cxnLst>
                <a:cxn ang="0">
                  <a:pos x="connsiteX0" y="connsiteY0"/>
                </a:cxn>
                <a:cxn ang="0">
                  <a:pos x="connsiteX1" y="connsiteY1"/>
                </a:cxn>
                <a:cxn ang="0">
                  <a:pos x="connsiteX2" y="connsiteY2"/>
                </a:cxn>
                <a:cxn ang="0">
                  <a:pos x="connsiteX3" y="connsiteY3"/>
                </a:cxn>
              </a:cxnLst>
              <a:rect l="l" t="t" r="r" b="b"/>
              <a:pathLst>
                <a:path w="70401" h="95138">
                  <a:moveTo>
                    <a:pt x="35201" y="0"/>
                  </a:moveTo>
                  <a:cubicBezTo>
                    <a:pt x="21576" y="0"/>
                    <a:pt x="2413" y="36844"/>
                    <a:pt x="0" y="95138"/>
                  </a:cubicBezTo>
                  <a:lnTo>
                    <a:pt x="70402" y="95138"/>
                  </a:lnTo>
                  <a:cubicBezTo>
                    <a:pt x="67989" y="36844"/>
                    <a:pt x="48826" y="0"/>
                    <a:pt x="35201" y="0"/>
                  </a:cubicBezTo>
                  <a:close/>
                </a:path>
              </a:pathLst>
            </a:custGeom>
            <a:solidFill>
              <a:schemeClr val="accent1"/>
            </a:solid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00" name="Forma libre 161">
              <a:extLst>
                <a:ext uri="{FF2B5EF4-FFF2-40B4-BE49-F238E27FC236}">
                  <a16:creationId xmlns:a16="http://schemas.microsoft.com/office/drawing/2014/main" id="{592401F5-C706-318B-1C20-A2F515ACFB3B}"/>
                </a:ext>
              </a:extLst>
            </p:cNvPr>
            <p:cNvSpPr/>
            <p:nvPr/>
          </p:nvSpPr>
          <p:spPr>
            <a:xfrm>
              <a:off x="9009450" y="952169"/>
              <a:ext cx="24866" cy="31440"/>
            </a:xfrm>
            <a:custGeom>
              <a:avLst/>
              <a:gdLst>
                <a:gd name="connsiteX0" fmla="*/ 0 w 66231"/>
                <a:gd name="connsiteY0" fmla="*/ 0 h 87343"/>
                <a:gd name="connsiteX1" fmla="*/ 66232 w 66231"/>
                <a:gd name="connsiteY1" fmla="*/ 87344 h 87343"/>
                <a:gd name="connsiteX2" fmla="*/ 46611 w 66231"/>
                <a:gd name="connsiteY2" fmla="*/ 0 h 87343"/>
                <a:gd name="connsiteX3" fmla="*/ 0 w 66231"/>
                <a:gd name="connsiteY3" fmla="*/ 0 h 87343"/>
              </a:gdLst>
              <a:ahLst/>
              <a:cxnLst>
                <a:cxn ang="0">
                  <a:pos x="connsiteX0" y="connsiteY0"/>
                </a:cxn>
                <a:cxn ang="0">
                  <a:pos x="connsiteX1" y="connsiteY1"/>
                </a:cxn>
                <a:cxn ang="0">
                  <a:pos x="connsiteX2" y="connsiteY2"/>
                </a:cxn>
                <a:cxn ang="0">
                  <a:pos x="connsiteX3" y="connsiteY3"/>
                </a:cxn>
              </a:cxnLst>
              <a:rect l="l" t="t" r="r" b="b"/>
              <a:pathLst>
                <a:path w="66231" h="87343">
                  <a:moveTo>
                    <a:pt x="0" y="0"/>
                  </a:moveTo>
                  <a:cubicBezTo>
                    <a:pt x="4473" y="39761"/>
                    <a:pt x="30367" y="72979"/>
                    <a:pt x="66232" y="87344"/>
                  </a:cubicBezTo>
                  <a:cubicBezTo>
                    <a:pt x="54618" y="64610"/>
                    <a:pt x="47927" y="32395"/>
                    <a:pt x="46611" y="0"/>
                  </a:cubicBezTo>
                  <a:lnTo>
                    <a:pt x="0" y="0"/>
                  </a:lnTo>
                  <a:close/>
                </a:path>
              </a:pathLst>
            </a:custGeom>
            <a:solidFill>
              <a:schemeClr val="accent1"/>
            </a:solid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17" name="Forma libre 162">
              <a:extLst>
                <a:ext uri="{FF2B5EF4-FFF2-40B4-BE49-F238E27FC236}">
                  <a16:creationId xmlns:a16="http://schemas.microsoft.com/office/drawing/2014/main" id="{D2D6419B-3149-834A-0A87-EBC1BD286FC1}"/>
                </a:ext>
              </a:extLst>
            </p:cNvPr>
            <p:cNvSpPr/>
            <p:nvPr/>
          </p:nvSpPr>
          <p:spPr>
            <a:xfrm>
              <a:off x="9064049" y="952169"/>
              <a:ext cx="24866" cy="31440"/>
            </a:xfrm>
            <a:custGeom>
              <a:avLst/>
              <a:gdLst>
                <a:gd name="connsiteX0" fmla="*/ 0 w 66231"/>
                <a:gd name="connsiteY0" fmla="*/ 87344 h 87343"/>
                <a:gd name="connsiteX1" fmla="*/ 66232 w 66231"/>
                <a:gd name="connsiteY1" fmla="*/ 0 h 87343"/>
                <a:gd name="connsiteX2" fmla="*/ 19621 w 66231"/>
                <a:gd name="connsiteY2" fmla="*/ 0 h 87343"/>
                <a:gd name="connsiteX3" fmla="*/ 0 w 66231"/>
                <a:gd name="connsiteY3" fmla="*/ 87344 h 87343"/>
              </a:gdLst>
              <a:ahLst/>
              <a:cxnLst>
                <a:cxn ang="0">
                  <a:pos x="connsiteX0" y="connsiteY0"/>
                </a:cxn>
                <a:cxn ang="0">
                  <a:pos x="connsiteX1" y="connsiteY1"/>
                </a:cxn>
                <a:cxn ang="0">
                  <a:pos x="connsiteX2" y="connsiteY2"/>
                </a:cxn>
                <a:cxn ang="0">
                  <a:pos x="connsiteX3" y="connsiteY3"/>
                </a:cxn>
              </a:cxnLst>
              <a:rect l="l" t="t" r="r" b="b"/>
              <a:pathLst>
                <a:path w="66231" h="87343">
                  <a:moveTo>
                    <a:pt x="0" y="87344"/>
                  </a:moveTo>
                  <a:cubicBezTo>
                    <a:pt x="35865" y="72979"/>
                    <a:pt x="61760" y="39760"/>
                    <a:pt x="66232" y="0"/>
                  </a:cubicBezTo>
                  <a:lnTo>
                    <a:pt x="19621" y="0"/>
                  </a:lnTo>
                  <a:cubicBezTo>
                    <a:pt x="18304" y="32395"/>
                    <a:pt x="11613" y="64611"/>
                    <a:pt x="0" y="87344"/>
                  </a:cubicBezTo>
                  <a:close/>
                </a:path>
              </a:pathLst>
            </a:custGeom>
            <a:solidFill>
              <a:schemeClr val="accent1"/>
            </a:solid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18" name="Gráfico 53">
              <a:extLst>
                <a:ext uri="{FF2B5EF4-FFF2-40B4-BE49-F238E27FC236}">
                  <a16:creationId xmlns:a16="http://schemas.microsoft.com/office/drawing/2014/main" id="{D5FD5924-A573-38C0-F01B-DC3BC72B751D}"/>
                </a:ext>
              </a:extLst>
            </p:cNvPr>
            <p:cNvSpPr/>
            <p:nvPr/>
          </p:nvSpPr>
          <p:spPr>
            <a:xfrm>
              <a:off x="9096844" y="1007674"/>
              <a:ext cx="55474" cy="70915"/>
            </a:xfrm>
            <a:custGeom>
              <a:avLst/>
              <a:gdLst>
                <a:gd name="connsiteX0" fmla="*/ 392446 w 428123"/>
                <a:gd name="connsiteY0" fmla="*/ 71354 h 570831"/>
                <a:gd name="connsiteX1" fmla="*/ 321092 w 428123"/>
                <a:gd name="connsiteY1" fmla="*/ 71354 h 570831"/>
                <a:gd name="connsiteX2" fmla="*/ 321092 w 428123"/>
                <a:gd name="connsiteY2" fmla="*/ 0 h 570831"/>
                <a:gd name="connsiteX3" fmla="*/ 107031 w 428123"/>
                <a:gd name="connsiteY3" fmla="*/ 0 h 570831"/>
                <a:gd name="connsiteX4" fmla="*/ 107031 w 428123"/>
                <a:gd name="connsiteY4" fmla="*/ 71354 h 570831"/>
                <a:gd name="connsiteX5" fmla="*/ 35677 w 428123"/>
                <a:gd name="connsiteY5" fmla="*/ 71354 h 570831"/>
                <a:gd name="connsiteX6" fmla="*/ 0 w 428123"/>
                <a:gd name="connsiteY6" fmla="*/ 107031 h 570831"/>
                <a:gd name="connsiteX7" fmla="*/ 0 w 428123"/>
                <a:gd name="connsiteY7" fmla="*/ 535154 h 570831"/>
                <a:gd name="connsiteX8" fmla="*/ 35677 w 428123"/>
                <a:gd name="connsiteY8" fmla="*/ 570831 h 570831"/>
                <a:gd name="connsiteX9" fmla="*/ 392446 w 428123"/>
                <a:gd name="connsiteY9" fmla="*/ 570831 h 570831"/>
                <a:gd name="connsiteX10" fmla="*/ 428123 w 428123"/>
                <a:gd name="connsiteY10" fmla="*/ 535154 h 570831"/>
                <a:gd name="connsiteX11" fmla="*/ 428123 w 428123"/>
                <a:gd name="connsiteY11" fmla="*/ 107031 h 570831"/>
                <a:gd name="connsiteX12" fmla="*/ 392446 w 428123"/>
                <a:gd name="connsiteY12" fmla="*/ 71354 h 570831"/>
                <a:gd name="connsiteX13" fmla="*/ 214062 w 428123"/>
                <a:gd name="connsiteY13" fmla="*/ 499477 h 570831"/>
                <a:gd name="connsiteX14" fmla="*/ 196223 w 428123"/>
                <a:gd name="connsiteY14" fmla="*/ 356769 h 570831"/>
                <a:gd name="connsiteX15" fmla="*/ 124869 w 428123"/>
                <a:gd name="connsiteY15" fmla="*/ 356769 h 570831"/>
                <a:gd name="connsiteX16" fmla="*/ 214062 w 428123"/>
                <a:gd name="connsiteY16" fmla="*/ 142708 h 570831"/>
                <a:gd name="connsiteX17" fmla="*/ 231900 w 428123"/>
                <a:gd name="connsiteY17" fmla="*/ 285416 h 570831"/>
                <a:gd name="connsiteX18" fmla="*/ 303253 w 428123"/>
                <a:gd name="connsiteY18" fmla="*/ 285416 h 570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8123" h="570831">
                  <a:moveTo>
                    <a:pt x="392446" y="71354"/>
                  </a:moveTo>
                  <a:lnTo>
                    <a:pt x="321092" y="71354"/>
                  </a:lnTo>
                  <a:lnTo>
                    <a:pt x="321092" y="0"/>
                  </a:lnTo>
                  <a:lnTo>
                    <a:pt x="107031" y="0"/>
                  </a:lnTo>
                  <a:lnTo>
                    <a:pt x="107031" y="71354"/>
                  </a:lnTo>
                  <a:lnTo>
                    <a:pt x="35677" y="71354"/>
                  </a:lnTo>
                  <a:cubicBezTo>
                    <a:pt x="15974" y="71354"/>
                    <a:pt x="0" y="87328"/>
                    <a:pt x="0" y="107031"/>
                  </a:cubicBezTo>
                  <a:lnTo>
                    <a:pt x="0" y="535154"/>
                  </a:lnTo>
                  <a:cubicBezTo>
                    <a:pt x="0" y="554857"/>
                    <a:pt x="15974" y="570831"/>
                    <a:pt x="35677" y="570831"/>
                  </a:cubicBezTo>
                  <a:lnTo>
                    <a:pt x="392446" y="570831"/>
                  </a:lnTo>
                  <a:cubicBezTo>
                    <a:pt x="412149" y="570831"/>
                    <a:pt x="428123" y="554857"/>
                    <a:pt x="428123" y="535154"/>
                  </a:cubicBezTo>
                  <a:lnTo>
                    <a:pt x="428123" y="107031"/>
                  </a:lnTo>
                  <a:cubicBezTo>
                    <a:pt x="428123" y="87328"/>
                    <a:pt x="412148" y="71354"/>
                    <a:pt x="392446" y="71354"/>
                  </a:cubicBezTo>
                  <a:close/>
                  <a:moveTo>
                    <a:pt x="214062" y="499477"/>
                  </a:moveTo>
                  <a:lnTo>
                    <a:pt x="196223" y="356769"/>
                  </a:lnTo>
                  <a:lnTo>
                    <a:pt x="124869" y="356769"/>
                  </a:lnTo>
                  <a:lnTo>
                    <a:pt x="214062" y="142708"/>
                  </a:lnTo>
                  <a:lnTo>
                    <a:pt x="231900" y="285416"/>
                  </a:lnTo>
                  <a:lnTo>
                    <a:pt x="303253" y="285416"/>
                  </a:lnTo>
                  <a:close/>
                </a:path>
              </a:pathLst>
            </a:custGeom>
            <a:solidFill>
              <a:schemeClr val="accent1"/>
            </a:solidFill>
            <a:ln w="10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19" name="Rectangle: Rounded Corners 42">
              <a:extLst>
                <a:ext uri="{FF2B5EF4-FFF2-40B4-BE49-F238E27FC236}">
                  <a16:creationId xmlns:a16="http://schemas.microsoft.com/office/drawing/2014/main" id="{151E8BE0-8897-0C55-8314-01FB89A4E60D}"/>
                </a:ext>
              </a:extLst>
            </p:cNvPr>
            <p:cNvSpPr/>
            <p:nvPr/>
          </p:nvSpPr>
          <p:spPr>
            <a:xfrm>
              <a:off x="9231555" y="1110423"/>
              <a:ext cx="349890" cy="6003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sp>
          <p:nvSpPr>
            <p:cNvPr id="120" name="Rectangle: Rounded Corners 43">
              <a:extLst>
                <a:ext uri="{FF2B5EF4-FFF2-40B4-BE49-F238E27FC236}">
                  <a16:creationId xmlns:a16="http://schemas.microsoft.com/office/drawing/2014/main" id="{20A15254-0914-4EB5-33D4-5B19DA62AF22}"/>
                </a:ext>
              </a:extLst>
            </p:cNvPr>
            <p:cNvSpPr/>
            <p:nvPr/>
          </p:nvSpPr>
          <p:spPr>
            <a:xfrm>
              <a:off x="9037320" y="1106219"/>
              <a:ext cx="174289" cy="21917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sp>
          <p:nvSpPr>
            <p:cNvPr id="121" name="Rectangle: Rounded Corners 44">
              <a:extLst>
                <a:ext uri="{FF2B5EF4-FFF2-40B4-BE49-F238E27FC236}">
                  <a16:creationId xmlns:a16="http://schemas.microsoft.com/office/drawing/2014/main" id="{5B774C67-FCFE-8E22-D6AF-53EDD24B7715}"/>
                </a:ext>
              </a:extLst>
            </p:cNvPr>
            <p:cNvSpPr/>
            <p:nvPr/>
          </p:nvSpPr>
          <p:spPr>
            <a:xfrm>
              <a:off x="9041089" y="1353023"/>
              <a:ext cx="176551" cy="12691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sp>
          <p:nvSpPr>
            <p:cNvPr id="122" name="Rectangle: Rounded Corners 45">
              <a:extLst>
                <a:ext uri="{FF2B5EF4-FFF2-40B4-BE49-F238E27FC236}">
                  <a16:creationId xmlns:a16="http://schemas.microsoft.com/office/drawing/2014/main" id="{CD4AF5B7-390D-B792-2810-F013427D53AB}"/>
                </a:ext>
              </a:extLst>
            </p:cNvPr>
            <p:cNvSpPr/>
            <p:nvPr/>
          </p:nvSpPr>
          <p:spPr>
            <a:xfrm>
              <a:off x="9231555" y="1186476"/>
              <a:ext cx="349890" cy="6003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sp>
          <p:nvSpPr>
            <p:cNvPr id="123" name="Forma libre 160">
              <a:extLst>
                <a:ext uri="{FF2B5EF4-FFF2-40B4-BE49-F238E27FC236}">
                  <a16:creationId xmlns:a16="http://schemas.microsoft.com/office/drawing/2014/main" id="{6ED6724C-F206-8AF9-926F-DC54E89BD9DB}"/>
                </a:ext>
              </a:extLst>
            </p:cNvPr>
            <p:cNvSpPr/>
            <p:nvPr/>
          </p:nvSpPr>
          <p:spPr>
            <a:xfrm>
              <a:off x="8977745" y="875116"/>
              <a:ext cx="142874" cy="179791"/>
            </a:xfrm>
            <a:custGeom>
              <a:avLst/>
              <a:gdLst>
                <a:gd name="connsiteX0" fmla="*/ 285416 w 380553"/>
                <a:gd name="connsiteY0" fmla="*/ 440016 h 499477"/>
                <a:gd name="connsiteX1" fmla="*/ 371042 w 380553"/>
                <a:gd name="connsiteY1" fmla="*/ 335145 h 499477"/>
                <a:gd name="connsiteX2" fmla="*/ 380554 w 380553"/>
                <a:gd name="connsiteY2" fmla="*/ 323496 h 499477"/>
                <a:gd name="connsiteX3" fmla="*/ 380554 w 380553"/>
                <a:gd name="connsiteY3" fmla="*/ 47570 h 499477"/>
                <a:gd name="connsiteX4" fmla="*/ 332985 w 380553"/>
                <a:gd name="connsiteY4" fmla="*/ 0 h 499477"/>
                <a:gd name="connsiteX5" fmla="*/ 47570 w 380553"/>
                <a:gd name="connsiteY5" fmla="*/ 0 h 499477"/>
                <a:gd name="connsiteX6" fmla="*/ 0 w 380553"/>
                <a:gd name="connsiteY6" fmla="*/ 47570 h 499477"/>
                <a:gd name="connsiteX7" fmla="*/ 0 w 380553"/>
                <a:gd name="connsiteY7" fmla="*/ 451909 h 499477"/>
                <a:gd name="connsiteX8" fmla="*/ 47570 w 380553"/>
                <a:gd name="connsiteY8" fmla="*/ 499477 h 499477"/>
                <a:gd name="connsiteX9" fmla="*/ 283604 w 380553"/>
                <a:gd name="connsiteY9" fmla="*/ 499477 h 499477"/>
                <a:gd name="connsiteX10" fmla="*/ 293557 w 380553"/>
                <a:gd name="connsiteY10" fmla="*/ 494089 h 499477"/>
                <a:gd name="connsiteX11" fmla="*/ 294498 w 380553"/>
                <a:gd name="connsiteY11" fmla="*/ 482800 h 499477"/>
                <a:gd name="connsiteX12" fmla="*/ 285416 w 380553"/>
                <a:gd name="connsiteY12" fmla="*/ 440016 h 499477"/>
                <a:gd name="connsiteX13" fmla="*/ 225954 w 380553"/>
                <a:gd name="connsiteY13" fmla="*/ 428123 h 499477"/>
                <a:gd name="connsiteX14" fmla="*/ 154600 w 380553"/>
                <a:gd name="connsiteY14" fmla="*/ 428123 h 499477"/>
                <a:gd name="connsiteX15" fmla="*/ 142708 w 380553"/>
                <a:gd name="connsiteY15" fmla="*/ 416231 h 499477"/>
                <a:gd name="connsiteX16" fmla="*/ 154600 w 380553"/>
                <a:gd name="connsiteY16" fmla="*/ 404338 h 499477"/>
                <a:gd name="connsiteX17" fmla="*/ 225954 w 380553"/>
                <a:gd name="connsiteY17" fmla="*/ 404338 h 499477"/>
                <a:gd name="connsiteX18" fmla="*/ 237847 w 380553"/>
                <a:gd name="connsiteY18" fmla="*/ 416231 h 499477"/>
                <a:gd name="connsiteX19" fmla="*/ 225954 w 380553"/>
                <a:gd name="connsiteY19" fmla="*/ 428123 h 499477"/>
                <a:gd name="connsiteX20" fmla="*/ 261631 w 380553"/>
                <a:gd name="connsiteY20" fmla="*/ 380554 h 499477"/>
                <a:gd name="connsiteX21" fmla="*/ 83247 w 380553"/>
                <a:gd name="connsiteY21" fmla="*/ 380554 h 499477"/>
                <a:gd name="connsiteX22" fmla="*/ 71354 w 380553"/>
                <a:gd name="connsiteY22" fmla="*/ 368661 h 499477"/>
                <a:gd name="connsiteX23" fmla="*/ 83247 w 380553"/>
                <a:gd name="connsiteY23" fmla="*/ 356769 h 499477"/>
                <a:gd name="connsiteX24" fmla="*/ 261631 w 380553"/>
                <a:gd name="connsiteY24" fmla="*/ 356769 h 499477"/>
                <a:gd name="connsiteX25" fmla="*/ 273524 w 380553"/>
                <a:gd name="connsiteY25" fmla="*/ 368662 h 499477"/>
                <a:gd name="connsiteX26" fmla="*/ 261631 w 380553"/>
                <a:gd name="connsiteY26" fmla="*/ 380554 h 499477"/>
                <a:gd name="connsiteX27" fmla="*/ 190277 w 380553"/>
                <a:gd name="connsiteY27" fmla="*/ 332985 h 499477"/>
                <a:gd name="connsiteX28" fmla="*/ 59462 w 380553"/>
                <a:gd name="connsiteY28" fmla="*/ 202170 h 499477"/>
                <a:gd name="connsiteX29" fmla="*/ 190277 w 380553"/>
                <a:gd name="connsiteY29" fmla="*/ 71354 h 499477"/>
                <a:gd name="connsiteX30" fmla="*/ 321092 w 380553"/>
                <a:gd name="connsiteY30" fmla="*/ 202169 h 499477"/>
                <a:gd name="connsiteX31" fmla="*/ 190277 w 380553"/>
                <a:gd name="connsiteY31" fmla="*/ 332985 h 49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80553" h="499477">
                  <a:moveTo>
                    <a:pt x="285416" y="440016"/>
                  </a:moveTo>
                  <a:cubicBezTo>
                    <a:pt x="285416" y="389369"/>
                    <a:pt x="321429" y="345272"/>
                    <a:pt x="371042" y="335145"/>
                  </a:cubicBezTo>
                  <a:cubicBezTo>
                    <a:pt x="376570" y="334019"/>
                    <a:pt x="380554" y="329152"/>
                    <a:pt x="380554" y="323496"/>
                  </a:cubicBezTo>
                  <a:lnTo>
                    <a:pt x="380554" y="47570"/>
                  </a:lnTo>
                  <a:cubicBezTo>
                    <a:pt x="380555" y="21334"/>
                    <a:pt x="359220" y="0"/>
                    <a:pt x="332985" y="0"/>
                  </a:cubicBezTo>
                  <a:lnTo>
                    <a:pt x="47570" y="0"/>
                  </a:lnTo>
                  <a:cubicBezTo>
                    <a:pt x="21335" y="0"/>
                    <a:pt x="0" y="21334"/>
                    <a:pt x="0" y="47570"/>
                  </a:cubicBezTo>
                  <a:lnTo>
                    <a:pt x="0" y="451909"/>
                  </a:lnTo>
                  <a:cubicBezTo>
                    <a:pt x="0" y="478143"/>
                    <a:pt x="21335" y="499477"/>
                    <a:pt x="47570" y="499477"/>
                  </a:cubicBezTo>
                  <a:lnTo>
                    <a:pt x="283604" y="499477"/>
                  </a:lnTo>
                  <a:cubicBezTo>
                    <a:pt x="287622" y="499477"/>
                    <a:pt x="291361" y="497445"/>
                    <a:pt x="293557" y="494089"/>
                  </a:cubicBezTo>
                  <a:cubicBezTo>
                    <a:pt x="295752" y="490721"/>
                    <a:pt x="296112" y="486482"/>
                    <a:pt x="294498" y="482800"/>
                  </a:cubicBezTo>
                  <a:cubicBezTo>
                    <a:pt x="288470" y="469085"/>
                    <a:pt x="285416" y="454695"/>
                    <a:pt x="285416" y="440016"/>
                  </a:cubicBezTo>
                  <a:close/>
                  <a:moveTo>
                    <a:pt x="225954" y="428123"/>
                  </a:moveTo>
                  <a:lnTo>
                    <a:pt x="154600" y="428123"/>
                  </a:lnTo>
                  <a:cubicBezTo>
                    <a:pt x="148027" y="428123"/>
                    <a:pt x="142708" y="422804"/>
                    <a:pt x="142708" y="416231"/>
                  </a:cubicBezTo>
                  <a:cubicBezTo>
                    <a:pt x="142708" y="409657"/>
                    <a:pt x="148027" y="404338"/>
                    <a:pt x="154600" y="404338"/>
                  </a:cubicBezTo>
                  <a:lnTo>
                    <a:pt x="225954" y="404338"/>
                  </a:lnTo>
                  <a:cubicBezTo>
                    <a:pt x="232528" y="404338"/>
                    <a:pt x="237847" y="409657"/>
                    <a:pt x="237847" y="416231"/>
                  </a:cubicBezTo>
                  <a:cubicBezTo>
                    <a:pt x="237847" y="422804"/>
                    <a:pt x="232528" y="428123"/>
                    <a:pt x="225954" y="428123"/>
                  </a:cubicBezTo>
                  <a:close/>
                  <a:moveTo>
                    <a:pt x="261631" y="380554"/>
                  </a:moveTo>
                  <a:lnTo>
                    <a:pt x="83247" y="380554"/>
                  </a:lnTo>
                  <a:cubicBezTo>
                    <a:pt x="76673" y="380554"/>
                    <a:pt x="71354" y="375234"/>
                    <a:pt x="71354" y="368661"/>
                  </a:cubicBezTo>
                  <a:cubicBezTo>
                    <a:pt x="71354" y="362089"/>
                    <a:pt x="76673" y="356769"/>
                    <a:pt x="83247" y="356769"/>
                  </a:cubicBezTo>
                  <a:lnTo>
                    <a:pt x="261631" y="356769"/>
                  </a:lnTo>
                  <a:cubicBezTo>
                    <a:pt x="268205" y="356769"/>
                    <a:pt x="273524" y="362089"/>
                    <a:pt x="273524" y="368662"/>
                  </a:cubicBezTo>
                  <a:cubicBezTo>
                    <a:pt x="273524" y="375236"/>
                    <a:pt x="268205" y="380554"/>
                    <a:pt x="261631" y="380554"/>
                  </a:cubicBezTo>
                  <a:close/>
                  <a:moveTo>
                    <a:pt x="190277" y="332985"/>
                  </a:moveTo>
                  <a:cubicBezTo>
                    <a:pt x="118145" y="332985"/>
                    <a:pt x="59462" y="274302"/>
                    <a:pt x="59462" y="202170"/>
                  </a:cubicBezTo>
                  <a:cubicBezTo>
                    <a:pt x="59462" y="130038"/>
                    <a:pt x="118145" y="71354"/>
                    <a:pt x="190277" y="71354"/>
                  </a:cubicBezTo>
                  <a:cubicBezTo>
                    <a:pt x="262409" y="71354"/>
                    <a:pt x="321092" y="130037"/>
                    <a:pt x="321092" y="202169"/>
                  </a:cubicBezTo>
                  <a:cubicBezTo>
                    <a:pt x="321092" y="274301"/>
                    <a:pt x="262409" y="332985"/>
                    <a:pt x="190277" y="332985"/>
                  </a:cubicBezTo>
                  <a:close/>
                </a:path>
              </a:pathLst>
            </a:custGeom>
            <a:solidFill>
              <a:schemeClr val="accent1"/>
            </a:solid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24" name="Rectangle: Rounded Corners 46">
              <a:extLst>
                <a:ext uri="{FF2B5EF4-FFF2-40B4-BE49-F238E27FC236}">
                  <a16:creationId xmlns:a16="http://schemas.microsoft.com/office/drawing/2014/main" id="{46C46DD6-31C3-47AA-F720-CE689B3751C8}"/>
                </a:ext>
              </a:extLst>
            </p:cNvPr>
            <p:cNvSpPr/>
            <p:nvPr/>
          </p:nvSpPr>
          <p:spPr>
            <a:xfrm>
              <a:off x="9230376" y="1263639"/>
              <a:ext cx="351069" cy="6003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sp>
          <p:nvSpPr>
            <p:cNvPr id="125" name="Rectangle: Rounded Corners 47">
              <a:extLst>
                <a:ext uri="{FF2B5EF4-FFF2-40B4-BE49-F238E27FC236}">
                  <a16:creationId xmlns:a16="http://schemas.microsoft.com/office/drawing/2014/main" id="{D3A43E9E-8351-B7EB-2DE7-54B48215D995}"/>
                </a:ext>
              </a:extLst>
            </p:cNvPr>
            <p:cNvSpPr/>
            <p:nvPr/>
          </p:nvSpPr>
          <p:spPr>
            <a:xfrm>
              <a:off x="9039826" y="1503756"/>
              <a:ext cx="549219" cy="12691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grpSp>
          <p:nvGrpSpPr>
            <p:cNvPr id="126" name="Gráfico 77">
              <a:extLst>
                <a:ext uri="{FF2B5EF4-FFF2-40B4-BE49-F238E27FC236}">
                  <a16:creationId xmlns:a16="http://schemas.microsoft.com/office/drawing/2014/main" id="{12908E1F-12EC-3E75-1DF1-946A3D7D9DD7}"/>
                </a:ext>
              </a:extLst>
            </p:cNvPr>
            <p:cNvGrpSpPr/>
            <p:nvPr/>
          </p:nvGrpSpPr>
          <p:grpSpPr>
            <a:xfrm>
              <a:off x="9055634" y="1533211"/>
              <a:ext cx="78520" cy="75282"/>
              <a:chOff x="7427271" y="2932309"/>
              <a:chExt cx="570829" cy="570830"/>
            </a:xfrm>
            <a:solidFill>
              <a:schemeClr val="bg1"/>
            </a:solidFill>
          </p:grpSpPr>
          <p:sp>
            <p:nvSpPr>
              <p:cNvPr id="164" name="Forma libre 199">
                <a:extLst>
                  <a:ext uri="{FF2B5EF4-FFF2-40B4-BE49-F238E27FC236}">
                    <a16:creationId xmlns:a16="http://schemas.microsoft.com/office/drawing/2014/main" id="{0D8A00BD-072D-2ED4-3C0F-D9BBCCED9334}"/>
                  </a:ext>
                </a:extLst>
              </p:cNvPr>
              <p:cNvSpPr/>
              <p:nvPr/>
            </p:nvSpPr>
            <p:spPr>
              <a:xfrm>
                <a:off x="7427271" y="2932309"/>
                <a:ext cx="523262" cy="237845"/>
              </a:xfrm>
              <a:custGeom>
                <a:avLst/>
                <a:gdLst>
                  <a:gd name="connsiteX0" fmla="*/ 261631 w 523262"/>
                  <a:gd name="connsiteY0" fmla="*/ 237846 h 237845"/>
                  <a:gd name="connsiteX1" fmla="*/ 523263 w 523262"/>
                  <a:gd name="connsiteY1" fmla="*/ 154599 h 237845"/>
                  <a:gd name="connsiteX2" fmla="*/ 523263 w 523262"/>
                  <a:gd name="connsiteY2" fmla="*/ 71354 h 237845"/>
                  <a:gd name="connsiteX3" fmla="*/ 261631 w 523262"/>
                  <a:gd name="connsiteY3" fmla="*/ 0 h 237845"/>
                  <a:gd name="connsiteX4" fmla="*/ 0 w 523262"/>
                  <a:gd name="connsiteY4" fmla="*/ 71354 h 237845"/>
                  <a:gd name="connsiteX5" fmla="*/ 0 w 523262"/>
                  <a:gd name="connsiteY5" fmla="*/ 154600 h 237845"/>
                  <a:gd name="connsiteX6" fmla="*/ 261631 w 523262"/>
                  <a:gd name="connsiteY6" fmla="*/ 237846 h 237845"/>
                  <a:gd name="connsiteX7" fmla="*/ 261631 w 523262"/>
                  <a:gd name="connsiteY7" fmla="*/ 23784 h 237845"/>
                  <a:gd name="connsiteX8" fmla="*/ 475693 w 523262"/>
                  <a:gd name="connsiteY8" fmla="*/ 71354 h 237845"/>
                  <a:gd name="connsiteX9" fmla="*/ 261631 w 523262"/>
                  <a:gd name="connsiteY9" fmla="*/ 118924 h 237845"/>
                  <a:gd name="connsiteX10" fmla="*/ 47570 w 523262"/>
                  <a:gd name="connsiteY10" fmla="*/ 71354 h 237845"/>
                  <a:gd name="connsiteX11" fmla="*/ 261631 w 523262"/>
                  <a:gd name="connsiteY11" fmla="*/ 23784 h 237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3262" h="237845">
                    <a:moveTo>
                      <a:pt x="261631" y="237846"/>
                    </a:moveTo>
                    <a:cubicBezTo>
                      <a:pt x="391634" y="237846"/>
                      <a:pt x="523263" y="209253"/>
                      <a:pt x="523263" y="154599"/>
                    </a:cubicBezTo>
                    <a:lnTo>
                      <a:pt x="523263" y="71354"/>
                    </a:lnTo>
                    <a:cubicBezTo>
                      <a:pt x="523263" y="22333"/>
                      <a:pt x="387639" y="0"/>
                      <a:pt x="261631" y="0"/>
                    </a:cubicBezTo>
                    <a:cubicBezTo>
                      <a:pt x="135624" y="0"/>
                      <a:pt x="0" y="22333"/>
                      <a:pt x="0" y="71354"/>
                    </a:cubicBezTo>
                    <a:lnTo>
                      <a:pt x="0" y="154600"/>
                    </a:lnTo>
                    <a:cubicBezTo>
                      <a:pt x="0" y="209254"/>
                      <a:pt x="131629" y="237846"/>
                      <a:pt x="261631" y="237846"/>
                    </a:cubicBezTo>
                    <a:close/>
                    <a:moveTo>
                      <a:pt x="261631" y="23784"/>
                    </a:moveTo>
                    <a:cubicBezTo>
                      <a:pt x="400135" y="23784"/>
                      <a:pt x="475693" y="55211"/>
                      <a:pt x="475693" y="71354"/>
                    </a:cubicBezTo>
                    <a:cubicBezTo>
                      <a:pt x="475693" y="87497"/>
                      <a:pt x="400135" y="118924"/>
                      <a:pt x="261631" y="118924"/>
                    </a:cubicBezTo>
                    <a:cubicBezTo>
                      <a:pt x="123128" y="118924"/>
                      <a:pt x="47570" y="87497"/>
                      <a:pt x="47570" y="71354"/>
                    </a:cubicBezTo>
                    <a:cubicBezTo>
                      <a:pt x="47570" y="55211"/>
                      <a:pt x="123128" y="23784"/>
                      <a:pt x="261631" y="23784"/>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65" name="Forma libre 200">
                <a:extLst>
                  <a:ext uri="{FF2B5EF4-FFF2-40B4-BE49-F238E27FC236}">
                    <a16:creationId xmlns:a16="http://schemas.microsoft.com/office/drawing/2014/main" id="{007AB6FE-67A0-4321-D388-A01DD894EBEF}"/>
                  </a:ext>
                </a:extLst>
              </p:cNvPr>
              <p:cNvSpPr/>
              <p:nvPr/>
            </p:nvSpPr>
            <p:spPr>
              <a:xfrm>
                <a:off x="7427271" y="3146452"/>
                <a:ext cx="523261" cy="166410"/>
              </a:xfrm>
              <a:custGeom>
                <a:avLst/>
                <a:gdLst>
                  <a:gd name="connsiteX0" fmla="*/ 360881 w 523261"/>
                  <a:gd name="connsiteY0" fmla="*/ 152741 h 166410"/>
                  <a:gd name="connsiteX1" fmla="*/ 463800 w 523261"/>
                  <a:gd name="connsiteY1" fmla="*/ 71272 h 166410"/>
                  <a:gd name="connsiteX2" fmla="*/ 506538 w 523261"/>
                  <a:gd name="connsiteY2" fmla="*/ 80632 h 166410"/>
                  <a:gd name="connsiteX3" fmla="*/ 517850 w 523261"/>
                  <a:gd name="connsiteY3" fmla="*/ 79738 h 166410"/>
                  <a:gd name="connsiteX4" fmla="*/ 523261 w 523261"/>
                  <a:gd name="connsiteY4" fmla="*/ 69762 h 166410"/>
                  <a:gd name="connsiteX5" fmla="*/ 523261 w 523261"/>
                  <a:gd name="connsiteY5" fmla="*/ 11903 h 166410"/>
                  <a:gd name="connsiteX6" fmla="*/ 517245 w 523261"/>
                  <a:gd name="connsiteY6" fmla="*/ 1555 h 166410"/>
                  <a:gd name="connsiteX7" fmla="*/ 505284 w 523261"/>
                  <a:gd name="connsiteY7" fmla="*/ 1695 h 166410"/>
                  <a:gd name="connsiteX8" fmla="*/ 261630 w 523261"/>
                  <a:gd name="connsiteY8" fmla="*/ 47487 h 166410"/>
                  <a:gd name="connsiteX9" fmla="*/ 17977 w 523261"/>
                  <a:gd name="connsiteY9" fmla="*/ 1695 h 166410"/>
                  <a:gd name="connsiteX10" fmla="*/ 6015 w 523261"/>
                  <a:gd name="connsiteY10" fmla="*/ 1555 h 166410"/>
                  <a:gd name="connsiteX11" fmla="*/ 0 w 523261"/>
                  <a:gd name="connsiteY11" fmla="*/ 11903 h 166410"/>
                  <a:gd name="connsiteX12" fmla="*/ 0 w 523261"/>
                  <a:gd name="connsiteY12" fmla="*/ 83164 h 166410"/>
                  <a:gd name="connsiteX13" fmla="*/ 261631 w 523261"/>
                  <a:gd name="connsiteY13" fmla="*/ 166411 h 166410"/>
                  <a:gd name="connsiteX14" fmla="*/ 350615 w 523261"/>
                  <a:gd name="connsiteY14" fmla="*/ 161707 h 166410"/>
                  <a:gd name="connsiteX15" fmla="*/ 360881 w 523261"/>
                  <a:gd name="connsiteY15" fmla="*/ 152741 h 166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3261" h="166410">
                    <a:moveTo>
                      <a:pt x="360881" y="152741"/>
                    </a:moveTo>
                    <a:cubicBezTo>
                      <a:pt x="372749" y="104777"/>
                      <a:pt x="415070" y="71272"/>
                      <a:pt x="463800" y="71272"/>
                    </a:cubicBezTo>
                    <a:cubicBezTo>
                      <a:pt x="478178" y="71272"/>
                      <a:pt x="492556" y="74419"/>
                      <a:pt x="506538" y="80632"/>
                    </a:cubicBezTo>
                    <a:cubicBezTo>
                      <a:pt x="510254" y="82270"/>
                      <a:pt x="514482" y="81921"/>
                      <a:pt x="517850" y="79738"/>
                    </a:cubicBezTo>
                    <a:cubicBezTo>
                      <a:pt x="521218" y="77543"/>
                      <a:pt x="523261" y="73792"/>
                      <a:pt x="523261" y="69762"/>
                    </a:cubicBezTo>
                    <a:lnTo>
                      <a:pt x="523261" y="11903"/>
                    </a:lnTo>
                    <a:cubicBezTo>
                      <a:pt x="523261" y="7617"/>
                      <a:pt x="520961" y="3669"/>
                      <a:pt x="517245" y="1555"/>
                    </a:cubicBezTo>
                    <a:cubicBezTo>
                      <a:pt x="513483" y="-570"/>
                      <a:pt x="508907" y="-512"/>
                      <a:pt x="505284" y="1695"/>
                    </a:cubicBezTo>
                    <a:cubicBezTo>
                      <a:pt x="432257" y="45281"/>
                      <a:pt x="289503" y="47487"/>
                      <a:pt x="261630" y="47487"/>
                    </a:cubicBezTo>
                    <a:cubicBezTo>
                      <a:pt x="233758" y="47487"/>
                      <a:pt x="91003" y="45281"/>
                      <a:pt x="17977" y="1695"/>
                    </a:cubicBezTo>
                    <a:cubicBezTo>
                      <a:pt x="14353" y="-512"/>
                      <a:pt x="9778" y="-570"/>
                      <a:pt x="6015" y="1555"/>
                    </a:cubicBezTo>
                    <a:cubicBezTo>
                      <a:pt x="2300" y="3669"/>
                      <a:pt x="0" y="7617"/>
                      <a:pt x="0" y="11903"/>
                    </a:cubicBezTo>
                    <a:lnTo>
                      <a:pt x="0" y="83164"/>
                    </a:lnTo>
                    <a:cubicBezTo>
                      <a:pt x="0" y="137818"/>
                      <a:pt x="131629" y="166411"/>
                      <a:pt x="261631" y="166411"/>
                    </a:cubicBezTo>
                    <a:cubicBezTo>
                      <a:pt x="291781" y="166411"/>
                      <a:pt x="321720" y="164831"/>
                      <a:pt x="350615" y="161707"/>
                    </a:cubicBezTo>
                    <a:cubicBezTo>
                      <a:pt x="355585" y="161172"/>
                      <a:pt x="359673" y="157584"/>
                      <a:pt x="360881" y="152741"/>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66" name="Forma libre 201">
                <a:extLst>
                  <a:ext uri="{FF2B5EF4-FFF2-40B4-BE49-F238E27FC236}">
                    <a16:creationId xmlns:a16="http://schemas.microsoft.com/office/drawing/2014/main" id="{0886B669-0B44-8357-37A5-AC8848DA8385}"/>
                  </a:ext>
                </a:extLst>
              </p:cNvPr>
              <p:cNvSpPr/>
              <p:nvPr/>
            </p:nvSpPr>
            <p:spPr>
              <a:xfrm>
                <a:off x="7427271" y="3289164"/>
                <a:ext cx="334723" cy="166406"/>
              </a:xfrm>
              <a:custGeom>
                <a:avLst/>
                <a:gdLst>
                  <a:gd name="connsiteX0" fmla="*/ 322021 w 334723"/>
                  <a:gd name="connsiteY0" fmla="*/ 45277 h 166406"/>
                  <a:gd name="connsiteX1" fmla="*/ 261630 w 334723"/>
                  <a:gd name="connsiteY1" fmla="*/ 47483 h 166406"/>
                  <a:gd name="connsiteX2" fmla="*/ 17977 w 334723"/>
                  <a:gd name="connsiteY2" fmla="*/ 1691 h 166406"/>
                  <a:gd name="connsiteX3" fmla="*/ 6015 w 334723"/>
                  <a:gd name="connsiteY3" fmla="*/ 1551 h 166406"/>
                  <a:gd name="connsiteX4" fmla="*/ 0 w 334723"/>
                  <a:gd name="connsiteY4" fmla="*/ 11899 h 166406"/>
                  <a:gd name="connsiteX5" fmla="*/ 0 w 334723"/>
                  <a:gd name="connsiteY5" fmla="*/ 83160 h 166406"/>
                  <a:gd name="connsiteX6" fmla="*/ 261631 w 334723"/>
                  <a:gd name="connsiteY6" fmla="*/ 166407 h 166406"/>
                  <a:gd name="connsiteX7" fmla="*/ 321929 w 334723"/>
                  <a:gd name="connsiteY7" fmla="*/ 164246 h 166406"/>
                  <a:gd name="connsiteX8" fmla="*/ 332985 w 334723"/>
                  <a:gd name="connsiteY8" fmla="*/ 152389 h 166406"/>
                  <a:gd name="connsiteX9" fmla="*/ 332985 w 334723"/>
                  <a:gd name="connsiteY9" fmla="*/ 71267 h 166406"/>
                  <a:gd name="connsiteX10" fmla="*/ 334379 w 334723"/>
                  <a:gd name="connsiteY10" fmla="*/ 59990 h 166406"/>
                  <a:gd name="connsiteX11" fmla="*/ 331939 w 334723"/>
                  <a:gd name="connsiteY11" fmla="*/ 49491 h 166406"/>
                  <a:gd name="connsiteX12" fmla="*/ 322021 w 334723"/>
                  <a:gd name="connsiteY12" fmla="*/ 45277 h 166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4723" h="166406">
                    <a:moveTo>
                      <a:pt x="322021" y="45277"/>
                    </a:moveTo>
                    <a:cubicBezTo>
                      <a:pt x="294357" y="47193"/>
                      <a:pt x="272315" y="47483"/>
                      <a:pt x="261630" y="47483"/>
                    </a:cubicBezTo>
                    <a:cubicBezTo>
                      <a:pt x="233758" y="47483"/>
                      <a:pt x="91003" y="45277"/>
                      <a:pt x="17977" y="1691"/>
                    </a:cubicBezTo>
                    <a:cubicBezTo>
                      <a:pt x="14353" y="-516"/>
                      <a:pt x="9778" y="-563"/>
                      <a:pt x="6015" y="1551"/>
                    </a:cubicBezTo>
                    <a:cubicBezTo>
                      <a:pt x="2300" y="3665"/>
                      <a:pt x="0" y="7613"/>
                      <a:pt x="0" y="11899"/>
                    </a:cubicBezTo>
                    <a:lnTo>
                      <a:pt x="0" y="83160"/>
                    </a:lnTo>
                    <a:cubicBezTo>
                      <a:pt x="0" y="137814"/>
                      <a:pt x="131629" y="166407"/>
                      <a:pt x="261631" y="166407"/>
                    </a:cubicBezTo>
                    <a:cubicBezTo>
                      <a:pt x="281212" y="166407"/>
                      <a:pt x="301489" y="165686"/>
                      <a:pt x="321929" y="164246"/>
                    </a:cubicBezTo>
                    <a:cubicBezTo>
                      <a:pt x="328153" y="163817"/>
                      <a:pt x="332985" y="158637"/>
                      <a:pt x="332985" y="152389"/>
                    </a:cubicBezTo>
                    <a:lnTo>
                      <a:pt x="332985" y="71267"/>
                    </a:lnTo>
                    <a:cubicBezTo>
                      <a:pt x="332985" y="67551"/>
                      <a:pt x="333450" y="63753"/>
                      <a:pt x="334379" y="59990"/>
                    </a:cubicBezTo>
                    <a:cubicBezTo>
                      <a:pt x="335285" y="56296"/>
                      <a:pt x="334379" y="52394"/>
                      <a:pt x="331939" y="49491"/>
                    </a:cubicBezTo>
                    <a:cubicBezTo>
                      <a:pt x="329478" y="46577"/>
                      <a:pt x="325413" y="45114"/>
                      <a:pt x="322021" y="45277"/>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67" name="Forma libre 202">
                <a:extLst>
                  <a:ext uri="{FF2B5EF4-FFF2-40B4-BE49-F238E27FC236}">
                    <a16:creationId xmlns:a16="http://schemas.microsoft.com/office/drawing/2014/main" id="{4258BAED-6D68-BF1F-CFC2-336F3717274B}"/>
                  </a:ext>
                </a:extLst>
              </p:cNvPr>
              <p:cNvSpPr/>
              <p:nvPr/>
            </p:nvSpPr>
            <p:spPr>
              <a:xfrm>
                <a:off x="7784040" y="3241508"/>
                <a:ext cx="214060" cy="261631"/>
              </a:xfrm>
              <a:custGeom>
                <a:avLst/>
                <a:gdLst>
                  <a:gd name="connsiteX0" fmla="*/ 190277 w 214060"/>
                  <a:gd name="connsiteY0" fmla="*/ 95139 h 261631"/>
                  <a:gd name="connsiteX1" fmla="*/ 190277 w 214060"/>
                  <a:gd name="connsiteY1" fmla="*/ 83247 h 261631"/>
                  <a:gd name="connsiteX2" fmla="*/ 107031 w 214060"/>
                  <a:gd name="connsiteY2" fmla="*/ 0 h 261631"/>
                  <a:gd name="connsiteX3" fmla="*/ 23784 w 214060"/>
                  <a:gd name="connsiteY3" fmla="*/ 83247 h 261631"/>
                  <a:gd name="connsiteX4" fmla="*/ 23784 w 214060"/>
                  <a:gd name="connsiteY4" fmla="*/ 95139 h 261631"/>
                  <a:gd name="connsiteX5" fmla="*/ 0 w 214060"/>
                  <a:gd name="connsiteY5" fmla="*/ 118923 h 261631"/>
                  <a:gd name="connsiteX6" fmla="*/ 0 w 214060"/>
                  <a:gd name="connsiteY6" fmla="*/ 237847 h 261631"/>
                  <a:gd name="connsiteX7" fmla="*/ 23784 w 214060"/>
                  <a:gd name="connsiteY7" fmla="*/ 261631 h 261631"/>
                  <a:gd name="connsiteX8" fmla="*/ 190276 w 214060"/>
                  <a:gd name="connsiteY8" fmla="*/ 261631 h 261631"/>
                  <a:gd name="connsiteX9" fmla="*/ 214061 w 214060"/>
                  <a:gd name="connsiteY9" fmla="*/ 237847 h 261631"/>
                  <a:gd name="connsiteX10" fmla="*/ 214061 w 214060"/>
                  <a:gd name="connsiteY10" fmla="*/ 118923 h 261631"/>
                  <a:gd name="connsiteX11" fmla="*/ 190277 w 214060"/>
                  <a:gd name="connsiteY11" fmla="*/ 95139 h 261631"/>
                  <a:gd name="connsiteX12" fmla="*/ 118923 w 214060"/>
                  <a:gd name="connsiteY12" fmla="*/ 186620 h 261631"/>
                  <a:gd name="connsiteX13" fmla="*/ 118923 w 214060"/>
                  <a:gd name="connsiteY13" fmla="*/ 202170 h 261631"/>
                  <a:gd name="connsiteX14" fmla="*/ 107031 w 214060"/>
                  <a:gd name="connsiteY14" fmla="*/ 214063 h 261631"/>
                  <a:gd name="connsiteX15" fmla="*/ 95138 w 214060"/>
                  <a:gd name="connsiteY15" fmla="*/ 202170 h 261631"/>
                  <a:gd name="connsiteX16" fmla="*/ 95138 w 214060"/>
                  <a:gd name="connsiteY16" fmla="*/ 186620 h 261631"/>
                  <a:gd name="connsiteX17" fmla="*/ 83245 w 214060"/>
                  <a:gd name="connsiteY17" fmla="*/ 166493 h 261631"/>
                  <a:gd name="connsiteX18" fmla="*/ 107030 w 214060"/>
                  <a:gd name="connsiteY18" fmla="*/ 142709 h 261631"/>
                  <a:gd name="connsiteX19" fmla="*/ 130814 w 214060"/>
                  <a:gd name="connsiteY19" fmla="*/ 166493 h 261631"/>
                  <a:gd name="connsiteX20" fmla="*/ 118923 w 214060"/>
                  <a:gd name="connsiteY20" fmla="*/ 186620 h 261631"/>
                  <a:gd name="connsiteX21" fmla="*/ 142708 w 214060"/>
                  <a:gd name="connsiteY21" fmla="*/ 95139 h 261631"/>
                  <a:gd name="connsiteX22" fmla="*/ 71354 w 214060"/>
                  <a:gd name="connsiteY22" fmla="*/ 95139 h 261631"/>
                  <a:gd name="connsiteX23" fmla="*/ 71354 w 214060"/>
                  <a:gd name="connsiteY23" fmla="*/ 83247 h 261631"/>
                  <a:gd name="connsiteX24" fmla="*/ 107031 w 214060"/>
                  <a:gd name="connsiteY24" fmla="*/ 47570 h 261631"/>
                  <a:gd name="connsiteX25" fmla="*/ 142708 w 214060"/>
                  <a:gd name="connsiteY25" fmla="*/ 83247 h 261631"/>
                  <a:gd name="connsiteX26" fmla="*/ 142708 w 214060"/>
                  <a:gd name="connsiteY26" fmla="*/ 95139 h 261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14060" h="261631">
                    <a:moveTo>
                      <a:pt x="190277" y="95139"/>
                    </a:moveTo>
                    <a:lnTo>
                      <a:pt x="190277" y="83247"/>
                    </a:lnTo>
                    <a:cubicBezTo>
                      <a:pt x="190277" y="37349"/>
                      <a:pt x="152928" y="0"/>
                      <a:pt x="107031" y="0"/>
                    </a:cubicBezTo>
                    <a:cubicBezTo>
                      <a:pt x="61134" y="0"/>
                      <a:pt x="23784" y="37349"/>
                      <a:pt x="23784" y="83247"/>
                    </a:cubicBezTo>
                    <a:lnTo>
                      <a:pt x="23784" y="95139"/>
                    </a:lnTo>
                    <a:cubicBezTo>
                      <a:pt x="10673" y="95139"/>
                      <a:pt x="0" y="105812"/>
                      <a:pt x="0" y="118923"/>
                    </a:cubicBezTo>
                    <a:lnTo>
                      <a:pt x="0" y="237847"/>
                    </a:lnTo>
                    <a:cubicBezTo>
                      <a:pt x="0" y="250958"/>
                      <a:pt x="10673" y="261631"/>
                      <a:pt x="23784" y="261631"/>
                    </a:cubicBezTo>
                    <a:lnTo>
                      <a:pt x="190276" y="261631"/>
                    </a:lnTo>
                    <a:cubicBezTo>
                      <a:pt x="203388" y="261631"/>
                      <a:pt x="214061" y="250958"/>
                      <a:pt x="214061" y="237847"/>
                    </a:cubicBezTo>
                    <a:lnTo>
                      <a:pt x="214061" y="118923"/>
                    </a:lnTo>
                    <a:cubicBezTo>
                      <a:pt x="214062" y="105812"/>
                      <a:pt x="203389" y="95139"/>
                      <a:pt x="190277" y="95139"/>
                    </a:cubicBezTo>
                    <a:close/>
                    <a:moveTo>
                      <a:pt x="118923" y="186620"/>
                    </a:moveTo>
                    <a:lnTo>
                      <a:pt x="118923" y="202170"/>
                    </a:lnTo>
                    <a:cubicBezTo>
                      <a:pt x="118923" y="208744"/>
                      <a:pt x="113604" y="214063"/>
                      <a:pt x="107031" y="214063"/>
                    </a:cubicBezTo>
                    <a:cubicBezTo>
                      <a:pt x="100457" y="214063"/>
                      <a:pt x="95138" y="208744"/>
                      <a:pt x="95138" y="202170"/>
                    </a:cubicBezTo>
                    <a:lnTo>
                      <a:pt x="95138" y="186620"/>
                    </a:lnTo>
                    <a:cubicBezTo>
                      <a:pt x="88161" y="182469"/>
                      <a:pt x="83245" y="175179"/>
                      <a:pt x="83245" y="166493"/>
                    </a:cubicBezTo>
                    <a:cubicBezTo>
                      <a:pt x="83245" y="153382"/>
                      <a:pt x="93918" y="142709"/>
                      <a:pt x="107030" y="142709"/>
                    </a:cubicBezTo>
                    <a:cubicBezTo>
                      <a:pt x="120141" y="142709"/>
                      <a:pt x="130814" y="153382"/>
                      <a:pt x="130814" y="166493"/>
                    </a:cubicBezTo>
                    <a:cubicBezTo>
                      <a:pt x="130815" y="175179"/>
                      <a:pt x="125899" y="182469"/>
                      <a:pt x="118923" y="186620"/>
                    </a:cubicBezTo>
                    <a:close/>
                    <a:moveTo>
                      <a:pt x="142708" y="95139"/>
                    </a:moveTo>
                    <a:lnTo>
                      <a:pt x="71354" y="95139"/>
                    </a:lnTo>
                    <a:lnTo>
                      <a:pt x="71354" y="83247"/>
                    </a:lnTo>
                    <a:cubicBezTo>
                      <a:pt x="71354" y="63573"/>
                      <a:pt x="87357" y="47570"/>
                      <a:pt x="107031" y="47570"/>
                    </a:cubicBezTo>
                    <a:cubicBezTo>
                      <a:pt x="126704" y="47570"/>
                      <a:pt x="142708" y="63573"/>
                      <a:pt x="142708" y="83247"/>
                    </a:cubicBezTo>
                    <a:lnTo>
                      <a:pt x="142708" y="95139"/>
                    </a:ln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grpSp>
        <p:grpSp>
          <p:nvGrpSpPr>
            <p:cNvPr id="127" name="Gráfico 232">
              <a:extLst>
                <a:ext uri="{FF2B5EF4-FFF2-40B4-BE49-F238E27FC236}">
                  <a16:creationId xmlns:a16="http://schemas.microsoft.com/office/drawing/2014/main" id="{5CC14AE3-AC79-6095-BD11-DF2F93E28B97}"/>
                </a:ext>
              </a:extLst>
            </p:cNvPr>
            <p:cNvGrpSpPr/>
            <p:nvPr/>
          </p:nvGrpSpPr>
          <p:grpSpPr>
            <a:xfrm>
              <a:off x="9055853" y="1138925"/>
              <a:ext cx="132804" cy="138902"/>
              <a:chOff x="4023312" y="4118557"/>
              <a:chExt cx="523265" cy="570831"/>
            </a:xfrm>
            <a:solidFill>
              <a:schemeClr val="tx2"/>
            </a:solidFill>
          </p:grpSpPr>
          <p:sp>
            <p:nvSpPr>
              <p:cNvPr id="159" name="Forma libre 292">
                <a:extLst>
                  <a:ext uri="{FF2B5EF4-FFF2-40B4-BE49-F238E27FC236}">
                    <a16:creationId xmlns:a16="http://schemas.microsoft.com/office/drawing/2014/main" id="{87C8CE6F-8CA7-EA5C-F598-DF345D04E7A3}"/>
                  </a:ext>
                </a:extLst>
              </p:cNvPr>
              <p:cNvSpPr/>
              <p:nvPr/>
            </p:nvSpPr>
            <p:spPr>
              <a:xfrm>
                <a:off x="4273051" y="4474990"/>
                <a:ext cx="202170" cy="178665"/>
              </a:xfrm>
              <a:custGeom>
                <a:avLst/>
                <a:gdLst>
                  <a:gd name="connsiteX0" fmla="*/ 190277 w 202170"/>
                  <a:gd name="connsiteY0" fmla="*/ 154844 h 178665"/>
                  <a:gd name="connsiteX1" fmla="*/ 23785 w 202170"/>
                  <a:gd name="connsiteY1" fmla="*/ 11911 h 178665"/>
                  <a:gd name="connsiteX2" fmla="*/ 11893 w 202170"/>
                  <a:gd name="connsiteY2" fmla="*/ 0 h 178665"/>
                  <a:gd name="connsiteX3" fmla="*/ 0 w 202170"/>
                  <a:gd name="connsiteY3" fmla="*/ 11911 h 178665"/>
                  <a:gd name="connsiteX4" fmla="*/ 190277 w 202170"/>
                  <a:gd name="connsiteY4" fmla="*/ 178666 h 178665"/>
                  <a:gd name="connsiteX5" fmla="*/ 202170 w 202170"/>
                  <a:gd name="connsiteY5" fmla="*/ 166755 h 178665"/>
                  <a:gd name="connsiteX6" fmla="*/ 190277 w 202170"/>
                  <a:gd name="connsiteY6" fmla="*/ 154844 h 178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2170" h="178665">
                    <a:moveTo>
                      <a:pt x="190277" y="154844"/>
                    </a:moveTo>
                    <a:cubicBezTo>
                      <a:pt x="101596" y="154844"/>
                      <a:pt x="23785" y="88053"/>
                      <a:pt x="23785" y="11911"/>
                    </a:cubicBezTo>
                    <a:cubicBezTo>
                      <a:pt x="23785" y="5327"/>
                      <a:pt x="18466" y="0"/>
                      <a:pt x="11893" y="0"/>
                    </a:cubicBezTo>
                    <a:cubicBezTo>
                      <a:pt x="5319" y="0"/>
                      <a:pt x="0" y="5327"/>
                      <a:pt x="0" y="11911"/>
                    </a:cubicBezTo>
                    <a:cubicBezTo>
                      <a:pt x="0" y="100743"/>
                      <a:pt x="88914" y="178666"/>
                      <a:pt x="190277" y="178666"/>
                    </a:cubicBezTo>
                    <a:cubicBezTo>
                      <a:pt x="196851" y="178666"/>
                      <a:pt x="202170" y="173339"/>
                      <a:pt x="202170" y="166755"/>
                    </a:cubicBezTo>
                    <a:cubicBezTo>
                      <a:pt x="202170" y="160172"/>
                      <a:pt x="196851" y="154844"/>
                      <a:pt x="190277" y="154844"/>
                    </a:cubicBezTo>
                    <a:close/>
                  </a:path>
                </a:pathLst>
              </a:custGeom>
              <a:solidFill>
                <a:schemeClr val="bg1"/>
              </a:solidFill>
              <a:ln w="10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60" name="Forma libre 293">
                <a:extLst>
                  <a:ext uri="{FF2B5EF4-FFF2-40B4-BE49-F238E27FC236}">
                    <a16:creationId xmlns:a16="http://schemas.microsoft.com/office/drawing/2014/main" id="{178C7305-9AA1-3B2A-6DD2-54EFD4FB938C}"/>
                  </a:ext>
                </a:extLst>
              </p:cNvPr>
              <p:cNvSpPr/>
              <p:nvPr/>
            </p:nvSpPr>
            <p:spPr>
              <a:xfrm>
                <a:off x="4094670" y="4118557"/>
                <a:ext cx="368660" cy="73125"/>
              </a:xfrm>
              <a:custGeom>
                <a:avLst/>
                <a:gdLst>
                  <a:gd name="connsiteX0" fmla="*/ 11889 w 368660"/>
                  <a:gd name="connsiteY0" fmla="*/ 73126 h 73125"/>
                  <a:gd name="connsiteX1" fmla="*/ 18068 w 368660"/>
                  <a:gd name="connsiteY1" fmla="*/ 71404 h 73125"/>
                  <a:gd name="connsiteX2" fmla="*/ 351006 w 368660"/>
                  <a:gd name="connsiteY2" fmla="*/ 64402 h 73125"/>
                  <a:gd name="connsiteX3" fmla="*/ 367173 w 368660"/>
                  <a:gd name="connsiteY3" fmla="*/ 59737 h 73125"/>
                  <a:gd name="connsiteX4" fmla="*/ 362528 w 368660"/>
                  <a:gd name="connsiteY4" fmla="*/ 43557 h 73125"/>
                  <a:gd name="connsiteX5" fmla="*/ 5712 w 368660"/>
                  <a:gd name="connsiteY5" fmla="*/ 51025 h 73125"/>
                  <a:gd name="connsiteX6" fmla="*/ 1717 w 368660"/>
                  <a:gd name="connsiteY6" fmla="*/ 67391 h 73125"/>
                  <a:gd name="connsiteX7" fmla="*/ 11889 w 368660"/>
                  <a:gd name="connsiteY7" fmla="*/ 73126 h 7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8660" h="73125">
                    <a:moveTo>
                      <a:pt x="11889" y="73126"/>
                    </a:moveTo>
                    <a:cubicBezTo>
                      <a:pt x="14003" y="73126"/>
                      <a:pt x="16140" y="72567"/>
                      <a:pt x="18068" y="71404"/>
                    </a:cubicBezTo>
                    <a:cubicBezTo>
                      <a:pt x="118688" y="10244"/>
                      <a:pt x="249155" y="8022"/>
                      <a:pt x="351006" y="64402"/>
                    </a:cubicBezTo>
                    <a:cubicBezTo>
                      <a:pt x="356767" y="67600"/>
                      <a:pt x="363991" y="65506"/>
                      <a:pt x="367173" y="59737"/>
                    </a:cubicBezTo>
                    <a:cubicBezTo>
                      <a:pt x="370355" y="53979"/>
                      <a:pt x="368264" y="46733"/>
                      <a:pt x="362528" y="43557"/>
                    </a:cubicBezTo>
                    <a:cubicBezTo>
                      <a:pt x="253291" y="-16882"/>
                      <a:pt x="113510" y="-14451"/>
                      <a:pt x="5712" y="51025"/>
                    </a:cubicBezTo>
                    <a:cubicBezTo>
                      <a:pt x="114" y="54444"/>
                      <a:pt x="-1675" y="61773"/>
                      <a:pt x="1717" y="67391"/>
                    </a:cubicBezTo>
                    <a:cubicBezTo>
                      <a:pt x="3969" y="71090"/>
                      <a:pt x="7871" y="73126"/>
                      <a:pt x="11889" y="73126"/>
                    </a:cubicBezTo>
                    <a:close/>
                  </a:path>
                </a:pathLst>
              </a:custGeom>
              <a:solidFill>
                <a:schemeClr val="bg1"/>
              </a:solidFill>
              <a:ln w="10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61" name="Forma libre 294">
                <a:extLst>
                  <a:ext uri="{FF2B5EF4-FFF2-40B4-BE49-F238E27FC236}">
                    <a16:creationId xmlns:a16="http://schemas.microsoft.com/office/drawing/2014/main" id="{10817862-C202-76FF-A4A7-AD0435238968}"/>
                  </a:ext>
                </a:extLst>
              </p:cNvPr>
              <p:cNvSpPr/>
              <p:nvPr/>
            </p:nvSpPr>
            <p:spPr>
              <a:xfrm>
                <a:off x="4023312" y="4189124"/>
                <a:ext cx="523265" cy="154844"/>
              </a:xfrm>
              <a:custGeom>
                <a:avLst/>
                <a:gdLst>
                  <a:gd name="connsiteX0" fmla="*/ 521776 w 523265"/>
                  <a:gd name="connsiteY0" fmla="*/ 137163 h 154844"/>
                  <a:gd name="connsiteX1" fmla="*/ 261632 w 523265"/>
                  <a:gd name="connsiteY1" fmla="*/ 0 h 154844"/>
                  <a:gd name="connsiteX2" fmla="*/ 1488 w 523265"/>
                  <a:gd name="connsiteY2" fmla="*/ 137163 h 154844"/>
                  <a:gd name="connsiteX3" fmla="*/ 6134 w 523265"/>
                  <a:gd name="connsiteY3" fmla="*/ 153355 h 154844"/>
                  <a:gd name="connsiteX4" fmla="*/ 22300 w 523265"/>
                  <a:gd name="connsiteY4" fmla="*/ 148703 h 154844"/>
                  <a:gd name="connsiteX5" fmla="*/ 261632 w 523265"/>
                  <a:gd name="connsiteY5" fmla="*/ 23822 h 154844"/>
                  <a:gd name="connsiteX6" fmla="*/ 500964 w 523265"/>
                  <a:gd name="connsiteY6" fmla="*/ 148703 h 154844"/>
                  <a:gd name="connsiteX7" fmla="*/ 511371 w 523265"/>
                  <a:gd name="connsiteY7" fmla="*/ 154845 h 154844"/>
                  <a:gd name="connsiteX8" fmla="*/ 517132 w 523265"/>
                  <a:gd name="connsiteY8" fmla="*/ 153356 h 154844"/>
                  <a:gd name="connsiteX9" fmla="*/ 521776 w 523265"/>
                  <a:gd name="connsiteY9" fmla="*/ 137163 h 1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3265" h="154844">
                    <a:moveTo>
                      <a:pt x="521776" y="137163"/>
                    </a:moveTo>
                    <a:cubicBezTo>
                      <a:pt x="475717" y="53844"/>
                      <a:pt x="373611" y="0"/>
                      <a:pt x="261632" y="0"/>
                    </a:cubicBezTo>
                    <a:cubicBezTo>
                      <a:pt x="149654" y="0"/>
                      <a:pt x="47547" y="53844"/>
                      <a:pt x="1488" y="137163"/>
                    </a:cubicBezTo>
                    <a:cubicBezTo>
                      <a:pt x="-1694" y="142921"/>
                      <a:pt x="397" y="150168"/>
                      <a:pt x="6134" y="153355"/>
                    </a:cubicBezTo>
                    <a:cubicBezTo>
                      <a:pt x="11895" y="156530"/>
                      <a:pt x="19095" y="154460"/>
                      <a:pt x="22300" y="148703"/>
                    </a:cubicBezTo>
                    <a:cubicBezTo>
                      <a:pt x="64225" y="72839"/>
                      <a:pt x="158178" y="23822"/>
                      <a:pt x="261632" y="23822"/>
                    </a:cubicBezTo>
                    <a:cubicBezTo>
                      <a:pt x="365087" y="23822"/>
                      <a:pt x="459041" y="72839"/>
                      <a:pt x="500964" y="148703"/>
                    </a:cubicBezTo>
                    <a:cubicBezTo>
                      <a:pt x="503148" y="152634"/>
                      <a:pt x="507190" y="154845"/>
                      <a:pt x="511371" y="154845"/>
                    </a:cubicBezTo>
                    <a:cubicBezTo>
                      <a:pt x="513322" y="154845"/>
                      <a:pt x="515296" y="154367"/>
                      <a:pt x="517132" y="153356"/>
                    </a:cubicBezTo>
                    <a:cubicBezTo>
                      <a:pt x="522869" y="150168"/>
                      <a:pt x="524959" y="142921"/>
                      <a:pt x="521776" y="137163"/>
                    </a:cubicBezTo>
                    <a:close/>
                  </a:path>
                </a:pathLst>
              </a:custGeom>
              <a:solidFill>
                <a:schemeClr val="bg1"/>
              </a:solidFill>
              <a:ln w="10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62" name="Forma libre 295">
                <a:extLst>
                  <a:ext uri="{FF2B5EF4-FFF2-40B4-BE49-F238E27FC236}">
                    <a16:creationId xmlns:a16="http://schemas.microsoft.com/office/drawing/2014/main" id="{D44CA9DC-2391-A203-66C1-302C5E4ED975}"/>
                  </a:ext>
                </a:extLst>
              </p:cNvPr>
              <p:cNvSpPr/>
              <p:nvPr/>
            </p:nvSpPr>
            <p:spPr>
              <a:xfrm>
                <a:off x="4118453" y="4332056"/>
                <a:ext cx="332984" cy="357332"/>
              </a:xfrm>
              <a:custGeom>
                <a:avLst/>
                <a:gdLst>
                  <a:gd name="connsiteX0" fmla="*/ 23783 w 332984"/>
                  <a:gd name="connsiteY0" fmla="*/ 166755 h 357332"/>
                  <a:gd name="connsiteX1" fmla="*/ 166491 w 332984"/>
                  <a:gd name="connsiteY1" fmla="*/ 23822 h 357332"/>
                  <a:gd name="connsiteX2" fmla="*/ 309199 w 332984"/>
                  <a:gd name="connsiteY2" fmla="*/ 154844 h 357332"/>
                  <a:gd name="connsiteX3" fmla="*/ 321091 w 332984"/>
                  <a:gd name="connsiteY3" fmla="*/ 166754 h 357332"/>
                  <a:gd name="connsiteX4" fmla="*/ 332984 w 332984"/>
                  <a:gd name="connsiteY4" fmla="*/ 154844 h 357332"/>
                  <a:gd name="connsiteX5" fmla="*/ 166492 w 332984"/>
                  <a:gd name="connsiteY5" fmla="*/ 0 h 357332"/>
                  <a:gd name="connsiteX6" fmla="*/ 0 w 332984"/>
                  <a:gd name="connsiteY6" fmla="*/ 166755 h 357332"/>
                  <a:gd name="connsiteX7" fmla="*/ 80320 w 332984"/>
                  <a:gd name="connsiteY7" fmla="*/ 353552 h 357332"/>
                  <a:gd name="connsiteX8" fmla="*/ 89007 w 332984"/>
                  <a:gd name="connsiteY8" fmla="*/ 357332 h 357332"/>
                  <a:gd name="connsiteX9" fmla="*/ 97114 w 332984"/>
                  <a:gd name="connsiteY9" fmla="*/ 354121 h 357332"/>
                  <a:gd name="connsiteX10" fmla="*/ 97695 w 332984"/>
                  <a:gd name="connsiteY10" fmla="*/ 337290 h 357332"/>
                  <a:gd name="connsiteX11" fmla="*/ 23783 w 332984"/>
                  <a:gd name="connsiteY11" fmla="*/ 166755 h 35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2984" h="357332">
                    <a:moveTo>
                      <a:pt x="23783" y="166755"/>
                    </a:moveTo>
                    <a:cubicBezTo>
                      <a:pt x="23783" y="83936"/>
                      <a:pt x="83802" y="23822"/>
                      <a:pt x="166491" y="23822"/>
                    </a:cubicBezTo>
                    <a:cubicBezTo>
                      <a:pt x="253175" y="23822"/>
                      <a:pt x="309199" y="75247"/>
                      <a:pt x="309199" y="154844"/>
                    </a:cubicBezTo>
                    <a:cubicBezTo>
                      <a:pt x="309199" y="161427"/>
                      <a:pt x="314518" y="166754"/>
                      <a:pt x="321091" y="166754"/>
                    </a:cubicBezTo>
                    <a:cubicBezTo>
                      <a:pt x="327665" y="166754"/>
                      <a:pt x="332984" y="161427"/>
                      <a:pt x="332984" y="154844"/>
                    </a:cubicBezTo>
                    <a:cubicBezTo>
                      <a:pt x="332984" y="62231"/>
                      <a:pt x="266066" y="0"/>
                      <a:pt x="166492" y="0"/>
                    </a:cubicBezTo>
                    <a:cubicBezTo>
                      <a:pt x="71586" y="0"/>
                      <a:pt x="0" y="71687"/>
                      <a:pt x="0" y="166755"/>
                    </a:cubicBezTo>
                    <a:cubicBezTo>
                      <a:pt x="0" y="236361"/>
                      <a:pt x="24760" y="293974"/>
                      <a:pt x="80320" y="353552"/>
                    </a:cubicBezTo>
                    <a:cubicBezTo>
                      <a:pt x="82666" y="356065"/>
                      <a:pt x="85825" y="357332"/>
                      <a:pt x="89007" y="357332"/>
                    </a:cubicBezTo>
                    <a:cubicBezTo>
                      <a:pt x="91910" y="357332"/>
                      <a:pt x="94837" y="356274"/>
                      <a:pt x="97114" y="354121"/>
                    </a:cubicBezTo>
                    <a:cubicBezTo>
                      <a:pt x="101922" y="349632"/>
                      <a:pt x="102178" y="342094"/>
                      <a:pt x="97695" y="337290"/>
                    </a:cubicBezTo>
                    <a:cubicBezTo>
                      <a:pt x="46570" y="282458"/>
                      <a:pt x="23783" y="229870"/>
                      <a:pt x="23783" y="166755"/>
                    </a:cubicBezTo>
                    <a:close/>
                  </a:path>
                </a:pathLst>
              </a:custGeom>
              <a:solidFill>
                <a:schemeClr val="bg1"/>
              </a:solidFill>
              <a:ln w="10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63" name="Forma libre 296">
                <a:extLst>
                  <a:ext uri="{FF2B5EF4-FFF2-40B4-BE49-F238E27FC236}">
                    <a16:creationId xmlns:a16="http://schemas.microsoft.com/office/drawing/2014/main" id="{2DD5383B-8888-4D65-E7BA-D1FFF4A08EA8}"/>
                  </a:ext>
                </a:extLst>
              </p:cNvPr>
              <p:cNvSpPr/>
              <p:nvPr/>
            </p:nvSpPr>
            <p:spPr>
              <a:xfrm>
                <a:off x="4047098" y="4260591"/>
                <a:ext cx="475692" cy="428797"/>
              </a:xfrm>
              <a:custGeom>
                <a:avLst/>
                <a:gdLst>
                  <a:gd name="connsiteX0" fmla="*/ 237846 w 475692"/>
                  <a:gd name="connsiteY0" fmla="*/ 0 h 428797"/>
                  <a:gd name="connsiteX1" fmla="*/ 0 w 475692"/>
                  <a:gd name="connsiteY1" fmla="*/ 226310 h 428797"/>
                  <a:gd name="connsiteX2" fmla="*/ 24691 w 475692"/>
                  <a:gd name="connsiteY2" fmla="*/ 326159 h 428797"/>
                  <a:gd name="connsiteX3" fmla="*/ 40230 w 475692"/>
                  <a:gd name="connsiteY3" fmla="*/ 332603 h 428797"/>
                  <a:gd name="connsiteX4" fmla="*/ 46664 w 475692"/>
                  <a:gd name="connsiteY4" fmla="*/ 317040 h 428797"/>
                  <a:gd name="connsiteX5" fmla="*/ 23784 w 475692"/>
                  <a:gd name="connsiteY5" fmla="*/ 226310 h 428797"/>
                  <a:gd name="connsiteX6" fmla="*/ 237846 w 475692"/>
                  <a:gd name="connsiteY6" fmla="*/ 23822 h 428797"/>
                  <a:gd name="connsiteX7" fmla="*/ 451908 w 475692"/>
                  <a:gd name="connsiteY7" fmla="*/ 238222 h 428797"/>
                  <a:gd name="connsiteX8" fmla="*/ 392446 w 475692"/>
                  <a:gd name="connsiteY8" fmla="*/ 297776 h 428797"/>
                  <a:gd name="connsiteX9" fmla="*/ 332985 w 475692"/>
                  <a:gd name="connsiteY9" fmla="*/ 238222 h 428797"/>
                  <a:gd name="connsiteX10" fmla="*/ 237847 w 475692"/>
                  <a:gd name="connsiteY10" fmla="*/ 142933 h 428797"/>
                  <a:gd name="connsiteX11" fmla="*/ 142709 w 475692"/>
                  <a:gd name="connsiteY11" fmla="*/ 238222 h 428797"/>
                  <a:gd name="connsiteX12" fmla="*/ 269645 w 475692"/>
                  <a:gd name="connsiteY12" fmla="*/ 427309 h 428797"/>
                  <a:gd name="connsiteX13" fmla="*/ 275406 w 475692"/>
                  <a:gd name="connsiteY13" fmla="*/ 428798 h 428797"/>
                  <a:gd name="connsiteX14" fmla="*/ 285811 w 475692"/>
                  <a:gd name="connsiteY14" fmla="*/ 422645 h 428797"/>
                  <a:gd name="connsiteX15" fmla="*/ 281166 w 475692"/>
                  <a:gd name="connsiteY15" fmla="*/ 406465 h 428797"/>
                  <a:gd name="connsiteX16" fmla="*/ 166492 w 475692"/>
                  <a:gd name="connsiteY16" fmla="*/ 238220 h 428797"/>
                  <a:gd name="connsiteX17" fmla="*/ 237846 w 475692"/>
                  <a:gd name="connsiteY17" fmla="*/ 166754 h 428797"/>
                  <a:gd name="connsiteX18" fmla="*/ 309200 w 475692"/>
                  <a:gd name="connsiteY18" fmla="*/ 238220 h 428797"/>
                  <a:gd name="connsiteX19" fmla="*/ 392446 w 475692"/>
                  <a:gd name="connsiteY19" fmla="*/ 321597 h 428797"/>
                  <a:gd name="connsiteX20" fmla="*/ 475693 w 475692"/>
                  <a:gd name="connsiteY20" fmla="*/ 238220 h 428797"/>
                  <a:gd name="connsiteX21" fmla="*/ 237846 w 475692"/>
                  <a:gd name="connsiteY21" fmla="*/ 0 h 428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75692" h="428797">
                    <a:moveTo>
                      <a:pt x="237846" y="0"/>
                    </a:moveTo>
                    <a:cubicBezTo>
                      <a:pt x="100039" y="0"/>
                      <a:pt x="0" y="95173"/>
                      <a:pt x="0" y="226310"/>
                    </a:cubicBezTo>
                    <a:cubicBezTo>
                      <a:pt x="0" y="261671"/>
                      <a:pt x="11869" y="295194"/>
                      <a:pt x="24691" y="326159"/>
                    </a:cubicBezTo>
                    <a:cubicBezTo>
                      <a:pt x="27199" y="332254"/>
                      <a:pt x="34214" y="335092"/>
                      <a:pt x="40230" y="332603"/>
                    </a:cubicBezTo>
                    <a:cubicBezTo>
                      <a:pt x="46293" y="330079"/>
                      <a:pt x="49173" y="323112"/>
                      <a:pt x="46664" y="317040"/>
                    </a:cubicBezTo>
                    <a:cubicBezTo>
                      <a:pt x="34771" y="288343"/>
                      <a:pt x="23784" y="257506"/>
                      <a:pt x="23784" y="226310"/>
                    </a:cubicBezTo>
                    <a:cubicBezTo>
                      <a:pt x="23784" y="107083"/>
                      <a:pt x="111815" y="23822"/>
                      <a:pt x="237846" y="23822"/>
                    </a:cubicBezTo>
                    <a:cubicBezTo>
                      <a:pt x="359881" y="23822"/>
                      <a:pt x="451908" y="115994"/>
                      <a:pt x="451908" y="238222"/>
                    </a:cubicBezTo>
                    <a:cubicBezTo>
                      <a:pt x="451908" y="271059"/>
                      <a:pt x="425242" y="297776"/>
                      <a:pt x="392446" y="297776"/>
                    </a:cubicBezTo>
                    <a:cubicBezTo>
                      <a:pt x="359649" y="297776"/>
                      <a:pt x="332985" y="271058"/>
                      <a:pt x="332985" y="238222"/>
                    </a:cubicBezTo>
                    <a:cubicBezTo>
                      <a:pt x="332985" y="182121"/>
                      <a:pt x="293871" y="142933"/>
                      <a:pt x="237847" y="142933"/>
                    </a:cubicBezTo>
                    <a:cubicBezTo>
                      <a:pt x="181823" y="142933"/>
                      <a:pt x="142709" y="182121"/>
                      <a:pt x="142709" y="238222"/>
                    </a:cubicBezTo>
                    <a:cubicBezTo>
                      <a:pt x="142709" y="315946"/>
                      <a:pt x="186608" y="381329"/>
                      <a:pt x="269645" y="427309"/>
                    </a:cubicBezTo>
                    <a:cubicBezTo>
                      <a:pt x="271480" y="428322"/>
                      <a:pt x="273455" y="428798"/>
                      <a:pt x="275406" y="428798"/>
                    </a:cubicBezTo>
                    <a:cubicBezTo>
                      <a:pt x="279587" y="428798"/>
                      <a:pt x="283652" y="426576"/>
                      <a:pt x="285811" y="422645"/>
                    </a:cubicBezTo>
                    <a:cubicBezTo>
                      <a:pt x="288993" y="416887"/>
                      <a:pt x="286903" y="409640"/>
                      <a:pt x="281166" y="406465"/>
                    </a:cubicBezTo>
                    <a:cubicBezTo>
                      <a:pt x="205072" y="364334"/>
                      <a:pt x="166492" y="307733"/>
                      <a:pt x="166492" y="238220"/>
                    </a:cubicBezTo>
                    <a:cubicBezTo>
                      <a:pt x="166492" y="188855"/>
                      <a:pt x="202332" y="166754"/>
                      <a:pt x="237846" y="166754"/>
                    </a:cubicBezTo>
                    <a:cubicBezTo>
                      <a:pt x="273360" y="166754"/>
                      <a:pt x="309200" y="188855"/>
                      <a:pt x="309200" y="238220"/>
                    </a:cubicBezTo>
                    <a:cubicBezTo>
                      <a:pt x="309200" y="284190"/>
                      <a:pt x="346549" y="321597"/>
                      <a:pt x="392446" y="321597"/>
                    </a:cubicBezTo>
                    <a:cubicBezTo>
                      <a:pt x="438344" y="321597"/>
                      <a:pt x="475693" y="284189"/>
                      <a:pt x="475693" y="238220"/>
                    </a:cubicBezTo>
                    <a:cubicBezTo>
                      <a:pt x="475692" y="102407"/>
                      <a:pt x="373446" y="0"/>
                      <a:pt x="237846" y="0"/>
                    </a:cubicBezTo>
                    <a:close/>
                  </a:path>
                </a:pathLst>
              </a:custGeom>
              <a:solidFill>
                <a:schemeClr val="bg1"/>
              </a:solidFill>
              <a:ln w="10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grpSp>
        <p:pic>
          <p:nvPicPr>
            <p:cNvPr id="128" name="Gráfico 211">
              <a:extLst>
                <a:ext uri="{FF2B5EF4-FFF2-40B4-BE49-F238E27FC236}">
                  <a16:creationId xmlns:a16="http://schemas.microsoft.com/office/drawing/2014/main" id="{5B99A7BA-C514-0B72-FB7C-AA13C69C89EE}"/>
                </a:ext>
              </a:extLst>
            </p:cNvPr>
            <p:cNvPicPr>
              <a:picLocks noChangeAspect="1"/>
            </p:cNvPicPr>
            <p:nvPr/>
          </p:nvPicPr>
          <p:blipFill>
            <a:blip r:embed="rId14" cstate="print">
              <a:extLst>
                <a:ext uri="{28A0092B-C50C-407E-A947-70E740481C1C}">
                  <a14:useLocalDpi xmlns:a14="http://schemas.microsoft.com/office/drawing/2010/main"/>
                </a:ext>
                <a:ext uri="{96DAC541-7B7A-43D3-8B79-37D633B846F1}">
                  <asvg:svgBlip xmlns:asvg="http://schemas.microsoft.com/office/drawing/2016/SVG/main" r:embed="rId15"/>
                </a:ext>
              </a:extLst>
            </a:blip>
            <a:srcRect/>
            <a:stretch/>
          </p:blipFill>
          <p:spPr>
            <a:xfrm>
              <a:off x="9075817" y="1367599"/>
              <a:ext cx="107094" cy="102677"/>
            </a:xfrm>
            <a:prstGeom prst="rect">
              <a:avLst/>
            </a:prstGeom>
          </p:spPr>
        </p:pic>
        <p:sp>
          <p:nvSpPr>
            <p:cNvPr id="129" name="Rectangle: Rounded Corners 51">
              <a:extLst>
                <a:ext uri="{FF2B5EF4-FFF2-40B4-BE49-F238E27FC236}">
                  <a16:creationId xmlns:a16="http://schemas.microsoft.com/office/drawing/2014/main" id="{0D6A6BC8-DF6D-1F45-90EC-D374BD1F4CC9}"/>
                </a:ext>
              </a:extLst>
            </p:cNvPr>
            <p:cNvSpPr/>
            <p:nvPr/>
          </p:nvSpPr>
          <p:spPr>
            <a:xfrm>
              <a:off x="9226159" y="1351305"/>
              <a:ext cx="176551" cy="12691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sp>
          <p:nvSpPr>
            <p:cNvPr id="130" name="Rectangle: Rounded Corners 52">
              <a:extLst>
                <a:ext uri="{FF2B5EF4-FFF2-40B4-BE49-F238E27FC236}">
                  <a16:creationId xmlns:a16="http://schemas.microsoft.com/office/drawing/2014/main" id="{EBE83005-9622-6F1B-449F-712EA6E7E200}"/>
                </a:ext>
              </a:extLst>
            </p:cNvPr>
            <p:cNvSpPr/>
            <p:nvPr/>
          </p:nvSpPr>
          <p:spPr>
            <a:xfrm>
              <a:off x="9410717" y="1353012"/>
              <a:ext cx="176551" cy="12691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pic>
          <p:nvPicPr>
            <p:cNvPr id="134" name="Gráfico 220">
              <a:extLst>
                <a:ext uri="{FF2B5EF4-FFF2-40B4-BE49-F238E27FC236}">
                  <a16:creationId xmlns:a16="http://schemas.microsoft.com/office/drawing/2014/main" id="{AB644F94-35D5-0F1E-9322-72831064E862}"/>
                </a:ext>
              </a:extLst>
            </p:cNvPr>
            <p:cNvPicPr>
              <a:picLocks noChangeAspect="1"/>
            </p:cNvPicPr>
            <p:nvPr/>
          </p:nvPicPr>
          <p:blipFill>
            <a:blip r:embed="rId16" cstate="print">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9261411" y="1365695"/>
              <a:ext cx="105163" cy="100826"/>
            </a:xfrm>
            <a:prstGeom prst="rect">
              <a:avLst/>
            </a:prstGeom>
          </p:spPr>
        </p:pic>
        <p:pic>
          <p:nvPicPr>
            <p:cNvPr id="135" name="Gráfico 234">
              <a:extLst>
                <a:ext uri="{FF2B5EF4-FFF2-40B4-BE49-F238E27FC236}">
                  <a16:creationId xmlns:a16="http://schemas.microsoft.com/office/drawing/2014/main" id="{A910F313-B223-2961-F0F8-155C78959F9C}"/>
                </a:ext>
              </a:extLst>
            </p:cNvPr>
            <p:cNvPicPr>
              <a:picLocks noChangeAspect="1"/>
            </p:cNvPicPr>
            <p:nvPr/>
          </p:nvPicPr>
          <p:blipFill>
            <a:blip r:embed="rId18" cstate="print">
              <a:extLst>
                <a:ext uri="{28A0092B-C50C-407E-A947-70E740481C1C}">
                  <a14:useLocalDpi xmlns:a14="http://schemas.microsoft.com/office/drawing/2010/main"/>
                </a:ext>
                <a:ext uri="{96DAC541-7B7A-43D3-8B79-37D633B846F1}">
                  <asvg:svgBlip xmlns:asvg="http://schemas.microsoft.com/office/drawing/2016/SVG/main" r:embed="rId19"/>
                </a:ext>
              </a:extLst>
            </a:blip>
            <a:srcRect/>
            <a:stretch/>
          </p:blipFill>
          <p:spPr>
            <a:xfrm>
              <a:off x="9442604" y="1363270"/>
              <a:ext cx="106117" cy="101742"/>
            </a:xfrm>
            <a:prstGeom prst="rect">
              <a:avLst/>
            </a:prstGeom>
          </p:spPr>
        </p:pic>
        <p:grpSp>
          <p:nvGrpSpPr>
            <p:cNvPr id="136" name="Gráfico 93">
              <a:extLst>
                <a:ext uri="{FF2B5EF4-FFF2-40B4-BE49-F238E27FC236}">
                  <a16:creationId xmlns:a16="http://schemas.microsoft.com/office/drawing/2014/main" id="{C5ECDD27-AE49-2CFF-E2A1-B5B0EDE4EAC5}"/>
                </a:ext>
              </a:extLst>
            </p:cNvPr>
            <p:cNvGrpSpPr/>
            <p:nvPr/>
          </p:nvGrpSpPr>
          <p:grpSpPr>
            <a:xfrm>
              <a:off x="9240790" y="1117839"/>
              <a:ext cx="46178" cy="44274"/>
              <a:chOff x="2827562" y="5657036"/>
              <a:chExt cx="570830" cy="570830"/>
            </a:xfrm>
            <a:solidFill>
              <a:schemeClr val="bg1"/>
            </a:solidFill>
          </p:grpSpPr>
          <p:sp>
            <p:nvSpPr>
              <p:cNvPr id="148" name="Forma libre 277">
                <a:extLst>
                  <a:ext uri="{FF2B5EF4-FFF2-40B4-BE49-F238E27FC236}">
                    <a16:creationId xmlns:a16="http://schemas.microsoft.com/office/drawing/2014/main" id="{81A29801-4CFB-78FD-62AC-C2682A28397F}"/>
                  </a:ext>
                </a:extLst>
              </p:cNvPr>
              <p:cNvSpPr/>
              <p:nvPr/>
            </p:nvSpPr>
            <p:spPr>
              <a:xfrm>
                <a:off x="2991448" y="6013805"/>
                <a:ext cx="195486" cy="166492"/>
              </a:xfrm>
              <a:custGeom>
                <a:avLst/>
                <a:gdLst>
                  <a:gd name="connsiteX0" fmla="*/ 192720 w 195486"/>
                  <a:gd name="connsiteY0" fmla="*/ 4273 h 166492"/>
                  <a:gd name="connsiteX1" fmla="*/ 183592 w 195486"/>
                  <a:gd name="connsiteY1" fmla="*/ 0 h 166492"/>
                  <a:gd name="connsiteX2" fmla="*/ 11896 w 195486"/>
                  <a:gd name="connsiteY2" fmla="*/ 0 h 166492"/>
                  <a:gd name="connsiteX3" fmla="*/ 2768 w 195486"/>
                  <a:gd name="connsiteY3" fmla="*/ 4273 h 166492"/>
                  <a:gd name="connsiteX4" fmla="*/ 189 w 195486"/>
                  <a:gd name="connsiteY4" fmla="*/ 14005 h 166492"/>
                  <a:gd name="connsiteX5" fmla="*/ 97743 w 195486"/>
                  <a:gd name="connsiteY5" fmla="*/ 166492 h 166492"/>
                  <a:gd name="connsiteX6" fmla="*/ 195297 w 195486"/>
                  <a:gd name="connsiteY6" fmla="*/ 14005 h 166492"/>
                  <a:gd name="connsiteX7" fmla="*/ 192720 w 195486"/>
                  <a:gd name="connsiteY7" fmla="*/ 4273 h 166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86" h="166492">
                    <a:moveTo>
                      <a:pt x="192720" y="4273"/>
                    </a:moveTo>
                    <a:cubicBezTo>
                      <a:pt x="190467" y="1555"/>
                      <a:pt x="187123" y="0"/>
                      <a:pt x="183592" y="0"/>
                    </a:cubicBezTo>
                    <a:lnTo>
                      <a:pt x="11896" y="0"/>
                    </a:lnTo>
                    <a:cubicBezTo>
                      <a:pt x="8365" y="0"/>
                      <a:pt x="5021" y="1556"/>
                      <a:pt x="2768" y="4273"/>
                    </a:cubicBezTo>
                    <a:cubicBezTo>
                      <a:pt x="514" y="6968"/>
                      <a:pt x="-438" y="10545"/>
                      <a:pt x="189" y="14005"/>
                    </a:cubicBezTo>
                    <a:cubicBezTo>
                      <a:pt x="17470" y="109493"/>
                      <a:pt x="53936" y="166492"/>
                      <a:pt x="97743" y="166492"/>
                    </a:cubicBezTo>
                    <a:cubicBezTo>
                      <a:pt x="141550" y="166492"/>
                      <a:pt x="178016" y="109493"/>
                      <a:pt x="195297" y="14005"/>
                    </a:cubicBezTo>
                    <a:cubicBezTo>
                      <a:pt x="195926" y="10545"/>
                      <a:pt x="194974" y="6968"/>
                      <a:pt x="192720" y="4273"/>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49" name="Forma libre 278">
                <a:extLst>
                  <a:ext uri="{FF2B5EF4-FFF2-40B4-BE49-F238E27FC236}">
                    <a16:creationId xmlns:a16="http://schemas.microsoft.com/office/drawing/2014/main" id="{84DA31FB-2830-93FC-C022-05C51CA1E877}"/>
                  </a:ext>
                </a:extLst>
              </p:cNvPr>
              <p:cNvSpPr/>
              <p:nvPr/>
            </p:nvSpPr>
            <p:spPr>
              <a:xfrm>
                <a:off x="2982162" y="5847313"/>
                <a:ext cx="214060" cy="142707"/>
              </a:xfrm>
              <a:custGeom>
                <a:avLst/>
                <a:gdLst>
                  <a:gd name="connsiteX0" fmla="*/ 199335 w 214060"/>
                  <a:gd name="connsiteY0" fmla="*/ 0 h 142707"/>
                  <a:gd name="connsiteX1" fmla="*/ 14726 w 214060"/>
                  <a:gd name="connsiteY1" fmla="*/ 0 h 142707"/>
                  <a:gd name="connsiteX2" fmla="*/ 2880 w 214060"/>
                  <a:gd name="connsiteY2" fmla="*/ 10778 h 142707"/>
                  <a:gd name="connsiteX3" fmla="*/ 0 w 214060"/>
                  <a:gd name="connsiteY3" fmla="*/ 71354 h 142707"/>
                  <a:gd name="connsiteX4" fmla="*/ 2880 w 214060"/>
                  <a:gd name="connsiteY4" fmla="*/ 131930 h 142707"/>
                  <a:gd name="connsiteX5" fmla="*/ 14726 w 214060"/>
                  <a:gd name="connsiteY5" fmla="*/ 142708 h 142707"/>
                  <a:gd name="connsiteX6" fmla="*/ 199335 w 214060"/>
                  <a:gd name="connsiteY6" fmla="*/ 142708 h 142707"/>
                  <a:gd name="connsiteX7" fmla="*/ 211181 w 214060"/>
                  <a:gd name="connsiteY7" fmla="*/ 131930 h 142707"/>
                  <a:gd name="connsiteX8" fmla="*/ 214060 w 214060"/>
                  <a:gd name="connsiteY8" fmla="*/ 71354 h 142707"/>
                  <a:gd name="connsiteX9" fmla="*/ 211181 w 214060"/>
                  <a:gd name="connsiteY9" fmla="*/ 10778 h 142707"/>
                  <a:gd name="connsiteX10" fmla="*/ 199335 w 214060"/>
                  <a:gd name="connsiteY10" fmla="*/ 0 h 14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4060" h="142707">
                    <a:moveTo>
                      <a:pt x="199335" y="0"/>
                    </a:moveTo>
                    <a:lnTo>
                      <a:pt x="14726" y="0"/>
                    </a:lnTo>
                    <a:cubicBezTo>
                      <a:pt x="8594" y="0"/>
                      <a:pt x="3461" y="4669"/>
                      <a:pt x="2880" y="10778"/>
                    </a:cubicBezTo>
                    <a:cubicBezTo>
                      <a:pt x="976" y="31217"/>
                      <a:pt x="0" y="51611"/>
                      <a:pt x="0" y="71354"/>
                    </a:cubicBezTo>
                    <a:cubicBezTo>
                      <a:pt x="0" y="91097"/>
                      <a:pt x="976" y="111490"/>
                      <a:pt x="2880" y="131930"/>
                    </a:cubicBezTo>
                    <a:cubicBezTo>
                      <a:pt x="3461" y="138039"/>
                      <a:pt x="8594" y="142708"/>
                      <a:pt x="14726" y="142708"/>
                    </a:cubicBezTo>
                    <a:lnTo>
                      <a:pt x="199335" y="142708"/>
                    </a:lnTo>
                    <a:cubicBezTo>
                      <a:pt x="205467" y="142708"/>
                      <a:pt x="210600" y="138039"/>
                      <a:pt x="211181" y="131930"/>
                    </a:cubicBezTo>
                    <a:cubicBezTo>
                      <a:pt x="213085" y="111490"/>
                      <a:pt x="214060" y="91097"/>
                      <a:pt x="214060" y="71354"/>
                    </a:cubicBezTo>
                    <a:cubicBezTo>
                      <a:pt x="214060" y="51611"/>
                      <a:pt x="213085" y="31217"/>
                      <a:pt x="211181" y="10778"/>
                    </a:cubicBezTo>
                    <a:cubicBezTo>
                      <a:pt x="210601" y="4668"/>
                      <a:pt x="205467" y="0"/>
                      <a:pt x="199335" y="0"/>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50" name="Forma libre 279">
                <a:extLst>
                  <a:ext uri="{FF2B5EF4-FFF2-40B4-BE49-F238E27FC236}">
                    <a16:creationId xmlns:a16="http://schemas.microsoft.com/office/drawing/2014/main" id="{3A6ADE28-FE90-FDF8-F405-1EA0BA5870BE}"/>
                  </a:ext>
                </a:extLst>
              </p:cNvPr>
              <p:cNvSpPr/>
              <p:nvPr/>
            </p:nvSpPr>
            <p:spPr>
              <a:xfrm>
                <a:off x="2991449" y="5657036"/>
                <a:ext cx="195487" cy="166491"/>
              </a:xfrm>
              <a:custGeom>
                <a:avLst/>
                <a:gdLst>
                  <a:gd name="connsiteX0" fmla="*/ 2767 w 195487"/>
                  <a:gd name="connsiteY0" fmla="*/ 162219 h 166491"/>
                  <a:gd name="connsiteX1" fmla="*/ 11896 w 195487"/>
                  <a:gd name="connsiteY1" fmla="*/ 166492 h 166491"/>
                  <a:gd name="connsiteX2" fmla="*/ 183591 w 195487"/>
                  <a:gd name="connsiteY2" fmla="*/ 166492 h 166491"/>
                  <a:gd name="connsiteX3" fmla="*/ 192720 w 195487"/>
                  <a:gd name="connsiteY3" fmla="*/ 162219 h 166491"/>
                  <a:gd name="connsiteX4" fmla="*/ 195299 w 195487"/>
                  <a:gd name="connsiteY4" fmla="*/ 152487 h 166491"/>
                  <a:gd name="connsiteX5" fmla="*/ 97743 w 195487"/>
                  <a:gd name="connsiteY5" fmla="*/ 0 h 166491"/>
                  <a:gd name="connsiteX6" fmla="*/ 189 w 195487"/>
                  <a:gd name="connsiteY6" fmla="*/ 152487 h 166491"/>
                  <a:gd name="connsiteX7" fmla="*/ 2767 w 195487"/>
                  <a:gd name="connsiteY7" fmla="*/ 162219 h 166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87" h="166491">
                    <a:moveTo>
                      <a:pt x="2767" y="162219"/>
                    </a:moveTo>
                    <a:cubicBezTo>
                      <a:pt x="5020" y="164937"/>
                      <a:pt x="8365" y="166492"/>
                      <a:pt x="11896" y="166492"/>
                    </a:cubicBezTo>
                    <a:lnTo>
                      <a:pt x="183591" y="166492"/>
                    </a:lnTo>
                    <a:cubicBezTo>
                      <a:pt x="187122" y="166492"/>
                      <a:pt x="190467" y="164936"/>
                      <a:pt x="192720" y="162219"/>
                    </a:cubicBezTo>
                    <a:cubicBezTo>
                      <a:pt x="194973" y="159524"/>
                      <a:pt x="195925" y="155947"/>
                      <a:pt x="195299" y="152487"/>
                    </a:cubicBezTo>
                    <a:cubicBezTo>
                      <a:pt x="178017" y="56999"/>
                      <a:pt x="141549" y="0"/>
                      <a:pt x="97743" y="0"/>
                    </a:cubicBezTo>
                    <a:cubicBezTo>
                      <a:pt x="53937" y="0"/>
                      <a:pt x="17470" y="56999"/>
                      <a:pt x="189" y="152487"/>
                    </a:cubicBezTo>
                    <a:cubicBezTo>
                      <a:pt x="-438" y="155947"/>
                      <a:pt x="514" y="159524"/>
                      <a:pt x="2767" y="162219"/>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51" name="Forma libre 280">
                <a:extLst>
                  <a:ext uri="{FF2B5EF4-FFF2-40B4-BE49-F238E27FC236}">
                    <a16:creationId xmlns:a16="http://schemas.microsoft.com/office/drawing/2014/main" id="{48D28180-0ACE-3A98-D030-B6C7BE96B732}"/>
                  </a:ext>
                </a:extLst>
              </p:cNvPr>
              <p:cNvSpPr/>
              <p:nvPr/>
            </p:nvSpPr>
            <p:spPr>
              <a:xfrm>
                <a:off x="3231899" y="5942451"/>
                <a:ext cx="166493" cy="166493"/>
              </a:xfrm>
              <a:custGeom>
                <a:avLst/>
                <a:gdLst>
                  <a:gd name="connsiteX0" fmla="*/ 166493 w 166493"/>
                  <a:gd name="connsiteY0" fmla="*/ 83247 h 166493"/>
                  <a:gd name="connsiteX1" fmla="*/ 83247 w 166493"/>
                  <a:gd name="connsiteY1" fmla="*/ 166493 h 166493"/>
                  <a:gd name="connsiteX2" fmla="*/ 0 w 166493"/>
                  <a:gd name="connsiteY2" fmla="*/ 83247 h 166493"/>
                  <a:gd name="connsiteX3" fmla="*/ 83247 w 166493"/>
                  <a:gd name="connsiteY3" fmla="*/ 0 h 166493"/>
                  <a:gd name="connsiteX4" fmla="*/ 166493 w 166493"/>
                  <a:gd name="connsiteY4" fmla="*/ 83247 h 1664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93" h="166493">
                    <a:moveTo>
                      <a:pt x="166493" y="83247"/>
                    </a:moveTo>
                    <a:cubicBezTo>
                      <a:pt x="166493" y="129222"/>
                      <a:pt x="129222" y="166493"/>
                      <a:pt x="83247" y="166493"/>
                    </a:cubicBezTo>
                    <a:cubicBezTo>
                      <a:pt x="37271" y="166493"/>
                      <a:pt x="0" y="129222"/>
                      <a:pt x="0" y="83247"/>
                    </a:cubicBezTo>
                    <a:cubicBezTo>
                      <a:pt x="0" y="37271"/>
                      <a:pt x="37271" y="0"/>
                      <a:pt x="83247" y="0"/>
                    </a:cubicBezTo>
                    <a:cubicBezTo>
                      <a:pt x="129222" y="0"/>
                      <a:pt x="166493" y="37271"/>
                      <a:pt x="166493" y="83247"/>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52" name="Forma libre 281">
                <a:extLst>
                  <a:ext uri="{FF2B5EF4-FFF2-40B4-BE49-F238E27FC236}">
                    <a16:creationId xmlns:a16="http://schemas.microsoft.com/office/drawing/2014/main" id="{01D65FE0-02D1-0FE6-BF5B-69416202F1FB}"/>
                  </a:ext>
                </a:extLst>
              </p:cNvPr>
              <p:cNvSpPr/>
              <p:nvPr/>
            </p:nvSpPr>
            <p:spPr>
              <a:xfrm>
                <a:off x="2827562" y="5847312"/>
                <a:ext cx="133489" cy="142708"/>
              </a:xfrm>
              <a:custGeom>
                <a:avLst/>
                <a:gdLst>
                  <a:gd name="connsiteX0" fmla="*/ 130375 w 133489"/>
                  <a:gd name="connsiteY0" fmla="*/ 138852 h 142708"/>
                  <a:gd name="connsiteX1" fmla="*/ 133441 w 133489"/>
                  <a:gd name="connsiteY1" fmla="*/ 129770 h 142708"/>
                  <a:gd name="connsiteX2" fmla="*/ 130816 w 133489"/>
                  <a:gd name="connsiteY2" fmla="*/ 71354 h 142708"/>
                  <a:gd name="connsiteX3" fmla="*/ 133441 w 133489"/>
                  <a:gd name="connsiteY3" fmla="*/ 12937 h 142708"/>
                  <a:gd name="connsiteX4" fmla="*/ 130375 w 133489"/>
                  <a:gd name="connsiteY4" fmla="*/ 3855 h 142708"/>
                  <a:gd name="connsiteX5" fmla="*/ 121595 w 133489"/>
                  <a:gd name="connsiteY5" fmla="*/ 0 h 142708"/>
                  <a:gd name="connsiteX6" fmla="*/ 19325 w 133489"/>
                  <a:gd name="connsiteY6" fmla="*/ 0 h 142708"/>
                  <a:gd name="connsiteX7" fmla="*/ 7781 w 133489"/>
                  <a:gd name="connsiteY7" fmla="*/ 9059 h 142708"/>
                  <a:gd name="connsiteX8" fmla="*/ 0 w 133489"/>
                  <a:gd name="connsiteY8" fmla="*/ 71355 h 142708"/>
                  <a:gd name="connsiteX9" fmla="*/ 7781 w 133489"/>
                  <a:gd name="connsiteY9" fmla="*/ 133650 h 142708"/>
                  <a:gd name="connsiteX10" fmla="*/ 19325 w 133489"/>
                  <a:gd name="connsiteY10" fmla="*/ 142709 h 142708"/>
                  <a:gd name="connsiteX11" fmla="*/ 121594 w 133489"/>
                  <a:gd name="connsiteY11" fmla="*/ 142709 h 142708"/>
                  <a:gd name="connsiteX12" fmla="*/ 130375 w 133489"/>
                  <a:gd name="connsiteY12" fmla="*/ 138852 h 142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3489" h="142708">
                    <a:moveTo>
                      <a:pt x="130375" y="138852"/>
                    </a:moveTo>
                    <a:cubicBezTo>
                      <a:pt x="132628" y="136391"/>
                      <a:pt x="133743" y="133092"/>
                      <a:pt x="133441" y="129770"/>
                    </a:cubicBezTo>
                    <a:cubicBezTo>
                      <a:pt x="131698" y="110028"/>
                      <a:pt x="130816" y="90377"/>
                      <a:pt x="130816" y="71354"/>
                    </a:cubicBezTo>
                    <a:cubicBezTo>
                      <a:pt x="130816" y="52330"/>
                      <a:pt x="131699" y="32680"/>
                      <a:pt x="133441" y="12937"/>
                    </a:cubicBezTo>
                    <a:cubicBezTo>
                      <a:pt x="133743" y="9616"/>
                      <a:pt x="132628" y="6317"/>
                      <a:pt x="130375" y="3855"/>
                    </a:cubicBezTo>
                    <a:cubicBezTo>
                      <a:pt x="128121" y="1394"/>
                      <a:pt x="124940" y="0"/>
                      <a:pt x="121595" y="0"/>
                    </a:cubicBezTo>
                    <a:lnTo>
                      <a:pt x="19325" y="0"/>
                    </a:lnTo>
                    <a:cubicBezTo>
                      <a:pt x="13844" y="0"/>
                      <a:pt x="9082" y="3739"/>
                      <a:pt x="7781" y="9059"/>
                    </a:cubicBezTo>
                    <a:cubicBezTo>
                      <a:pt x="2624" y="30057"/>
                      <a:pt x="0" y="51008"/>
                      <a:pt x="0" y="71355"/>
                    </a:cubicBezTo>
                    <a:cubicBezTo>
                      <a:pt x="0" y="91702"/>
                      <a:pt x="2624" y="112653"/>
                      <a:pt x="7781" y="133650"/>
                    </a:cubicBezTo>
                    <a:cubicBezTo>
                      <a:pt x="9082" y="138969"/>
                      <a:pt x="13844" y="142709"/>
                      <a:pt x="19325" y="142709"/>
                    </a:cubicBezTo>
                    <a:lnTo>
                      <a:pt x="121594" y="142709"/>
                    </a:lnTo>
                    <a:cubicBezTo>
                      <a:pt x="124940" y="142709"/>
                      <a:pt x="128121" y="141315"/>
                      <a:pt x="130375" y="138852"/>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53" name="Forma libre 282">
                <a:extLst>
                  <a:ext uri="{FF2B5EF4-FFF2-40B4-BE49-F238E27FC236}">
                    <a16:creationId xmlns:a16="http://schemas.microsoft.com/office/drawing/2014/main" id="{A87877B4-5087-3A01-E8E7-42EA54990F4B}"/>
                  </a:ext>
                </a:extLst>
              </p:cNvPr>
              <p:cNvSpPr/>
              <p:nvPr/>
            </p:nvSpPr>
            <p:spPr>
              <a:xfrm>
                <a:off x="3170995" y="5675310"/>
                <a:ext cx="155349" cy="148218"/>
              </a:xfrm>
              <a:custGeom>
                <a:avLst/>
                <a:gdLst>
                  <a:gd name="connsiteX0" fmla="*/ 40627 w 155349"/>
                  <a:gd name="connsiteY0" fmla="*/ 138277 h 148218"/>
                  <a:gd name="connsiteX1" fmla="*/ 52357 w 155349"/>
                  <a:gd name="connsiteY1" fmla="*/ 148218 h 148218"/>
                  <a:gd name="connsiteX2" fmla="*/ 143454 w 155349"/>
                  <a:gd name="connsiteY2" fmla="*/ 148218 h 148218"/>
                  <a:gd name="connsiteX3" fmla="*/ 153511 w 155349"/>
                  <a:gd name="connsiteY3" fmla="*/ 142690 h 148218"/>
                  <a:gd name="connsiteX4" fmla="*/ 154185 w 155349"/>
                  <a:gd name="connsiteY4" fmla="*/ 131216 h 148218"/>
                  <a:gd name="connsiteX5" fmla="*/ 16378 w 155349"/>
                  <a:gd name="connsiteY5" fmla="*/ 888 h 148218"/>
                  <a:gd name="connsiteX6" fmla="*/ 2953 w 155349"/>
                  <a:gd name="connsiteY6" fmla="*/ 4070 h 148218"/>
                  <a:gd name="connsiteX7" fmla="*/ 1559 w 155349"/>
                  <a:gd name="connsiteY7" fmla="*/ 17798 h 148218"/>
                  <a:gd name="connsiteX8" fmla="*/ 40627 w 155349"/>
                  <a:gd name="connsiteY8" fmla="*/ 138277 h 148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349" h="148218">
                    <a:moveTo>
                      <a:pt x="40627" y="138277"/>
                    </a:moveTo>
                    <a:cubicBezTo>
                      <a:pt x="41580" y="144014"/>
                      <a:pt x="46527" y="148218"/>
                      <a:pt x="52357" y="148218"/>
                    </a:cubicBezTo>
                    <a:lnTo>
                      <a:pt x="143454" y="148218"/>
                    </a:lnTo>
                    <a:cubicBezTo>
                      <a:pt x="147542" y="148218"/>
                      <a:pt x="151329" y="146128"/>
                      <a:pt x="153511" y="142690"/>
                    </a:cubicBezTo>
                    <a:cubicBezTo>
                      <a:pt x="155694" y="139230"/>
                      <a:pt x="155951" y="134910"/>
                      <a:pt x="154185" y="131216"/>
                    </a:cubicBezTo>
                    <a:cubicBezTo>
                      <a:pt x="125963" y="71777"/>
                      <a:pt x="77025" y="25508"/>
                      <a:pt x="16378" y="888"/>
                    </a:cubicBezTo>
                    <a:cubicBezTo>
                      <a:pt x="11663" y="-1040"/>
                      <a:pt x="6297" y="238"/>
                      <a:pt x="2953" y="4070"/>
                    </a:cubicBezTo>
                    <a:cubicBezTo>
                      <a:pt x="-392" y="7880"/>
                      <a:pt x="-950" y="13384"/>
                      <a:pt x="1559" y="17798"/>
                    </a:cubicBezTo>
                    <a:cubicBezTo>
                      <a:pt x="19189" y="48690"/>
                      <a:pt x="32707" y="90359"/>
                      <a:pt x="40627" y="138277"/>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54" name="Forma libre 283">
                <a:extLst>
                  <a:ext uri="{FF2B5EF4-FFF2-40B4-BE49-F238E27FC236}">
                    <a16:creationId xmlns:a16="http://schemas.microsoft.com/office/drawing/2014/main" id="{B093760A-9362-90E3-63D2-6AA73D9DD8AB}"/>
                  </a:ext>
                </a:extLst>
              </p:cNvPr>
              <p:cNvSpPr/>
              <p:nvPr/>
            </p:nvSpPr>
            <p:spPr>
              <a:xfrm>
                <a:off x="2851924" y="5675353"/>
                <a:ext cx="155419" cy="148174"/>
              </a:xfrm>
              <a:custGeom>
                <a:avLst/>
                <a:gdLst>
                  <a:gd name="connsiteX0" fmla="*/ 11895 w 155419"/>
                  <a:gd name="connsiteY0" fmla="*/ 148174 h 148174"/>
                  <a:gd name="connsiteX1" fmla="*/ 103109 w 155419"/>
                  <a:gd name="connsiteY1" fmla="*/ 148174 h 148174"/>
                  <a:gd name="connsiteX2" fmla="*/ 114839 w 155419"/>
                  <a:gd name="connsiteY2" fmla="*/ 138233 h 148174"/>
                  <a:gd name="connsiteX3" fmla="*/ 153860 w 155419"/>
                  <a:gd name="connsiteY3" fmla="*/ 17800 h 148174"/>
                  <a:gd name="connsiteX4" fmla="*/ 152467 w 155419"/>
                  <a:gd name="connsiteY4" fmla="*/ 4095 h 148174"/>
                  <a:gd name="connsiteX5" fmla="*/ 139065 w 155419"/>
                  <a:gd name="connsiteY5" fmla="*/ 913 h 148174"/>
                  <a:gd name="connsiteX6" fmla="*/ 1164 w 155419"/>
                  <a:gd name="connsiteY6" fmla="*/ 131172 h 148174"/>
                  <a:gd name="connsiteX7" fmla="*/ 1838 w 155419"/>
                  <a:gd name="connsiteY7" fmla="*/ 142623 h 148174"/>
                  <a:gd name="connsiteX8" fmla="*/ 11895 w 155419"/>
                  <a:gd name="connsiteY8" fmla="*/ 148174 h 148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419" h="148174">
                    <a:moveTo>
                      <a:pt x="11895" y="148174"/>
                    </a:moveTo>
                    <a:lnTo>
                      <a:pt x="103109" y="148174"/>
                    </a:lnTo>
                    <a:cubicBezTo>
                      <a:pt x="108939" y="148174"/>
                      <a:pt x="113887" y="143970"/>
                      <a:pt x="114839" y="138233"/>
                    </a:cubicBezTo>
                    <a:cubicBezTo>
                      <a:pt x="122759" y="90339"/>
                      <a:pt x="136254" y="48692"/>
                      <a:pt x="153860" y="17800"/>
                    </a:cubicBezTo>
                    <a:cubicBezTo>
                      <a:pt x="156369" y="13409"/>
                      <a:pt x="155811" y="7905"/>
                      <a:pt x="152467" y="4095"/>
                    </a:cubicBezTo>
                    <a:cubicBezTo>
                      <a:pt x="149122" y="240"/>
                      <a:pt x="143687" y="-1061"/>
                      <a:pt x="139065" y="913"/>
                    </a:cubicBezTo>
                    <a:cubicBezTo>
                      <a:pt x="78371" y="25513"/>
                      <a:pt x="29408" y="71781"/>
                      <a:pt x="1164" y="131172"/>
                    </a:cubicBezTo>
                    <a:cubicBezTo>
                      <a:pt x="-601" y="134866"/>
                      <a:pt x="-345" y="139186"/>
                      <a:pt x="1838" y="142623"/>
                    </a:cubicBezTo>
                    <a:cubicBezTo>
                      <a:pt x="4021" y="146084"/>
                      <a:pt x="7807" y="148174"/>
                      <a:pt x="11895" y="148174"/>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55" name="Forma libre 284">
                <a:extLst>
                  <a:ext uri="{FF2B5EF4-FFF2-40B4-BE49-F238E27FC236}">
                    <a16:creationId xmlns:a16="http://schemas.microsoft.com/office/drawing/2014/main" id="{EB436957-5A95-2F26-70CE-FA07C28840E4}"/>
                  </a:ext>
                </a:extLst>
              </p:cNvPr>
              <p:cNvSpPr/>
              <p:nvPr/>
            </p:nvSpPr>
            <p:spPr>
              <a:xfrm>
                <a:off x="3217335" y="5847313"/>
                <a:ext cx="133009" cy="105915"/>
              </a:xfrm>
              <a:custGeom>
                <a:avLst/>
                <a:gdLst>
                  <a:gd name="connsiteX0" fmla="*/ 3115 w 133009"/>
                  <a:gd name="connsiteY0" fmla="*/ 3855 h 105915"/>
                  <a:gd name="connsiteX1" fmla="*/ 49 w 133009"/>
                  <a:gd name="connsiteY1" fmla="*/ 12937 h 105915"/>
                  <a:gd name="connsiteX2" fmla="*/ 2673 w 133009"/>
                  <a:gd name="connsiteY2" fmla="*/ 71354 h 105915"/>
                  <a:gd name="connsiteX3" fmla="*/ 2232 w 133009"/>
                  <a:gd name="connsiteY3" fmla="*/ 93629 h 105915"/>
                  <a:gd name="connsiteX4" fmla="*/ 9363 w 133009"/>
                  <a:gd name="connsiteY4" fmla="*/ 104917 h 105915"/>
                  <a:gd name="connsiteX5" fmla="*/ 14124 w 133009"/>
                  <a:gd name="connsiteY5" fmla="*/ 105916 h 105915"/>
                  <a:gd name="connsiteX6" fmla="*/ 22486 w 133009"/>
                  <a:gd name="connsiteY6" fmla="*/ 102479 h 105915"/>
                  <a:gd name="connsiteX7" fmla="*/ 118809 w 133009"/>
                  <a:gd name="connsiteY7" fmla="*/ 73468 h 105915"/>
                  <a:gd name="connsiteX8" fmla="*/ 128844 w 133009"/>
                  <a:gd name="connsiteY8" fmla="*/ 70843 h 105915"/>
                  <a:gd name="connsiteX9" fmla="*/ 133001 w 133009"/>
                  <a:gd name="connsiteY9" fmla="*/ 61367 h 105915"/>
                  <a:gd name="connsiteX10" fmla="*/ 125662 w 133009"/>
                  <a:gd name="connsiteY10" fmla="*/ 9082 h 105915"/>
                  <a:gd name="connsiteX11" fmla="*/ 114118 w 133009"/>
                  <a:gd name="connsiteY11" fmla="*/ 0 h 105915"/>
                  <a:gd name="connsiteX12" fmla="*/ 11895 w 133009"/>
                  <a:gd name="connsiteY12" fmla="*/ 0 h 105915"/>
                  <a:gd name="connsiteX13" fmla="*/ 3115 w 133009"/>
                  <a:gd name="connsiteY13" fmla="*/ 3855 h 10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009" h="105915">
                    <a:moveTo>
                      <a:pt x="3115" y="3855"/>
                    </a:moveTo>
                    <a:cubicBezTo>
                      <a:pt x="861" y="6317"/>
                      <a:pt x="-253" y="9616"/>
                      <a:pt x="49" y="12937"/>
                    </a:cubicBezTo>
                    <a:cubicBezTo>
                      <a:pt x="1791" y="32680"/>
                      <a:pt x="2673" y="52330"/>
                      <a:pt x="2673" y="71354"/>
                    </a:cubicBezTo>
                    <a:cubicBezTo>
                      <a:pt x="2673" y="78740"/>
                      <a:pt x="2487" y="86173"/>
                      <a:pt x="2232" y="93629"/>
                    </a:cubicBezTo>
                    <a:cubicBezTo>
                      <a:pt x="2069" y="98483"/>
                      <a:pt x="4903" y="102966"/>
                      <a:pt x="9363" y="104917"/>
                    </a:cubicBezTo>
                    <a:cubicBezTo>
                      <a:pt x="10896" y="105590"/>
                      <a:pt x="12521" y="105916"/>
                      <a:pt x="14124" y="105916"/>
                    </a:cubicBezTo>
                    <a:cubicBezTo>
                      <a:pt x="17190" y="105916"/>
                      <a:pt x="20233" y="104731"/>
                      <a:pt x="22486" y="102479"/>
                    </a:cubicBezTo>
                    <a:cubicBezTo>
                      <a:pt x="47664" y="77556"/>
                      <a:pt x="81715" y="66268"/>
                      <a:pt x="118809" y="73468"/>
                    </a:cubicBezTo>
                    <a:cubicBezTo>
                      <a:pt x="122433" y="74257"/>
                      <a:pt x="126056" y="73212"/>
                      <a:pt x="128844" y="70843"/>
                    </a:cubicBezTo>
                    <a:cubicBezTo>
                      <a:pt x="131607" y="68497"/>
                      <a:pt x="133140" y="64990"/>
                      <a:pt x="133001" y="61367"/>
                    </a:cubicBezTo>
                    <a:cubicBezTo>
                      <a:pt x="132328" y="43876"/>
                      <a:pt x="129865" y="26270"/>
                      <a:pt x="125662" y="9082"/>
                    </a:cubicBezTo>
                    <a:cubicBezTo>
                      <a:pt x="124360" y="3739"/>
                      <a:pt x="119599" y="0"/>
                      <a:pt x="114118" y="0"/>
                    </a:cubicBezTo>
                    <a:lnTo>
                      <a:pt x="11895" y="0"/>
                    </a:lnTo>
                    <a:cubicBezTo>
                      <a:pt x="8550" y="0"/>
                      <a:pt x="5368" y="1394"/>
                      <a:pt x="3115" y="3855"/>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56" name="Forma libre 285">
                <a:extLst>
                  <a:ext uri="{FF2B5EF4-FFF2-40B4-BE49-F238E27FC236}">
                    <a16:creationId xmlns:a16="http://schemas.microsoft.com/office/drawing/2014/main" id="{5D44EE96-0942-58C6-A948-B4BB8F70D437}"/>
                  </a:ext>
                </a:extLst>
              </p:cNvPr>
              <p:cNvSpPr/>
              <p:nvPr/>
            </p:nvSpPr>
            <p:spPr>
              <a:xfrm>
                <a:off x="2851924" y="6013805"/>
                <a:ext cx="155419" cy="148142"/>
              </a:xfrm>
              <a:custGeom>
                <a:avLst/>
                <a:gdLst>
                  <a:gd name="connsiteX0" fmla="*/ 114838 w 155419"/>
                  <a:gd name="connsiteY0" fmla="*/ 9942 h 148142"/>
                  <a:gd name="connsiteX1" fmla="*/ 103108 w 155419"/>
                  <a:gd name="connsiteY1" fmla="*/ 0 h 148142"/>
                  <a:gd name="connsiteX2" fmla="*/ 11896 w 155419"/>
                  <a:gd name="connsiteY2" fmla="*/ 0 h 148142"/>
                  <a:gd name="connsiteX3" fmla="*/ 1838 w 155419"/>
                  <a:gd name="connsiteY3" fmla="*/ 5551 h 148142"/>
                  <a:gd name="connsiteX4" fmla="*/ 1165 w 155419"/>
                  <a:gd name="connsiteY4" fmla="*/ 17002 h 148142"/>
                  <a:gd name="connsiteX5" fmla="*/ 139065 w 155419"/>
                  <a:gd name="connsiteY5" fmla="*/ 147260 h 148142"/>
                  <a:gd name="connsiteX6" fmla="*/ 143525 w 155419"/>
                  <a:gd name="connsiteY6" fmla="*/ 148143 h 148142"/>
                  <a:gd name="connsiteX7" fmla="*/ 152467 w 155419"/>
                  <a:gd name="connsiteY7" fmla="*/ 144078 h 148142"/>
                  <a:gd name="connsiteX8" fmla="*/ 153861 w 155419"/>
                  <a:gd name="connsiteY8" fmla="*/ 130374 h 148142"/>
                  <a:gd name="connsiteX9" fmla="*/ 114838 w 155419"/>
                  <a:gd name="connsiteY9" fmla="*/ 9942 h 14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5419" h="148142">
                    <a:moveTo>
                      <a:pt x="114838" y="9942"/>
                    </a:moveTo>
                    <a:cubicBezTo>
                      <a:pt x="113886" y="4204"/>
                      <a:pt x="108939" y="0"/>
                      <a:pt x="103108" y="0"/>
                    </a:cubicBezTo>
                    <a:lnTo>
                      <a:pt x="11896" y="0"/>
                    </a:lnTo>
                    <a:cubicBezTo>
                      <a:pt x="7807" y="0"/>
                      <a:pt x="4021" y="2090"/>
                      <a:pt x="1838" y="5551"/>
                    </a:cubicBezTo>
                    <a:cubicBezTo>
                      <a:pt x="-345" y="8988"/>
                      <a:pt x="-601" y="13309"/>
                      <a:pt x="1165" y="17002"/>
                    </a:cubicBezTo>
                    <a:cubicBezTo>
                      <a:pt x="29409" y="76394"/>
                      <a:pt x="78372" y="122663"/>
                      <a:pt x="139065" y="147260"/>
                    </a:cubicBezTo>
                    <a:cubicBezTo>
                      <a:pt x="140505" y="147864"/>
                      <a:pt x="142015" y="148143"/>
                      <a:pt x="143525" y="148143"/>
                    </a:cubicBezTo>
                    <a:cubicBezTo>
                      <a:pt x="146869" y="148143"/>
                      <a:pt x="150167" y="146726"/>
                      <a:pt x="152467" y="144078"/>
                    </a:cubicBezTo>
                    <a:cubicBezTo>
                      <a:pt x="155812" y="140268"/>
                      <a:pt x="156369" y="134764"/>
                      <a:pt x="153861" y="130374"/>
                    </a:cubicBezTo>
                    <a:cubicBezTo>
                      <a:pt x="136254" y="99482"/>
                      <a:pt x="122758" y="57836"/>
                      <a:pt x="114838" y="9942"/>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57" name="Forma libre 286">
                <a:extLst>
                  <a:ext uri="{FF2B5EF4-FFF2-40B4-BE49-F238E27FC236}">
                    <a16:creationId xmlns:a16="http://schemas.microsoft.com/office/drawing/2014/main" id="{16EA1A30-D687-FD99-BE94-CBD72F059994}"/>
                  </a:ext>
                </a:extLst>
              </p:cNvPr>
              <p:cNvSpPr/>
              <p:nvPr/>
            </p:nvSpPr>
            <p:spPr>
              <a:xfrm>
                <a:off x="3171418" y="6069868"/>
                <a:ext cx="60483" cy="91405"/>
              </a:xfrm>
              <a:custGeom>
                <a:avLst/>
                <a:gdLst>
                  <a:gd name="connsiteX0" fmla="*/ 49774 w 60483"/>
                  <a:gd name="connsiteY0" fmla="*/ 6185 h 91405"/>
                  <a:gd name="connsiteX1" fmla="*/ 38045 w 60483"/>
                  <a:gd name="connsiteY1" fmla="*/ 53 h 91405"/>
                  <a:gd name="connsiteX2" fmla="*/ 27918 w 60483"/>
                  <a:gd name="connsiteY2" fmla="*/ 8601 h 91405"/>
                  <a:gd name="connsiteX3" fmla="*/ 1531 w 60483"/>
                  <a:gd name="connsiteY3" fmla="*/ 73660 h 91405"/>
                  <a:gd name="connsiteX4" fmla="*/ 2972 w 60483"/>
                  <a:gd name="connsiteY4" fmla="*/ 87388 h 91405"/>
                  <a:gd name="connsiteX5" fmla="*/ 11891 w 60483"/>
                  <a:gd name="connsiteY5" fmla="*/ 91406 h 91405"/>
                  <a:gd name="connsiteX6" fmla="*/ 16398 w 60483"/>
                  <a:gd name="connsiteY6" fmla="*/ 90523 h 91405"/>
                  <a:gd name="connsiteX7" fmla="*/ 54838 w 60483"/>
                  <a:gd name="connsiteY7" fmla="*/ 71360 h 91405"/>
                  <a:gd name="connsiteX8" fmla="*/ 60483 w 60483"/>
                  <a:gd name="connsiteY8" fmla="*/ 61233 h 91405"/>
                  <a:gd name="connsiteX9" fmla="*/ 60483 w 60483"/>
                  <a:gd name="connsiteY9" fmla="*/ 26439 h 91405"/>
                  <a:gd name="connsiteX10" fmla="*/ 58114 w 60483"/>
                  <a:gd name="connsiteY10" fmla="*/ 19308 h 91405"/>
                  <a:gd name="connsiteX11" fmla="*/ 49774 w 60483"/>
                  <a:gd name="connsiteY11" fmla="*/ 6185 h 9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483" h="91405">
                    <a:moveTo>
                      <a:pt x="49774" y="6185"/>
                    </a:moveTo>
                    <a:cubicBezTo>
                      <a:pt x="47474" y="1957"/>
                      <a:pt x="43062" y="-389"/>
                      <a:pt x="38045" y="53"/>
                    </a:cubicBezTo>
                    <a:cubicBezTo>
                      <a:pt x="33236" y="587"/>
                      <a:pt x="29241" y="3955"/>
                      <a:pt x="27918" y="8601"/>
                    </a:cubicBezTo>
                    <a:cubicBezTo>
                      <a:pt x="20764" y="33500"/>
                      <a:pt x="11891" y="55403"/>
                      <a:pt x="1531" y="73660"/>
                    </a:cubicBezTo>
                    <a:cubicBezTo>
                      <a:pt x="-954" y="78073"/>
                      <a:pt x="-373" y="83578"/>
                      <a:pt x="2972" y="87388"/>
                    </a:cubicBezTo>
                    <a:cubicBezTo>
                      <a:pt x="5272" y="89989"/>
                      <a:pt x="8546" y="91406"/>
                      <a:pt x="11891" y="91406"/>
                    </a:cubicBezTo>
                    <a:cubicBezTo>
                      <a:pt x="13401" y="91406"/>
                      <a:pt x="14934" y="91127"/>
                      <a:pt x="16398" y="90523"/>
                    </a:cubicBezTo>
                    <a:cubicBezTo>
                      <a:pt x="31240" y="84414"/>
                      <a:pt x="43829" y="78143"/>
                      <a:pt x="54838" y="71360"/>
                    </a:cubicBezTo>
                    <a:cubicBezTo>
                      <a:pt x="58346" y="69177"/>
                      <a:pt x="60483" y="65367"/>
                      <a:pt x="60483" y="61233"/>
                    </a:cubicBezTo>
                    <a:lnTo>
                      <a:pt x="60483" y="26439"/>
                    </a:lnTo>
                    <a:cubicBezTo>
                      <a:pt x="60483" y="23884"/>
                      <a:pt x="59647" y="21375"/>
                      <a:pt x="58114" y="19308"/>
                    </a:cubicBezTo>
                    <a:cubicBezTo>
                      <a:pt x="55023" y="15174"/>
                      <a:pt x="52283" y="10738"/>
                      <a:pt x="49774" y="6185"/>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58" name="Forma libre 287">
                <a:extLst>
                  <a:ext uri="{FF2B5EF4-FFF2-40B4-BE49-F238E27FC236}">
                    <a16:creationId xmlns:a16="http://schemas.microsoft.com/office/drawing/2014/main" id="{39137722-CF22-8342-7E4B-29484102502A}"/>
                  </a:ext>
                </a:extLst>
              </p:cNvPr>
              <p:cNvSpPr/>
              <p:nvPr/>
            </p:nvSpPr>
            <p:spPr>
              <a:xfrm>
                <a:off x="3255685" y="6122681"/>
                <a:ext cx="118922" cy="105185"/>
              </a:xfrm>
              <a:custGeom>
                <a:avLst/>
                <a:gdLst>
                  <a:gd name="connsiteX0" fmla="*/ 113534 w 118922"/>
                  <a:gd name="connsiteY0" fmla="*/ 1941 h 105185"/>
                  <a:gd name="connsiteX1" fmla="*/ 102269 w 118922"/>
                  <a:gd name="connsiteY1" fmla="*/ 1012 h 105185"/>
                  <a:gd name="connsiteX2" fmla="*/ 16653 w 118922"/>
                  <a:gd name="connsiteY2" fmla="*/ 1012 h 105185"/>
                  <a:gd name="connsiteX3" fmla="*/ 5388 w 118922"/>
                  <a:gd name="connsiteY3" fmla="*/ 1941 h 105185"/>
                  <a:gd name="connsiteX4" fmla="*/ 0 w 118922"/>
                  <a:gd name="connsiteY4" fmla="*/ 11906 h 105185"/>
                  <a:gd name="connsiteX5" fmla="*/ 0 w 118922"/>
                  <a:gd name="connsiteY5" fmla="*/ 93294 h 105185"/>
                  <a:gd name="connsiteX6" fmla="*/ 7339 w 118922"/>
                  <a:gd name="connsiteY6" fmla="*/ 104280 h 105185"/>
                  <a:gd name="connsiteX7" fmla="*/ 20300 w 118922"/>
                  <a:gd name="connsiteY7" fmla="*/ 101702 h 105185"/>
                  <a:gd name="connsiteX8" fmla="*/ 59461 w 118922"/>
                  <a:gd name="connsiteY8" fmla="*/ 62541 h 105185"/>
                  <a:gd name="connsiteX9" fmla="*/ 98622 w 118922"/>
                  <a:gd name="connsiteY9" fmla="*/ 101702 h 105185"/>
                  <a:gd name="connsiteX10" fmla="*/ 107031 w 118922"/>
                  <a:gd name="connsiteY10" fmla="*/ 105186 h 105185"/>
                  <a:gd name="connsiteX11" fmla="*/ 111583 w 118922"/>
                  <a:gd name="connsiteY11" fmla="*/ 104279 h 105185"/>
                  <a:gd name="connsiteX12" fmla="*/ 118922 w 118922"/>
                  <a:gd name="connsiteY12" fmla="*/ 93293 h 105185"/>
                  <a:gd name="connsiteX13" fmla="*/ 118922 w 118922"/>
                  <a:gd name="connsiteY13" fmla="*/ 11905 h 105185"/>
                  <a:gd name="connsiteX14" fmla="*/ 113534 w 118922"/>
                  <a:gd name="connsiteY14" fmla="*/ 1941 h 105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922" h="105185">
                    <a:moveTo>
                      <a:pt x="113534" y="1941"/>
                    </a:moveTo>
                    <a:cubicBezTo>
                      <a:pt x="110213" y="-242"/>
                      <a:pt x="105916" y="-591"/>
                      <a:pt x="102269" y="1012"/>
                    </a:cubicBezTo>
                    <a:cubicBezTo>
                      <a:pt x="74861" y="12998"/>
                      <a:pt x="44062" y="12998"/>
                      <a:pt x="16653" y="1012"/>
                    </a:cubicBezTo>
                    <a:cubicBezTo>
                      <a:pt x="13006" y="-613"/>
                      <a:pt x="8733" y="-265"/>
                      <a:pt x="5388" y="1941"/>
                    </a:cubicBezTo>
                    <a:cubicBezTo>
                      <a:pt x="2020" y="4148"/>
                      <a:pt x="0" y="7887"/>
                      <a:pt x="0" y="11906"/>
                    </a:cubicBezTo>
                    <a:lnTo>
                      <a:pt x="0" y="93294"/>
                    </a:lnTo>
                    <a:cubicBezTo>
                      <a:pt x="0" y="98103"/>
                      <a:pt x="2903" y="102445"/>
                      <a:pt x="7339" y="104280"/>
                    </a:cubicBezTo>
                    <a:cubicBezTo>
                      <a:pt x="11752" y="106092"/>
                      <a:pt x="16886" y="105093"/>
                      <a:pt x="20300" y="101702"/>
                    </a:cubicBezTo>
                    <a:lnTo>
                      <a:pt x="59461" y="62541"/>
                    </a:lnTo>
                    <a:lnTo>
                      <a:pt x="98622" y="101702"/>
                    </a:lnTo>
                    <a:cubicBezTo>
                      <a:pt x="100899" y="103978"/>
                      <a:pt x="103941" y="105186"/>
                      <a:pt x="107031" y="105186"/>
                    </a:cubicBezTo>
                    <a:cubicBezTo>
                      <a:pt x="108564" y="105186"/>
                      <a:pt x="110120" y="104884"/>
                      <a:pt x="111583" y="104279"/>
                    </a:cubicBezTo>
                    <a:cubicBezTo>
                      <a:pt x="116019" y="102444"/>
                      <a:pt x="118922" y="98101"/>
                      <a:pt x="118922" y="93293"/>
                    </a:cubicBezTo>
                    <a:lnTo>
                      <a:pt x="118922" y="11905"/>
                    </a:lnTo>
                    <a:cubicBezTo>
                      <a:pt x="118923" y="7887"/>
                      <a:pt x="116902" y="4148"/>
                      <a:pt x="113534" y="1941"/>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grpSp>
        <p:grpSp>
          <p:nvGrpSpPr>
            <p:cNvPr id="137" name="Gráfico 75">
              <a:extLst>
                <a:ext uri="{FF2B5EF4-FFF2-40B4-BE49-F238E27FC236}">
                  <a16:creationId xmlns:a16="http://schemas.microsoft.com/office/drawing/2014/main" id="{473F167B-3F91-B4AB-193E-27B7037276FB}"/>
                </a:ext>
              </a:extLst>
            </p:cNvPr>
            <p:cNvGrpSpPr/>
            <p:nvPr/>
          </p:nvGrpSpPr>
          <p:grpSpPr>
            <a:xfrm>
              <a:off x="9241333" y="1195448"/>
              <a:ext cx="45113" cy="43254"/>
              <a:chOff x="5171013" y="2936812"/>
              <a:chExt cx="571237" cy="571237"/>
            </a:xfrm>
            <a:solidFill>
              <a:schemeClr val="bg1"/>
            </a:solidFill>
          </p:grpSpPr>
          <p:sp>
            <p:nvSpPr>
              <p:cNvPr id="142" name="Forma libre 191">
                <a:extLst>
                  <a:ext uri="{FF2B5EF4-FFF2-40B4-BE49-F238E27FC236}">
                    <a16:creationId xmlns:a16="http://schemas.microsoft.com/office/drawing/2014/main" id="{FBF5B1F8-819D-A0C1-402E-A76F980F5FE6}"/>
                  </a:ext>
                </a:extLst>
              </p:cNvPr>
              <p:cNvSpPr/>
              <p:nvPr/>
            </p:nvSpPr>
            <p:spPr>
              <a:xfrm>
                <a:off x="5534526" y="3196464"/>
                <a:ext cx="103862" cy="25966"/>
              </a:xfrm>
              <a:custGeom>
                <a:avLst/>
                <a:gdLst>
                  <a:gd name="connsiteX0" fmla="*/ 12983 w 103862"/>
                  <a:gd name="connsiteY0" fmla="*/ 25966 h 25966"/>
                  <a:gd name="connsiteX1" fmla="*/ 90879 w 103862"/>
                  <a:gd name="connsiteY1" fmla="*/ 25966 h 25966"/>
                  <a:gd name="connsiteX2" fmla="*/ 103862 w 103862"/>
                  <a:gd name="connsiteY2" fmla="*/ 12983 h 25966"/>
                  <a:gd name="connsiteX3" fmla="*/ 90879 w 103862"/>
                  <a:gd name="connsiteY3" fmla="*/ 0 h 25966"/>
                  <a:gd name="connsiteX4" fmla="*/ 12983 w 103862"/>
                  <a:gd name="connsiteY4" fmla="*/ 0 h 25966"/>
                  <a:gd name="connsiteX5" fmla="*/ 0 w 103862"/>
                  <a:gd name="connsiteY5" fmla="*/ 12983 h 25966"/>
                  <a:gd name="connsiteX6" fmla="*/ 12983 w 103862"/>
                  <a:gd name="connsiteY6" fmla="*/ 25966 h 2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862" h="25966">
                    <a:moveTo>
                      <a:pt x="12983" y="25966"/>
                    </a:moveTo>
                    <a:lnTo>
                      <a:pt x="90879" y="25966"/>
                    </a:lnTo>
                    <a:cubicBezTo>
                      <a:pt x="98055" y="25966"/>
                      <a:pt x="103862" y="20159"/>
                      <a:pt x="103862" y="12983"/>
                    </a:cubicBezTo>
                    <a:cubicBezTo>
                      <a:pt x="103862" y="5807"/>
                      <a:pt x="98055" y="0"/>
                      <a:pt x="90879" y="0"/>
                    </a:cubicBezTo>
                    <a:lnTo>
                      <a:pt x="12983" y="0"/>
                    </a:lnTo>
                    <a:cubicBezTo>
                      <a:pt x="5807" y="0"/>
                      <a:pt x="0" y="5807"/>
                      <a:pt x="0" y="12983"/>
                    </a:cubicBezTo>
                    <a:cubicBezTo>
                      <a:pt x="1" y="20159"/>
                      <a:pt x="5807" y="25966"/>
                      <a:pt x="12983" y="25966"/>
                    </a:cubicBezTo>
                    <a:close/>
                  </a:path>
                </a:pathLst>
              </a:custGeom>
              <a:grpFill/>
              <a:ln w="11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43" name="Forma libre 192">
                <a:extLst>
                  <a:ext uri="{FF2B5EF4-FFF2-40B4-BE49-F238E27FC236}">
                    <a16:creationId xmlns:a16="http://schemas.microsoft.com/office/drawing/2014/main" id="{6B52F221-3769-7334-97DC-8B7FE0A2693D}"/>
                  </a:ext>
                </a:extLst>
              </p:cNvPr>
              <p:cNvSpPr/>
              <p:nvPr/>
            </p:nvSpPr>
            <p:spPr>
              <a:xfrm>
                <a:off x="5482596" y="3274360"/>
                <a:ext cx="155793" cy="25966"/>
              </a:xfrm>
              <a:custGeom>
                <a:avLst/>
                <a:gdLst>
                  <a:gd name="connsiteX0" fmla="*/ 12983 w 155793"/>
                  <a:gd name="connsiteY0" fmla="*/ 25966 h 25966"/>
                  <a:gd name="connsiteX1" fmla="*/ 142810 w 155793"/>
                  <a:gd name="connsiteY1" fmla="*/ 25966 h 25966"/>
                  <a:gd name="connsiteX2" fmla="*/ 155793 w 155793"/>
                  <a:gd name="connsiteY2" fmla="*/ 12983 h 25966"/>
                  <a:gd name="connsiteX3" fmla="*/ 142810 w 155793"/>
                  <a:gd name="connsiteY3" fmla="*/ 0 h 25966"/>
                  <a:gd name="connsiteX4" fmla="*/ 12983 w 155793"/>
                  <a:gd name="connsiteY4" fmla="*/ 0 h 25966"/>
                  <a:gd name="connsiteX5" fmla="*/ 0 w 155793"/>
                  <a:gd name="connsiteY5" fmla="*/ 12983 h 25966"/>
                  <a:gd name="connsiteX6" fmla="*/ 12983 w 155793"/>
                  <a:gd name="connsiteY6" fmla="*/ 25966 h 2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793" h="25966">
                    <a:moveTo>
                      <a:pt x="12983" y="25966"/>
                    </a:moveTo>
                    <a:lnTo>
                      <a:pt x="142810" y="25966"/>
                    </a:lnTo>
                    <a:cubicBezTo>
                      <a:pt x="149986" y="25966"/>
                      <a:pt x="155793" y="20159"/>
                      <a:pt x="155793" y="12983"/>
                    </a:cubicBezTo>
                    <a:cubicBezTo>
                      <a:pt x="155793" y="5807"/>
                      <a:pt x="149986" y="0"/>
                      <a:pt x="142810" y="0"/>
                    </a:cubicBezTo>
                    <a:lnTo>
                      <a:pt x="12983" y="0"/>
                    </a:lnTo>
                    <a:cubicBezTo>
                      <a:pt x="5807" y="0"/>
                      <a:pt x="0" y="5807"/>
                      <a:pt x="0" y="12983"/>
                    </a:cubicBezTo>
                    <a:cubicBezTo>
                      <a:pt x="0" y="20159"/>
                      <a:pt x="5807" y="25966"/>
                      <a:pt x="12983" y="25966"/>
                    </a:cubicBezTo>
                    <a:close/>
                  </a:path>
                </a:pathLst>
              </a:custGeom>
              <a:grpFill/>
              <a:ln w="11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44" name="Forma libre 193">
                <a:extLst>
                  <a:ext uri="{FF2B5EF4-FFF2-40B4-BE49-F238E27FC236}">
                    <a16:creationId xmlns:a16="http://schemas.microsoft.com/office/drawing/2014/main" id="{D62990ED-5445-D85A-0B5D-BB6F3DDB5C28}"/>
                  </a:ext>
                </a:extLst>
              </p:cNvPr>
              <p:cNvSpPr/>
              <p:nvPr/>
            </p:nvSpPr>
            <p:spPr>
              <a:xfrm>
                <a:off x="5482596" y="3352256"/>
                <a:ext cx="155793" cy="25966"/>
              </a:xfrm>
              <a:custGeom>
                <a:avLst/>
                <a:gdLst>
                  <a:gd name="connsiteX0" fmla="*/ 12983 w 155793"/>
                  <a:gd name="connsiteY0" fmla="*/ 25966 h 25966"/>
                  <a:gd name="connsiteX1" fmla="*/ 142810 w 155793"/>
                  <a:gd name="connsiteY1" fmla="*/ 25966 h 25966"/>
                  <a:gd name="connsiteX2" fmla="*/ 155793 w 155793"/>
                  <a:gd name="connsiteY2" fmla="*/ 12983 h 25966"/>
                  <a:gd name="connsiteX3" fmla="*/ 142810 w 155793"/>
                  <a:gd name="connsiteY3" fmla="*/ 0 h 25966"/>
                  <a:gd name="connsiteX4" fmla="*/ 12983 w 155793"/>
                  <a:gd name="connsiteY4" fmla="*/ 0 h 25966"/>
                  <a:gd name="connsiteX5" fmla="*/ 0 w 155793"/>
                  <a:gd name="connsiteY5" fmla="*/ 12983 h 25966"/>
                  <a:gd name="connsiteX6" fmla="*/ 12983 w 155793"/>
                  <a:gd name="connsiteY6" fmla="*/ 25966 h 2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793" h="25966">
                    <a:moveTo>
                      <a:pt x="12983" y="25966"/>
                    </a:moveTo>
                    <a:lnTo>
                      <a:pt x="142810" y="25966"/>
                    </a:lnTo>
                    <a:cubicBezTo>
                      <a:pt x="149986" y="25966"/>
                      <a:pt x="155793" y="20159"/>
                      <a:pt x="155793" y="12983"/>
                    </a:cubicBezTo>
                    <a:cubicBezTo>
                      <a:pt x="155793" y="5807"/>
                      <a:pt x="149986" y="0"/>
                      <a:pt x="142810" y="0"/>
                    </a:cubicBezTo>
                    <a:lnTo>
                      <a:pt x="12983" y="0"/>
                    </a:lnTo>
                    <a:cubicBezTo>
                      <a:pt x="5807" y="0"/>
                      <a:pt x="0" y="5807"/>
                      <a:pt x="0" y="12983"/>
                    </a:cubicBezTo>
                    <a:cubicBezTo>
                      <a:pt x="0" y="20159"/>
                      <a:pt x="5807" y="25966"/>
                      <a:pt x="12983" y="25966"/>
                    </a:cubicBezTo>
                    <a:close/>
                  </a:path>
                </a:pathLst>
              </a:custGeom>
              <a:grpFill/>
              <a:ln w="11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45" name="Forma libre 194">
                <a:extLst>
                  <a:ext uri="{FF2B5EF4-FFF2-40B4-BE49-F238E27FC236}">
                    <a16:creationId xmlns:a16="http://schemas.microsoft.com/office/drawing/2014/main" id="{5F229642-3547-A772-208E-C9AC0324F524}"/>
                  </a:ext>
                </a:extLst>
              </p:cNvPr>
              <p:cNvSpPr/>
              <p:nvPr/>
            </p:nvSpPr>
            <p:spPr>
              <a:xfrm>
                <a:off x="5261890" y="3118568"/>
                <a:ext cx="181757" cy="181757"/>
              </a:xfrm>
              <a:custGeom>
                <a:avLst/>
                <a:gdLst>
                  <a:gd name="connsiteX0" fmla="*/ 181758 w 181757"/>
                  <a:gd name="connsiteY0" fmla="*/ 90879 h 181757"/>
                  <a:gd name="connsiteX1" fmla="*/ 90879 w 181757"/>
                  <a:gd name="connsiteY1" fmla="*/ 181758 h 181757"/>
                  <a:gd name="connsiteX2" fmla="*/ 0 w 181757"/>
                  <a:gd name="connsiteY2" fmla="*/ 90879 h 181757"/>
                  <a:gd name="connsiteX3" fmla="*/ 90879 w 181757"/>
                  <a:gd name="connsiteY3" fmla="*/ 0 h 181757"/>
                  <a:gd name="connsiteX4" fmla="*/ 181758 w 181757"/>
                  <a:gd name="connsiteY4" fmla="*/ 90879 h 181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757" h="181757">
                    <a:moveTo>
                      <a:pt x="181758" y="90879"/>
                    </a:moveTo>
                    <a:cubicBezTo>
                      <a:pt x="181758" y="141070"/>
                      <a:pt x="141070" y="181758"/>
                      <a:pt x="90879" y="181758"/>
                    </a:cubicBezTo>
                    <a:cubicBezTo>
                      <a:pt x="40688" y="181758"/>
                      <a:pt x="0" y="141070"/>
                      <a:pt x="0" y="90879"/>
                    </a:cubicBezTo>
                    <a:cubicBezTo>
                      <a:pt x="0" y="40688"/>
                      <a:pt x="40688" y="0"/>
                      <a:pt x="90879" y="0"/>
                    </a:cubicBezTo>
                    <a:cubicBezTo>
                      <a:pt x="141070" y="0"/>
                      <a:pt x="181758" y="40688"/>
                      <a:pt x="181758" y="90879"/>
                    </a:cubicBezTo>
                    <a:close/>
                  </a:path>
                </a:pathLst>
              </a:custGeom>
              <a:grpFill/>
              <a:ln w="11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46" name="Forma libre 195">
                <a:extLst>
                  <a:ext uri="{FF2B5EF4-FFF2-40B4-BE49-F238E27FC236}">
                    <a16:creationId xmlns:a16="http://schemas.microsoft.com/office/drawing/2014/main" id="{7F25C2CC-C230-C86F-054C-7369C6E1BF7F}"/>
                  </a:ext>
                </a:extLst>
              </p:cNvPr>
              <p:cNvSpPr/>
              <p:nvPr/>
            </p:nvSpPr>
            <p:spPr>
              <a:xfrm>
                <a:off x="5287856" y="3315323"/>
                <a:ext cx="129825" cy="114834"/>
              </a:xfrm>
              <a:custGeom>
                <a:avLst/>
                <a:gdLst>
                  <a:gd name="connsiteX0" fmla="*/ 123943 w 129825"/>
                  <a:gd name="connsiteY0" fmla="*/ 2132 h 114834"/>
                  <a:gd name="connsiteX1" fmla="*/ 111646 w 129825"/>
                  <a:gd name="connsiteY1" fmla="*/ 1104 h 114834"/>
                  <a:gd name="connsiteX2" fmla="*/ 18180 w 129825"/>
                  <a:gd name="connsiteY2" fmla="*/ 1104 h 114834"/>
                  <a:gd name="connsiteX3" fmla="*/ 5882 w 129825"/>
                  <a:gd name="connsiteY3" fmla="*/ 2132 h 114834"/>
                  <a:gd name="connsiteX4" fmla="*/ 0 w 129825"/>
                  <a:gd name="connsiteY4" fmla="*/ 12997 h 114834"/>
                  <a:gd name="connsiteX5" fmla="*/ 0 w 129825"/>
                  <a:gd name="connsiteY5" fmla="*/ 101847 h 114834"/>
                  <a:gd name="connsiteX6" fmla="*/ 8012 w 129825"/>
                  <a:gd name="connsiteY6" fmla="*/ 113840 h 114834"/>
                  <a:gd name="connsiteX7" fmla="*/ 22161 w 129825"/>
                  <a:gd name="connsiteY7" fmla="*/ 111025 h 114834"/>
                  <a:gd name="connsiteX8" fmla="*/ 64913 w 129825"/>
                  <a:gd name="connsiteY8" fmla="*/ 68274 h 114834"/>
                  <a:gd name="connsiteX9" fmla="*/ 107664 w 129825"/>
                  <a:gd name="connsiteY9" fmla="*/ 111025 h 114834"/>
                  <a:gd name="connsiteX10" fmla="*/ 116844 w 129825"/>
                  <a:gd name="connsiteY10" fmla="*/ 114829 h 114834"/>
                  <a:gd name="connsiteX11" fmla="*/ 121813 w 129825"/>
                  <a:gd name="connsiteY11" fmla="*/ 113839 h 114834"/>
                  <a:gd name="connsiteX12" fmla="*/ 129826 w 129825"/>
                  <a:gd name="connsiteY12" fmla="*/ 101846 h 114834"/>
                  <a:gd name="connsiteX13" fmla="*/ 129826 w 129825"/>
                  <a:gd name="connsiteY13" fmla="*/ 12996 h 114834"/>
                  <a:gd name="connsiteX14" fmla="*/ 123943 w 129825"/>
                  <a:gd name="connsiteY14" fmla="*/ 2132 h 114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9825" h="114834">
                    <a:moveTo>
                      <a:pt x="123943" y="2132"/>
                    </a:moveTo>
                    <a:cubicBezTo>
                      <a:pt x="120292" y="-265"/>
                      <a:pt x="115677" y="-645"/>
                      <a:pt x="111646" y="1104"/>
                    </a:cubicBezTo>
                    <a:cubicBezTo>
                      <a:pt x="81674" y="14188"/>
                      <a:pt x="48152" y="14188"/>
                      <a:pt x="18180" y="1104"/>
                    </a:cubicBezTo>
                    <a:cubicBezTo>
                      <a:pt x="14123" y="-670"/>
                      <a:pt x="9508" y="-291"/>
                      <a:pt x="5882" y="2132"/>
                    </a:cubicBezTo>
                    <a:cubicBezTo>
                      <a:pt x="2205" y="4528"/>
                      <a:pt x="0" y="8610"/>
                      <a:pt x="0" y="12997"/>
                    </a:cubicBezTo>
                    <a:lnTo>
                      <a:pt x="0" y="101847"/>
                    </a:lnTo>
                    <a:cubicBezTo>
                      <a:pt x="0" y="107096"/>
                      <a:pt x="3169" y="111837"/>
                      <a:pt x="8012" y="113840"/>
                    </a:cubicBezTo>
                    <a:cubicBezTo>
                      <a:pt x="12830" y="115856"/>
                      <a:pt x="18435" y="114753"/>
                      <a:pt x="22161" y="111025"/>
                    </a:cubicBezTo>
                    <a:lnTo>
                      <a:pt x="64913" y="68274"/>
                    </a:lnTo>
                    <a:lnTo>
                      <a:pt x="107664" y="111025"/>
                    </a:lnTo>
                    <a:cubicBezTo>
                      <a:pt x="110150" y="113511"/>
                      <a:pt x="113471" y="114829"/>
                      <a:pt x="116844" y="114829"/>
                    </a:cubicBezTo>
                    <a:cubicBezTo>
                      <a:pt x="118517" y="114829"/>
                      <a:pt x="120217" y="114512"/>
                      <a:pt x="121813" y="113839"/>
                    </a:cubicBezTo>
                    <a:cubicBezTo>
                      <a:pt x="126656" y="111836"/>
                      <a:pt x="129826" y="107094"/>
                      <a:pt x="129826" y="101846"/>
                    </a:cubicBezTo>
                    <a:lnTo>
                      <a:pt x="129826" y="12996"/>
                    </a:lnTo>
                    <a:cubicBezTo>
                      <a:pt x="129827" y="8609"/>
                      <a:pt x="127620" y="4527"/>
                      <a:pt x="123943" y="2132"/>
                    </a:cubicBezTo>
                    <a:close/>
                  </a:path>
                </a:pathLst>
              </a:custGeom>
              <a:grpFill/>
              <a:ln w="11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47" name="Forma libre 196">
                <a:extLst>
                  <a:ext uri="{FF2B5EF4-FFF2-40B4-BE49-F238E27FC236}">
                    <a16:creationId xmlns:a16="http://schemas.microsoft.com/office/drawing/2014/main" id="{1FBB2C2A-B88D-D0B9-8C98-0CA862AD2702}"/>
                  </a:ext>
                </a:extLst>
              </p:cNvPr>
              <p:cNvSpPr/>
              <p:nvPr/>
            </p:nvSpPr>
            <p:spPr>
              <a:xfrm>
                <a:off x="5171013" y="2936812"/>
                <a:ext cx="571237" cy="571237"/>
              </a:xfrm>
              <a:custGeom>
                <a:avLst/>
                <a:gdLst>
                  <a:gd name="connsiteX0" fmla="*/ 519307 w 571237"/>
                  <a:gd name="connsiteY0" fmla="*/ 0 h 571237"/>
                  <a:gd name="connsiteX1" fmla="*/ 51931 w 571237"/>
                  <a:gd name="connsiteY1" fmla="*/ 0 h 571237"/>
                  <a:gd name="connsiteX2" fmla="*/ 0 w 571237"/>
                  <a:gd name="connsiteY2" fmla="*/ 51931 h 571237"/>
                  <a:gd name="connsiteX3" fmla="*/ 0 w 571237"/>
                  <a:gd name="connsiteY3" fmla="*/ 519307 h 571237"/>
                  <a:gd name="connsiteX4" fmla="*/ 51931 w 571237"/>
                  <a:gd name="connsiteY4" fmla="*/ 571238 h 571237"/>
                  <a:gd name="connsiteX5" fmla="*/ 519307 w 571237"/>
                  <a:gd name="connsiteY5" fmla="*/ 571238 h 571237"/>
                  <a:gd name="connsiteX6" fmla="*/ 571238 w 571237"/>
                  <a:gd name="connsiteY6" fmla="*/ 519307 h 571237"/>
                  <a:gd name="connsiteX7" fmla="*/ 571238 w 571237"/>
                  <a:gd name="connsiteY7" fmla="*/ 51931 h 571237"/>
                  <a:gd name="connsiteX8" fmla="*/ 519307 w 571237"/>
                  <a:gd name="connsiteY8" fmla="*/ 0 h 571237"/>
                  <a:gd name="connsiteX9" fmla="*/ 168775 w 571237"/>
                  <a:gd name="connsiteY9" fmla="*/ 51931 h 571237"/>
                  <a:gd name="connsiteX10" fmla="*/ 181758 w 571237"/>
                  <a:gd name="connsiteY10" fmla="*/ 64914 h 571237"/>
                  <a:gd name="connsiteX11" fmla="*/ 168775 w 571237"/>
                  <a:gd name="connsiteY11" fmla="*/ 77897 h 571237"/>
                  <a:gd name="connsiteX12" fmla="*/ 155792 w 571237"/>
                  <a:gd name="connsiteY12" fmla="*/ 64913 h 571237"/>
                  <a:gd name="connsiteX13" fmla="*/ 168775 w 571237"/>
                  <a:gd name="connsiteY13" fmla="*/ 51931 h 571237"/>
                  <a:gd name="connsiteX14" fmla="*/ 116844 w 571237"/>
                  <a:gd name="connsiteY14" fmla="*/ 51931 h 571237"/>
                  <a:gd name="connsiteX15" fmla="*/ 129827 w 571237"/>
                  <a:gd name="connsiteY15" fmla="*/ 64914 h 571237"/>
                  <a:gd name="connsiteX16" fmla="*/ 116844 w 571237"/>
                  <a:gd name="connsiteY16" fmla="*/ 77896 h 571237"/>
                  <a:gd name="connsiteX17" fmla="*/ 103861 w 571237"/>
                  <a:gd name="connsiteY17" fmla="*/ 64913 h 571237"/>
                  <a:gd name="connsiteX18" fmla="*/ 116844 w 571237"/>
                  <a:gd name="connsiteY18" fmla="*/ 51931 h 571237"/>
                  <a:gd name="connsiteX19" fmla="*/ 64913 w 571237"/>
                  <a:gd name="connsiteY19" fmla="*/ 51931 h 571237"/>
                  <a:gd name="connsiteX20" fmla="*/ 77896 w 571237"/>
                  <a:gd name="connsiteY20" fmla="*/ 64913 h 571237"/>
                  <a:gd name="connsiteX21" fmla="*/ 64913 w 571237"/>
                  <a:gd name="connsiteY21" fmla="*/ 77896 h 571237"/>
                  <a:gd name="connsiteX22" fmla="*/ 51930 w 571237"/>
                  <a:gd name="connsiteY22" fmla="*/ 64913 h 571237"/>
                  <a:gd name="connsiteX23" fmla="*/ 64913 w 571237"/>
                  <a:gd name="connsiteY23" fmla="*/ 51931 h 571237"/>
                  <a:gd name="connsiteX24" fmla="*/ 519307 w 571237"/>
                  <a:gd name="connsiteY24" fmla="*/ 519307 h 571237"/>
                  <a:gd name="connsiteX25" fmla="*/ 51931 w 571237"/>
                  <a:gd name="connsiteY25" fmla="*/ 519307 h 571237"/>
                  <a:gd name="connsiteX26" fmla="*/ 51931 w 571237"/>
                  <a:gd name="connsiteY26" fmla="*/ 129827 h 571237"/>
                  <a:gd name="connsiteX27" fmla="*/ 519307 w 571237"/>
                  <a:gd name="connsiteY27" fmla="*/ 129827 h 571237"/>
                  <a:gd name="connsiteX28" fmla="*/ 519307 w 571237"/>
                  <a:gd name="connsiteY28" fmla="*/ 519307 h 571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71237" h="571237">
                    <a:moveTo>
                      <a:pt x="519307" y="0"/>
                    </a:moveTo>
                    <a:lnTo>
                      <a:pt x="51931" y="0"/>
                    </a:lnTo>
                    <a:cubicBezTo>
                      <a:pt x="23303" y="0"/>
                      <a:pt x="0" y="23290"/>
                      <a:pt x="0" y="51931"/>
                    </a:cubicBezTo>
                    <a:lnTo>
                      <a:pt x="0" y="519307"/>
                    </a:lnTo>
                    <a:cubicBezTo>
                      <a:pt x="0" y="547947"/>
                      <a:pt x="23303" y="571238"/>
                      <a:pt x="51931" y="571238"/>
                    </a:cubicBezTo>
                    <a:lnTo>
                      <a:pt x="519307" y="571238"/>
                    </a:lnTo>
                    <a:cubicBezTo>
                      <a:pt x="547934" y="571238"/>
                      <a:pt x="571238" y="547948"/>
                      <a:pt x="571238" y="519307"/>
                    </a:cubicBezTo>
                    <a:lnTo>
                      <a:pt x="571238" y="51931"/>
                    </a:lnTo>
                    <a:cubicBezTo>
                      <a:pt x="571236" y="23290"/>
                      <a:pt x="547934" y="0"/>
                      <a:pt x="519307" y="0"/>
                    </a:cubicBezTo>
                    <a:close/>
                    <a:moveTo>
                      <a:pt x="168775" y="51931"/>
                    </a:moveTo>
                    <a:cubicBezTo>
                      <a:pt x="175945" y="51931"/>
                      <a:pt x="181758" y="57743"/>
                      <a:pt x="181758" y="64914"/>
                    </a:cubicBezTo>
                    <a:cubicBezTo>
                      <a:pt x="181758" y="72084"/>
                      <a:pt x="175945" y="77897"/>
                      <a:pt x="168775" y="77897"/>
                    </a:cubicBezTo>
                    <a:cubicBezTo>
                      <a:pt x="161605" y="77897"/>
                      <a:pt x="155792" y="72083"/>
                      <a:pt x="155792" y="64913"/>
                    </a:cubicBezTo>
                    <a:cubicBezTo>
                      <a:pt x="155792" y="57742"/>
                      <a:pt x="161605" y="51931"/>
                      <a:pt x="168775" y="51931"/>
                    </a:cubicBezTo>
                    <a:close/>
                    <a:moveTo>
                      <a:pt x="116844" y="51931"/>
                    </a:moveTo>
                    <a:cubicBezTo>
                      <a:pt x="124014" y="51931"/>
                      <a:pt x="129827" y="57743"/>
                      <a:pt x="129827" y="64914"/>
                    </a:cubicBezTo>
                    <a:cubicBezTo>
                      <a:pt x="129827" y="72083"/>
                      <a:pt x="124014" y="77896"/>
                      <a:pt x="116844" y="77896"/>
                    </a:cubicBezTo>
                    <a:cubicBezTo>
                      <a:pt x="109674" y="77896"/>
                      <a:pt x="103861" y="72083"/>
                      <a:pt x="103861" y="64913"/>
                    </a:cubicBezTo>
                    <a:cubicBezTo>
                      <a:pt x="103861" y="57742"/>
                      <a:pt x="109674" y="51931"/>
                      <a:pt x="116844" y="51931"/>
                    </a:cubicBezTo>
                    <a:close/>
                    <a:moveTo>
                      <a:pt x="64913" y="51931"/>
                    </a:moveTo>
                    <a:cubicBezTo>
                      <a:pt x="72083" y="51931"/>
                      <a:pt x="77896" y="57742"/>
                      <a:pt x="77896" y="64913"/>
                    </a:cubicBezTo>
                    <a:cubicBezTo>
                      <a:pt x="77896" y="72083"/>
                      <a:pt x="72083" y="77896"/>
                      <a:pt x="64913" y="77896"/>
                    </a:cubicBezTo>
                    <a:cubicBezTo>
                      <a:pt x="57743" y="77896"/>
                      <a:pt x="51930" y="72083"/>
                      <a:pt x="51930" y="64913"/>
                    </a:cubicBezTo>
                    <a:cubicBezTo>
                      <a:pt x="51931" y="57742"/>
                      <a:pt x="57744" y="51931"/>
                      <a:pt x="64913" y="51931"/>
                    </a:cubicBezTo>
                    <a:close/>
                    <a:moveTo>
                      <a:pt x="519307" y="519307"/>
                    </a:moveTo>
                    <a:lnTo>
                      <a:pt x="51931" y="519307"/>
                    </a:lnTo>
                    <a:lnTo>
                      <a:pt x="51931" y="129827"/>
                    </a:lnTo>
                    <a:lnTo>
                      <a:pt x="519307" y="129827"/>
                    </a:lnTo>
                    <a:lnTo>
                      <a:pt x="519307" y="519307"/>
                    </a:lnTo>
                    <a:close/>
                  </a:path>
                </a:pathLst>
              </a:custGeom>
              <a:grpFill/>
              <a:ln w="11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grpSp>
        <p:grpSp>
          <p:nvGrpSpPr>
            <p:cNvPr id="138" name="Gráfico 40">
              <a:extLst>
                <a:ext uri="{FF2B5EF4-FFF2-40B4-BE49-F238E27FC236}">
                  <a16:creationId xmlns:a16="http://schemas.microsoft.com/office/drawing/2014/main" id="{C9BE28A1-915A-8CB5-F018-D9B0FC643021}"/>
                </a:ext>
              </a:extLst>
            </p:cNvPr>
            <p:cNvGrpSpPr/>
            <p:nvPr/>
          </p:nvGrpSpPr>
          <p:grpSpPr>
            <a:xfrm>
              <a:off x="9247297" y="1272428"/>
              <a:ext cx="33164" cy="42367"/>
              <a:chOff x="6390418" y="264676"/>
              <a:chExt cx="449651" cy="599145"/>
            </a:xfrm>
            <a:solidFill>
              <a:schemeClr val="bg1"/>
            </a:solidFill>
          </p:grpSpPr>
          <p:sp>
            <p:nvSpPr>
              <p:cNvPr id="140" name="Forma libre 302">
                <a:extLst>
                  <a:ext uri="{FF2B5EF4-FFF2-40B4-BE49-F238E27FC236}">
                    <a16:creationId xmlns:a16="http://schemas.microsoft.com/office/drawing/2014/main" id="{24EF4EA4-34D0-33A6-8676-2DBF4BD5992C}"/>
                  </a:ext>
                </a:extLst>
              </p:cNvPr>
              <p:cNvSpPr/>
              <p:nvPr/>
            </p:nvSpPr>
            <p:spPr>
              <a:xfrm>
                <a:off x="6390418" y="264676"/>
                <a:ext cx="449651" cy="599145"/>
              </a:xfrm>
              <a:custGeom>
                <a:avLst/>
                <a:gdLst>
                  <a:gd name="connsiteX0" fmla="*/ 445694 w 449650"/>
                  <a:gd name="connsiteY0" fmla="*/ 129089 h 599144"/>
                  <a:gd name="connsiteX1" fmla="*/ 321145 w 449650"/>
                  <a:gd name="connsiteY1" fmla="*/ 4541 h 599144"/>
                  <a:gd name="connsiteX2" fmla="*/ 312323 w 449650"/>
                  <a:gd name="connsiteY2" fmla="*/ 876 h 599144"/>
                  <a:gd name="connsiteX3" fmla="*/ 50708 w 449650"/>
                  <a:gd name="connsiteY3" fmla="*/ 876 h 599144"/>
                  <a:gd name="connsiteX4" fmla="*/ 876 w 449650"/>
                  <a:gd name="connsiteY4" fmla="*/ 50708 h 599144"/>
                  <a:gd name="connsiteX5" fmla="*/ 876 w 449650"/>
                  <a:gd name="connsiteY5" fmla="*/ 549022 h 599144"/>
                  <a:gd name="connsiteX6" fmla="*/ 50708 w 449650"/>
                  <a:gd name="connsiteY6" fmla="*/ 598853 h 599144"/>
                  <a:gd name="connsiteX7" fmla="*/ 399528 w 449650"/>
                  <a:gd name="connsiteY7" fmla="*/ 598853 h 599144"/>
                  <a:gd name="connsiteX8" fmla="*/ 449359 w 449650"/>
                  <a:gd name="connsiteY8" fmla="*/ 549021 h 599144"/>
                  <a:gd name="connsiteX9" fmla="*/ 449359 w 449650"/>
                  <a:gd name="connsiteY9" fmla="*/ 137912 h 599144"/>
                  <a:gd name="connsiteX10" fmla="*/ 445694 w 449650"/>
                  <a:gd name="connsiteY10" fmla="*/ 129089 h 599144"/>
                  <a:gd name="connsiteX11" fmla="*/ 88081 w 449650"/>
                  <a:gd name="connsiteY11" fmla="*/ 125455 h 599144"/>
                  <a:gd name="connsiteX12" fmla="*/ 237576 w 449650"/>
                  <a:gd name="connsiteY12" fmla="*/ 125455 h 599144"/>
                  <a:gd name="connsiteX13" fmla="*/ 250034 w 449650"/>
                  <a:gd name="connsiteY13" fmla="*/ 137913 h 599144"/>
                  <a:gd name="connsiteX14" fmla="*/ 237576 w 449650"/>
                  <a:gd name="connsiteY14" fmla="*/ 150371 h 599144"/>
                  <a:gd name="connsiteX15" fmla="*/ 88081 w 449650"/>
                  <a:gd name="connsiteY15" fmla="*/ 150371 h 599144"/>
                  <a:gd name="connsiteX16" fmla="*/ 75623 w 449650"/>
                  <a:gd name="connsiteY16" fmla="*/ 137913 h 599144"/>
                  <a:gd name="connsiteX17" fmla="*/ 88081 w 449650"/>
                  <a:gd name="connsiteY17" fmla="*/ 125455 h 599144"/>
                  <a:gd name="connsiteX18" fmla="*/ 271226 w 449650"/>
                  <a:gd name="connsiteY18" fmla="*/ 470698 h 599144"/>
                  <a:gd name="connsiteX19" fmla="*/ 200202 w 449650"/>
                  <a:gd name="connsiteY19" fmla="*/ 524106 h 599144"/>
                  <a:gd name="connsiteX20" fmla="*/ 173437 w 449650"/>
                  <a:gd name="connsiteY20" fmla="*/ 487316 h 599144"/>
                  <a:gd name="connsiteX21" fmla="*/ 137912 w 449650"/>
                  <a:gd name="connsiteY21" fmla="*/ 524106 h 599144"/>
                  <a:gd name="connsiteX22" fmla="*/ 109127 w 449650"/>
                  <a:gd name="connsiteY22" fmla="*/ 509714 h 599144"/>
                  <a:gd name="connsiteX23" fmla="*/ 95550 w 449650"/>
                  <a:gd name="connsiteY23" fmla="*/ 521612 h 599144"/>
                  <a:gd name="connsiteX24" fmla="*/ 88080 w 449650"/>
                  <a:gd name="connsiteY24" fmla="*/ 524106 h 599144"/>
                  <a:gd name="connsiteX25" fmla="*/ 78104 w 449650"/>
                  <a:gd name="connsiteY25" fmla="*/ 519118 h 599144"/>
                  <a:gd name="connsiteX26" fmla="*/ 80610 w 449650"/>
                  <a:gd name="connsiteY26" fmla="*/ 501684 h 599144"/>
                  <a:gd name="connsiteX27" fmla="*/ 92509 w 449650"/>
                  <a:gd name="connsiteY27" fmla="*/ 491197 h 599144"/>
                  <a:gd name="connsiteX28" fmla="*/ 75623 w 449650"/>
                  <a:gd name="connsiteY28" fmla="*/ 449359 h 599144"/>
                  <a:gd name="connsiteX29" fmla="*/ 112997 w 449650"/>
                  <a:gd name="connsiteY29" fmla="*/ 399527 h 599144"/>
                  <a:gd name="connsiteX30" fmla="*/ 150370 w 449650"/>
                  <a:gd name="connsiteY30" fmla="*/ 436900 h 599144"/>
                  <a:gd name="connsiteX31" fmla="*/ 125624 w 449650"/>
                  <a:gd name="connsiteY31" fmla="*/ 491014 h 599144"/>
                  <a:gd name="connsiteX32" fmla="*/ 138033 w 449650"/>
                  <a:gd name="connsiteY32" fmla="*/ 499189 h 599144"/>
                  <a:gd name="connsiteX33" fmla="*/ 151999 w 449650"/>
                  <a:gd name="connsiteY33" fmla="*/ 474456 h 599144"/>
                  <a:gd name="connsiteX34" fmla="*/ 175286 w 449650"/>
                  <a:gd name="connsiteY34" fmla="*/ 449358 h 599144"/>
                  <a:gd name="connsiteX35" fmla="*/ 197087 w 449650"/>
                  <a:gd name="connsiteY35" fmla="*/ 479383 h 599144"/>
                  <a:gd name="connsiteX36" fmla="*/ 203194 w 449650"/>
                  <a:gd name="connsiteY36" fmla="*/ 497461 h 599144"/>
                  <a:gd name="connsiteX37" fmla="*/ 253756 w 449650"/>
                  <a:gd name="connsiteY37" fmla="*/ 452934 h 599144"/>
                  <a:gd name="connsiteX38" fmla="*/ 271372 w 449650"/>
                  <a:gd name="connsiteY38" fmla="*/ 453080 h 599144"/>
                  <a:gd name="connsiteX39" fmla="*/ 271226 w 449650"/>
                  <a:gd name="connsiteY39" fmla="*/ 470698 h 599144"/>
                  <a:gd name="connsiteX40" fmla="*/ 362153 w 449650"/>
                  <a:gd name="connsiteY40" fmla="*/ 374612 h 599144"/>
                  <a:gd name="connsiteX41" fmla="*/ 187744 w 449650"/>
                  <a:gd name="connsiteY41" fmla="*/ 374612 h 599144"/>
                  <a:gd name="connsiteX42" fmla="*/ 175286 w 449650"/>
                  <a:gd name="connsiteY42" fmla="*/ 362153 h 599144"/>
                  <a:gd name="connsiteX43" fmla="*/ 187744 w 449650"/>
                  <a:gd name="connsiteY43" fmla="*/ 349695 h 599144"/>
                  <a:gd name="connsiteX44" fmla="*/ 362153 w 449650"/>
                  <a:gd name="connsiteY44" fmla="*/ 349695 h 599144"/>
                  <a:gd name="connsiteX45" fmla="*/ 374612 w 449650"/>
                  <a:gd name="connsiteY45" fmla="*/ 362153 h 599144"/>
                  <a:gd name="connsiteX46" fmla="*/ 362153 w 449650"/>
                  <a:gd name="connsiteY46" fmla="*/ 374612 h 599144"/>
                  <a:gd name="connsiteX47" fmla="*/ 362153 w 449650"/>
                  <a:gd name="connsiteY47" fmla="*/ 299864 h 599144"/>
                  <a:gd name="connsiteX48" fmla="*/ 88081 w 449650"/>
                  <a:gd name="connsiteY48" fmla="*/ 299864 h 599144"/>
                  <a:gd name="connsiteX49" fmla="*/ 75623 w 449650"/>
                  <a:gd name="connsiteY49" fmla="*/ 287406 h 599144"/>
                  <a:gd name="connsiteX50" fmla="*/ 88081 w 449650"/>
                  <a:gd name="connsiteY50" fmla="*/ 274948 h 599144"/>
                  <a:gd name="connsiteX51" fmla="*/ 362155 w 449650"/>
                  <a:gd name="connsiteY51" fmla="*/ 274948 h 599144"/>
                  <a:gd name="connsiteX52" fmla="*/ 374613 w 449650"/>
                  <a:gd name="connsiteY52" fmla="*/ 287406 h 599144"/>
                  <a:gd name="connsiteX53" fmla="*/ 362153 w 449650"/>
                  <a:gd name="connsiteY53" fmla="*/ 299864 h 599144"/>
                  <a:gd name="connsiteX54" fmla="*/ 362153 w 449650"/>
                  <a:gd name="connsiteY54" fmla="*/ 225117 h 599144"/>
                  <a:gd name="connsiteX55" fmla="*/ 88081 w 449650"/>
                  <a:gd name="connsiteY55" fmla="*/ 225117 h 599144"/>
                  <a:gd name="connsiteX56" fmla="*/ 75623 w 449650"/>
                  <a:gd name="connsiteY56" fmla="*/ 212659 h 599144"/>
                  <a:gd name="connsiteX57" fmla="*/ 88081 w 449650"/>
                  <a:gd name="connsiteY57" fmla="*/ 200201 h 599144"/>
                  <a:gd name="connsiteX58" fmla="*/ 362155 w 449650"/>
                  <a:gd name="connsiteY58" fmla="*/ 200201 h 599144"/>
                  <a:gd name="connsiteX59" fmla="*/ 374613 w 449650"/>
                  <a:gd name="connsiteY59" fmla="*/ 212659 h 599144"/>
                  <a:gd name="connsiteX60" fmla="*/ 362153 w 449650"/>
                  <a:gd name="connsiteY60" fmla="*/ 225117 h 599144"/>
                  <a:gd name="connsiteX61" fmla="*/ 349696 w 449650"/>
                  <a:gd name="connsiteY61" fmla="*/ 125455 h 599144"/>
                  <a:gd name="connsiteX62" fmla="*/ 324781 w 449650"/>
                  <a:gd name="connsiteY62" fmla="*/ 100540 h 599144"/>
                  <a:gd name="connsiteX63" fmla="*/ 324781 w 449650"/>
                  <a:gd name="connsiteY63" fmla="*/ 43408 h 599144"/>
                  <a:gd name="connsiteX64" fmla="*/ 406828 w 449650"/>
                  <a:gd name="connsiteY64" fmla="*/ 125455 h 599144"/>
                  <a:gd name="connsiteX65" fmla="*/ 349696 w 449650"/>
                  <a:gd name="connsiteY65" fmla="*/ 125455 h 599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449650" h="599144">
                    <a:moveTo>
                      <a:pt x="445694" y="129089"/>
                    </a:moveTo>
                    <a:lnTo>
                      <a:pt x="321145" y="4541"/>
                    </a:lnTo>
                    <a:cubicBezTo>
                      <a:pt x="318890" y="2279"/>
                      <a:pt x="315773" y="876"/>
                      <a:pt x="312323" y="876"/>
                    </a:cubicBezTo>
                    <a:lnTo>
                      <a:pt x="50708" y="876"/>
                    </a:lnTo>
                    <a:cubicBezTo>
                      <a:pt x="23237" y="876"/>
                      <a:pt x="876" y="23224"/>
                      <a:pt x="876" y="50708"/>
                    </a:cubicBezTo>
                    <a:lnTo>
                      <a:pt x="876" y="549022"/>
                    </a:lnTo>
                    <a:cubicBezTo>
                      <a:pt x="876" y="576505"/>
                      <a:pt x="23237" y="598853"/>
                      <a:pt x="50708" y="598853"/>
                    </a:cubicBezTo>
                    <a:lnTo>
                      <a:pt x="399528" y="598853"/>
                    </a:lnTo>
                    <a:cubicBezTo>
                      <a:pt x="426998" y="598853"/>
                      <a:pt x="449359" y="576505"/>
                      <a:pt x="449359" y="549021"/>
                    </a:cubicBezTo>
                    <a:lnTo>
                      <a:pt x="449359" y="137912"/>
                    </a:lnTo>
                    <a:cubicBezTo>
                      <a:pt x="449359" y="134462"/>
                      <a:pt x="447956" y="131345"/>
                      <a:pt x="445694" y="129089"/>
                    </a:cubicBezTo>
                    <a:close/>
                    <a:moveTo>
                      <a:pt x="88081" y="125455"/>
                    </a:moveTo>
                    <a:lnTo>
                      <a:pt x="237576" y="125455"/>
                    </a:lnTo>
                    <a:cubicBezTo>
                      <a:pt x="244462" y="125455"/>
                      <a:pt x="250034" y="131027"/>
                      <a:pt x="250034" y="137913"/>
                    </a:cubicBezTo>
                    <a:cubicBezTo>
                      <a:pt x="250034" y="144799"/>
                      <a:pt x="244462" y="150371"/>
                      <a:pt x="237576" y="150371"/>
                    </a:cubicBezTo>
                    <a:lnTo>
                      <a:pt x="88081" y="150371"/>
                    </a:lnTo>
                    <a:cubicBezTo>
                      <a:pt x="81195" y="150371"/>
                      <a:pt x="75623" y="144799"/>
                      <a:pt x="75623" y="137913"/>
                    </a:cubicBezTo>
                    <a:cubicBezTo>
                      <a:pt x="75623" y="131027"/>
                      <a:pt x="81195" y="125455"/>
                      <a:pt x="88081" y="125455"/>
                    </a:cubicBezTo>
                    <a:close/>
                    <a:moveTo>
                      <a:pt x="271226" y="470698"/>
                    </a:moveTo>
                    <a:cubicBezTo>
                      <a:pt x="216991" y="524106"/>
                      <a:pt x="204362" y="524106"/>
                      <a:pt x="200202" y="524106"/>
                    </a:cubicBezTo>
                    <a:cubicBezTo>
                      <a:pt x="184727" y="524106"/>
                      <a:pt x="179179" y="506344"/>
                      <a:pt x="173437" y="487316"/>
                    </a:cubicBezTo>
                    <a:cubicBezTo>
                      <a:pt x="164750" y="504945"/>
                      <a:pt x="154750" y="524106"/>
                      <a:pt x="137912" y="524106"/>
                    </a:cubicBezTo>
                    <a:cubicBezTo>
                      <a:pt x="129249" y="524106"/>
                      <a:pt x="118884" y="518401"/>
                      <a:pt x="109127" y="509714"/>
                    </a:cubicBezTo>
                    <a:cubicBezTo>
                      <a:pt x="104480" y="514336"/>
                      <a:pt x="99856" y="518388"/>
                      <a:pt x="95550" y="521612"/>
                    </a:cubicBezTo>
                    <a:cubicBezTo>
                      <a:pt x="93311" y="523292"/>
                      <a:pt x="90683" y="524106"/>
                      <a:pt x="88080" y="524106"/>
                    </a:cubicBezTo>
                    <a:cubicBezTo>
                      <a:pt x="84309" y="524106"/>
                      <a:pt x="80561" y="522390"/>
                      <a:pt x="78104" y="519118"/>
                    </a:cubicBezTo>
                    <a:cubicBezTo>
                      <a:pt x="73991" y="513619"/>
                      <a:pt x="75110" y="505808"/>
                      <a:pt x="80610" y="501684"/>
                    </a:cubicBezTo>
                    <a:cubicBezTo>
                      <a:pt x="84552" y="498715"/>
                      <a:pt x="88567" y="495139"/>
                      <a:pt x="92509" y="491197"/>
                    </a:cubicBezTo>
                    <a:cubicBezTo>
                      <a:pt x="82606" y="477535"/>
                      <a:pt x="75623" y="461963"/>
                      <a:pt x="75623" y="449359"/>
                    </a:cubicBezTo>
                    <a:cubicBezTo>
                      <a:pt x="75623" y="420927"/>
                      <a:pt x="98301" y="399527"/>
                      <a:pt x="112997" y="399527"/>
                    </a:cubicBezTo>
                    <a:cubicBezTo>
                      <a:pt x="127450" y="399527"/>
                      <a:pt x="150370" y="409674"/>
                      <a:pt x="150370" y="436900"/>
                    </a:cubicBezTo>
                    <a:cubicBezTo>
                      <a:pt x="150370" y="452764"/>
                      <a:pt x="139347" y="473288"/>
                      <a:pt x="125624" y="491014"/>
                    </a:cubicBezTo>
                    <a:cubicBezTo>
                      <a:pt x="130709" y="495759"/>
                      <a:pt x="135333" y="498909"/>
                      <a:pt x="138033" y="499189"/>
                    </a:cubicBezTo>
                    <a:cubicBezTo>
                      <a:pt x="140783" y="497255"/>
                      <a:pt x="148350" y="481853"/>
                      <a:pt x="151999" y="474456"/>
                    </a:cubicBezTo>
                    <a:cubicBezTo>
                      <a:pt x="159445" y="459346"/>
                      <a:pt x="164360" y="449358"/>
                      <a:pt x="175286" y="449358"/>
                    </a:cubicBezTo>
                    <a:cubicBezTo>
                      <a:pt x="188060" y="449358"/>
                      <a:pt x="192025" y="462606"/>
                      <a:pt x="197087" y="479383"/>
                    </a:cubicBezTo>
                    <a:cubicBezTo>
                      <a:pt x="198572" y="484358"/>
                      <a:pt x="201029" y="492558"/>
                      <a:pt x="203194" y="497461"/>
                    </a:cubicBezTo>
                    <a:cubicBezTo>
                      <a:pt x="212343" y="491280"/>
                      <a:pt x="235434" y="470963"/>
                      <a:pt x="253756" y="452934"/>
                    </a:cubicBezTo>
                    <a:cubicBezTo>
                      <a:pt x="258671" y="448128"/>
                      <a:pt x="266554" y="448152"/>
                      <a:pt x="271372" y="453080"/>
                    </a:cubicBezTo>
                    <a:cubicBezTo>
                      <a:pt x="276189" y="457984"/>
                      <a:pt x="276142" y="465867"/>
                      <a:pt x="271226" y="470698"/>
                    </a:cubicBezTo>
                    <a:close/>
                    <a:moveTo>
                      <a:pt x="362153" y="374612"/>
                    </a:moveTo>
                    <a:lnTo>
                      <a:pt x="187744" y="374612"/>
                    </a:lnTo>
                    <a:cubicBezTo>
                      <a:pt x="180858" y="374612"/>
                      <a:pt x="175286" y="369039"/>
                      <a:pt x="175286" y="362153"/>
                    </a:cubicBezTo>
                    <a:cubicBezTo>
                      <a:pt x="175286" y="355267"/>
                      <a:pt x="180858" y="349695"/>
                      <a:pt x="187744" y="349695"/>
                    </a:cubicBezTo>
                    <a:lnTo>
                      <a:pt x="362153" y="349695"/>
                    </a:lnTo>
                    <a:cubicBezTo>
                      <a:pt x="369039" y="349695"/>
                      <a:pt x="374612" y="355267"/>
                      <a:pt x="374612" y="362153"/>
                    </a:cubicBezTo>
                    <a:cubicBezTo>
                      <a:pt x="374612" y="369039"/>
                      <a:pt x="369039" y="374612"/>
                      <a:pt x="362153" y="374612"/>
                    </a:cubicBezTo>
                    <a:close/>
                    <a:moveTo>
                      <a:pt x="362153" y="299864"/>
                    </a:moveTo>
                    <a:lnTo>
                      <a:pt x="88081" y="299864"/>
                    </a:lnTo>
                    <a:cubicBezTo>
                      <a:pt x="81195" y="299864"/>
                      <a:pt x="75623" y="294292"/>
                      <a:pt x="75623" y="287406"/>
                    </a:cubicBezTo>
                    <a:cubicBezTo>
                      <a:pt x="75623" y="280520"/>
                      <a:pt x="81195" y="274948"/>
                      <a:pt x="88081" y="274948"/>
                    </a:cubicBezTo>
                    <a:lnTo>
                      <a:pt x="362155" y="274948"/>
                    </a:lnTo>
                    <a:cubicBezTo>
                      <a:pt x="369041" y="274948"/>
                      <a:pt x="374613" y="280520"/>
                      <a:pt x="374613" y="287406"/>
                    </a:cubicBezTo>
                    <a:cubicBezTo>
                      <a:pt x="374612" y="294292"/>
                      <a:pt x="369039" y="299864"/>
                      <a:pt x="362153" y="299864"/>
                    </a:cubicBezTo>
                    <a:close/>
                    <a:moveTo>
                      <a:pt x="362153" y="225117"/>
                    </a:moveTo>
                    <a:lnTo>
                      <a:pt x="88081" y="225117"/>
                    </a:lnTo>
                    <a:cubicBezTo>
                      <a:pt x="81195" y="225117"/>
                      <a:pt x="75623" y="219545"/>
                      <a:pt x="75623" y="212659"/>
                    </a:cubicBezTo>
                    <a:cubicBezTo>
                      <a:pt x="75623" y="205773"/>
                      <a:pt x="81195" y="200201"/>
                      <a:pt x="88081" y="200201"/>
                    </a:cubicBezTo>
                    <a:lnTo>
                      <a:pt x="362155" y="200201"/>
                    </a:lnTo>
                    <a:cubicBezTo>
                      <a:pt x="369041" y="200201"/>
                      <a:pt x="374613" y="205773"/>
                      <a:pt x="374613" y="212659"/>
                    </a:cubicBezTo>
                    <a:cubicBezTo>
                      <a:pt x="374612" y="219545"/>
                      <a:pt x="369039" y="225117"/>
                      <a:pt x="362153" y="225117"/>
                    </a:cubicBezTo>
                    <a:close/>
                    <a:moveTo>
                      <a:pt x="349696" y="125455"/>
                    </a:moveTo>
                    <a:cubicBezTo>
                      <a:pt x="335949" y="125455"/>
                      <a:pt x="324781" y="114274"/>
                      <a:pt x="324781" y="100540"/>
                    </a:cubicBezTo>
                    <a:lnTo>
                      <a:pt x="324781" y="43408"/>
                    </a:lnTo>
                    <a:lnTo>
                      <a:pt x="406828" y="125455"/>
                    </a:lnTo>
                    <a:lnTo>
                      <a:pt x="349696" y="12545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41" name="Forma libre 303">
                <a:extLst>
                  <a:ext uri="{FF2B5EF4-FFF2-40B4-BE49-F238E27FC236}">
                    <a16:creationId xmlns:a16="http://schemas.microsoft.com/office/drawing/2014/main" id="{09C16D70-199D-C5FA-6DEE-CE0EFF1511A1}"/>
                  </a:ext>
                </a:extLst>
              </p:cNvPr>
              <p:cNvSpPr/>
              <p:nvPr/>
            </p:nvSpPr>
            <p:spPr>
              <a:xfrm>
                <a:off x="6490081" y="688243"/>
                <a:ext cx="25694" cy="47885"/>
              </a:xfrm>
              <a:custGeom>
                <a:avLst/>
                <a:gdLst>
                  <a:gd name="connsiteX0" fmla="*/ 13334 w 25694"/>
                  <a:gd name="connsiteY0" fmla="*/ 876 h 47884"/>
                  <a:gd name="connsiteX1" fmla="*/ 876 w 25694"/>
                  <a:gd name="connsiteY1" fmla="*/ 25791 h 47884"/>
                  <a:gd name="connsiteX2" fmla="*/ 9538 w 25694"/>
                  <a:gd name="connsiteY2" fmla="*/ 47885 h 47884"/>
                  <a:gd name="connsiteX3" fmla="*/ 25792 w 25694"/>
                  <a:gd name="connsiteY3" fmla="*/ 13334 h 47884"/>
                  <a:gd name="connsiteX4" fmla="*/ 13334 w 25694"/>
                  <a:gd name="connsiteY4" fmla="*/ 876 h 47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94" h="47884">
                    <a:moveTo>
                      <a:pt x="13334" y="876"/>
                    </a:moveTo>
                    <a:cubicBezTo>
                      <a:pt x="12020" y="1703"/>
                      <a:pt x="876" y="10597"/>
                      <a:pt x="876" y="25791"/>
                    </a:cubicBezTo>
                    <a:cubicBezTo>
                      <a:pt x="876" y="32166"/>
                      <a:pt x="4477" y="40172"/>
                      <a:pt x="9538" y="47885"/>
                    </a:cubicBezTo>
                    <a:cubicBezTo>
                      <a:pt x="19077" y="34685"/>
                      <a:pt x="25792" y="21278"/>
                      <a:pt x="25792" y="13334"/>
                    </a:cubicBezTo>
                    <a:cubicBezTo>
                      <a:pt x="25792" y="1472"/>
                      <a:pt x="15403" y="876"/>
                      <a:pt x="13334" y="87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grpSp>
        <p:sp>
          <p:nvSpPr>
            <p:cNvPr id="139" name="Content Placeholder 18">
              <a:extLst>
                <a:ext uri="{FF2B5EF4-FFF2-40B4-BE49-F238E27FC236}">
                  <a16:creationId xmlns:a16="http://schemas.microsoft.com/office/drawing/2014/main" id="{D425F9F4-AEDB-F71C-80EA-CE4BC4854D25}"/>
                </a:ext>
              </a:extLst>
            </p:cNvPr>
            <p:cNvSpPr txBox="1">
              <a:spLocks/>
            </p:cNvSpPr>
            <p:nvPr/>
          </p:nvSpPr>
          <p:spPr>
            <a:xfrm>
              <a:off x="9188862" y="956372"/>
              <a:ext cx="465404" cy="123111"/>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tx2">
                      <a:lumMod val="100000"/>
                      <a:alpha val="0"/>
                    </a:schemeClr>
                  </a:solidFill>
                  <a:prstDash val="solid"/>
                  <a:round/>
                  <a:headEnd type="none" w="med" len="med"/>
                  <a:tailEnd type="none" w="med" len="med"/>
                </a14:hiddenLine>
              </a:ext>
            </a:extLst>
          </p:spPr>
          <p:txBody>
            <a:bodyPr wrap="square" lIns="0" tIns="0" rIns="0" bIns="0">
              <a:spAutoFit/>
            </a:bodyPr>
            <a:lstStyle>
              <a:lvl1pPr marL="180000" indent="-180000" algn="l" defTabSz="914400" rtl="0" eaLnBrk="1" latinLnBrk="0" hangingPunct="1">
                <a:lnSpc>
                  <a:spcPct val="90000"/>
                </a:lnSpc>
                <a:spcBef>
                  <a:spcPts val="1000"/>
                </a:spcBef>
                <a:buFont typeface="Wingdings" panose="05000000000000000000" pitchFamily="2" charset="2"/>
                <a:buChar char="§"/>
                <a:defRPr sz="1600" kern="1200" baseline="0">
                  <a:solidFill>
                    <a:schemeClr val="tx1"/>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146D"/>
                </a:buClr>
                <a:buSzTx/>
                <a:buFont typeface="Wingdings" panose="05000000000000000000" pitchFamily="2" charset="2"/>
                <a:buNone/>
                <a:tabLst/>
                <a:defRPr/>
              </a:pPr>
              <a:r>
                <a:rPr kumimoji="0" lang="en-GB" sz="400" b="0" i="0" u="none" strike="noStrike" kern="1200" cap="none" spc="0" normalizeH="0" baseline="0" noProof="0">
                  <a:ln>
                    <a:noFill/>
                  </a:ln>
                  <a:solidFill>
                    <a:schemeClr val="accent1"/>
                  </a:solidFill>
                  <a:effectLst/>
                  <a:uLnTx/>
                  <a:uFillTx/>
                  <a:latin typeface="Arial" panose="020B0604020202020204"/>
                  <a:ea typeface="+mn-ea"/>
                  <a:cs typeface="Arial"/>
                  <a:sym typeface="Arial"/>
                </a:rPr>
                <a:t>BATTERY PASS</a:t>
              </a:r>
            </a:p>
            <a:p>
              <a:pPr marL="0" marR="0" lvl="0" indent="0" algn="l" defTabSz="914400" rtl="0" eaLnBrk="1" fontAlgn="auto" latinLnBrk="0" hangingPunct="1">
                <a:lnSpc>
                  <a:spcPct val="100000"/>
                </a:lnSpc>
                <a:spcBef>
                  <a:spcPts val="0"/>
                </a:spcBef>
                <a:spcAft>
                  <a:spcPts val="0"/>
                </a:spcAft>
                <a:buClr>
                  <a:srgbClr val="00146D"/>
                </a:buClr>
                <a:buSzTx/>
                <a:buFont typeface="Wingdings" panose="05000000000000000000" pitchFamily="2" charset="2"/>
                <a:buNone/>
                <a:tabLst/>
                <a:defRPr/>
              </a:pPr>
              <a:r>
                <a:rPr kumimoji="0" lang="en-GB" sz="400" b="0" i="1" u="none" strike="noStrike" kern="1200" cap="none" spc="0" normalizeH="0" baseline="0" noProof="0">
                  <a:ln>
                    <a:noFill/>
                  </a:ln>
                  <a:solidFill>
                    <a:schemeClr val="accent1"/>
                  </a:solidFill>
                  <a:effectLst/>
                  <a:uLnTx/>
                  <a:uFillTx/>
                  <a:latin typeface="Arial" panose="020B0604020202020204"/>
                  <a:ea typeface="+mn-ea"/>
                  <a:cs typeface="Arial"/>
                  <a:sym typeface="Arial"/>
                </a:rPr>
                <a:t>N</a:t>
              </a:r>
              <a:r>
                <a:rPr kumimoji="0" lang="en-GB" sz="400" b="0" i="1" u="none" strike="noStrike" kern="1200" cap="none" spc="0" normalizeH="0" baseline="30000" noProof="0">
                  <a:ln>
                    <a:noFill/>
                  </a:ln>
                  <a:solidFill>
                    <a:schemeClr val="accent1"/>
                  </a:solidFill>
                  <a:effectLst/>
                  <a:uLnTx/>
                  <a:uFillTx/>
                  <a:latin typeface="Arial" panose="020B0604020202020204"/>
                  <a:ea typeface="+mn-ea"/>
                  <a:cs typeface="Arial"/>
                  <a:sym typeface="Arial"/>
                </a:rPr>
                <a:t>o</a:t>
              </a:r>
              <a:r>
                <a:rPr kumimoji="0" lang="en-GB" sz="400" b="0" i="1" u="none" strike="noStrike" kern="1200" cap="none" spc="0" normalizeH="0" baseline="0" noProof="0">
                  <a:ln>
                    <a:noFill/>
                  </a:ln>
                  <a:solidFill>
                    <a:schemeClr val="accent1"/>
                  </a:solidFill>
                  <a:effectLst/>
                  <a:uLnTx/>
                  <a:uFillTx/>
                  <a:latin typeface="Arial" panose="020B0604020202020204"/>
                  <a:ea typeface="+mn-ea"/>
                  <a:cs typeface="Arial"/>
                  <a:sym typeface="Arial"/>
                </a:rPr>
                <a:t>- SZ41621956</a:t>
              </a:r>
            </a:p>
          </p:txBody>
        </p:sp>
      </p:grpSp>
      <p:sp>
        <p:nvSpPr>
          <p:cNvPr id="168" name="Fußzeilenplatzhalter 3">
            <a:extLst>
              <a:ext uri="{FF2B5EF4-FFF2-40B4-BE49-F238E27FC236}">
                <a16:creationId xmlns:a16="http://schemas.microsoft.com/office/drawing/2014/main" id="{E6E439D1-7796-0AA6-C223-846AD6B1AFC2}"/>
              </a:ext>
            </a:extLst>
          </p:cNvPr>
          <p:cNvSpPr txBox="1">
            <a:spLocks/>
          </p:cNvSpPr>
          <p:nvPr/>
        </p:nvSpPr>
        <p:spPr>
          <a:xfrm>
            <a:off x="1368178" y="6516000"/>
            <a:ext cx="5616000" cy="167933"/>
          </a:xfrm>
          <a:prstGeom prst="rect">
            <a:avLst/>
          </a:prstGeom>
        </p:spPr>
        <p:txBody>
          <a:bodyPr lIns="0" tIns="0" rIns="0" bIns="0"/>
          <a:ls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900">
                <a:latin typeface="Arial" panose="020B0604020202020204"/>
                <a:cs typeface="Arial"/>
              </a:rPr>
              <a:t>|  </a:t>
            </a:r>
            <a:r>
              <a:rPr lang="en-US" sz="900">
                <a:latin typeface="+mj-lt"/>
                <a:cs typeface="Calibri" panose="020F0502020204030204" pitchFamily="34" charset="0"/>
                <a:sym typeface="Calibri" panose="020F0502020204030204" pitchFamily="34" charset="0"/>
              </a:rPr>
              <a:t>Source: </a:t>
            </a:r>
            <a:r>
              <a:rPr lang="en-US" sz="900">
                <a:latin typeface="+mj-lt"/>
                <a:cs typeface="Calibri" panose="020F0502020204030204" pitchFamily="34" charset="0"/>
                <a:sym typeface="Calibri" panose="020F0502020204030204" pitchFamily="34" charset="0"/>
                <a:hlinkClick r:id="rId20">
                  <a:extLst>
                    <a:ext uri="{A12FA001-AC4F-418D-AE19-62706E023703}">
                      <ahyp:hlinkClr xmlns:ahyp="http://schemas.microsoft.com/office/drawing/2018/hyperlinkcolor" val="tx"/>
                    </a:ext>
                  </a:extLst>
                </a:hlinkClick>
              </a:rPr>
              <a:t>https://thebatterypass.eu</a:t>
            </a:r>
            <a:r>
              <a:rPr lang="en-US" sz="900">
                <a:latin typeface="+mj-lt"/>
                <a:cs typeface="Calibri" panose="020F0502020204030204" pitchFamily="34" charset="0"/>
                <a:sym typeface="Calibri" panose="020F0502020204030204" pitchFamily="34" charset="0"/>
              </a:rPr>
              <a:t> </a:t>
            </a:r>
          </a:p>
        </p:txBody>
      </p:sp>
      <p:pic>
        <p:nvPicPr>
          <p:cNvPr id="169" name="object 8">
            <a:extLst>
              <a:ext uri="{FF2B5EF4-FFF2-40B4-BE49-F238E27FC236}">
                <a16:creationId xmlns:a16="http://schemas.microsoft.com/office/drawing/2014/main" id="{F318779E-8F24-8583-FB02-D481EB4EC539}"/>
              </a:ext>
            </a:extLst>
          </p:cNvPr>
          <p:cNvPicPr/>
          <p:nvPr/>
        </p:nvPicPr>
        <p:blipFill>
          <a:blip r:embed="rId21" cstate="print"/>
          <a:stretch>
            <a:fillRect/>
          </a:stretch>
        </p:blipFill>
        <p:spPr>
          <a:xfrm>
            <a:off x="226800" y="6013170"/>
            <a:ext cx="863921" cy="283182"/>
          </a:xfrm>
          <a:prstGeom prst="rect">
            <a:avLst/>
          </a:prstGeom>
        </p:spPr>
      </p:pic>
    </p:spTree>
    <p:extLst>
      <p:ext uri="{BB962C8B-B14F-4D97-AF65-F5344CB8AC3E}">
        <p14:creationId xmlns:p14="http://schemas.microsoft.com/office/powerpoint/2010/main" val="23897217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61D187-6D67-BD3D-7411-5EC40AFF0B2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9868AEA-7BAA-A363-ACB9-2BA251A8A0E4}"/>
              </a:ext>
            </a:extLst>
          </p:cNvPr>
          <p:cNvSpPr>
            <a:spLocks noGrp="1"/>
          </p:cNvSpPr>
          <p:nvPr>
            <p:ph type="title"/>
          </p:nvPr>
        </p:nvSpPr>
        <p:spPr/>
        <p:txBody>
          <a:bodyPr/>
          <a:lstStyle/>
          <a:p>
            <a:r>
              <a:rPr lang="en-GB"/>
              <a:t>Lessons Learned from the Battery Pass</a:t>
            </a:r>
            <a:endParaRPr lang="en-CH" b="0"/>
          </a:p>
        </p:txBody>
      </p:sp>
      <p:sp>
        <p:nvSpPr>
          <p:cNvPr id="4" name="Date Placeholder 3">
            <a:extLst>
              <a:ext uri="{FF2B5EF4-FFF2-40B4-BE49-F238E27FC236}">
                <a16:creationId xmlns:a16="http://schemas.microsoft.com/office/drawing/2014/main" id="{A6C4D48D-79CE-61AC-ED22-D6342CA94339}"/>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368FC967-E25B-4DC7-87C0-1C454DF70C3D}"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5" name="Slide Number Placeholder 4">
            <a:extLst>
              <a:ext uri="{FF2B5EF4-FFF2-40B4-BE49-F238E27FC236}">
                <a16:creationId xmlns:a16="http://schemas.microsoft.com/office/drawing/2014/main" id="{2CF6978D-E02C-587A-2ECC-D3AA93D281B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25</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cxnSp>
        <p:nvCxnSpPr>
          <p:cNvPr id="7" name="Gerader Verbinder 34">
            <a:extLst>
              <a:ext uri="{FF2B5EF4-FFF2-40B4-BE49-F238E27FC236}">
                <a16:creationId xmlns:a16="http://schemas.microsoft.com/office/drawing/2014/main" id="{B2966DBB-F32F-F19A-5BD7-BE9711FE70A6}"/>
              </a:ext>
            </a:extLst>
          </p:cNvPr>
          <p:cNvCxnSpPr>
            <a:cxnSpLocks/>
          </p:cNvCxnSpPr>
          <p:nvPr/>
        </p:nvCxnSpPr>
        <p:spPr>
          <a:xfrm>
            <a:off x="336478" y="3436307"/>
            <a:ext cx="11448000" cy="0"/>
          </a:xfrm>
          <a:prstGeom prst="line">
            <a:avLst/>
          </a:pr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8" name="Verbinder: gekrümmt 52">
            <a:extLst>
              <a:ext uri="{FF2B5EF4-FFF2-40B4-BE49-F238E27FC236}">
                <a16:creationId xmlns:a16="http://schemas.microsoft.com/office/drawing/2014/main" id="{6D5A142A-D9F2-D05E-E01C-894748C720E3}"/>
              </a:ext>
            </a:extLst>
          </p:cNvPr>
          <p:cNvCxnSpPr>
            <a:cxnSpLocks/>
            <a:stCxn id="17" idx="0"/>
            <a:endCxn id="85" idx="1"/>
          </p:cNvCxnSpPr>
          <p:nvPr/>
        </p:nvCxnSpPr>
        <p:spPr>
          <a:xfrm rot="5400000" flipH="1" flipV="1">
            <a:off x="6337030" y="3458242"/>
            <a:ext cx="2762066" cy="1351124"/>
          </a:xfrm>
          <a:prstGeom prst="curvedConnector2">
            <a:avLst/>
          </a:prstGeom>
          <a:ln w="28575">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 name="Verbinder: gekrümmt 55">
            <a:extLst>
              <a:ext uri="{FF2B5EF4-FFF2-40B4-BE49-F238E27FC236}">
                <a16:creationId xmlns:a16="http://schemas.microsoft.com/office/drawing/2014/main" id="{D270F04E-AEB9-9583-D9F4-8BF32D6C4FB8}"/>
              </a:ext>
            </a:extLst>
          </p:cNvPr>
          <p:cNvCxnSpPr>
            <a:cxnSpLocks/>
            <a:stCxn id="16" idx="0"/>
            <a:endCxn id="85" idx="1"/>
          </p:cNvCxnSpPr>
          <p:nvPr/>
        </p:nvCxnSpPr>
        <p:spPr>
          <a:xfrm rot="5400000" flipH="1" flipV="1">
            <a:off x="5811134" y="2932347"/>
            <a:ext cx="2762066" cy="2402915"/>
          </a:xfrm>
          <a:prstGeom prst="curvedConnector2">
            <a:avLst/>
          </a:prstGeom>
          <a:ln>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 name="Verbinder: gekrümmt 58">
            <a:extLst>
              <a:ext uri="{FF2B5EF4-FFF2-40B4-BE49-F238E27FC236}">
                <a16:creationId xmlns:a16="http://schemas.microsoft.com/office/drawing/2014/main" id="{DB84A31B-C29C-81C5-32F0-6BB351014858}"/>
              </a:ext>
            </a:extLst>
          </p:cNvPr>
          <p:cNvCxnSpPr>
            <a:cxnSpLocks/>
            <a:endCxn id="85" idx="1"/>
          </p:cNvCxnSpPr>
          <p:nvPr/>
        </p:nvCxnSpPr>
        <p:spPr>
          <a:xfrm flipV="1">
            <a:off x="4938919" y="2752771"/>
            <a:ext cx="3454706" cy="2762067"/>
          </a:xfrm>
          <a:prstGeom prst="curvedConnector3">
            <a:avLst>
              <a:gd name="adj1" fmla="val 50000"/>
            </a:avLst>
          </a:prstGeom>
          <a:ln>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1" name="Verbinder: gekrümmt 64">
            <a:extLst>
              <a:ext uri="{FF2B5EF4-FFF2-40B4-BE49-F238E27FC236}">
                <a16:creationId xmlns:a16="http://schemas.microsoft.com/office/drawing/2014/main" id="{56CEED3E-AE08-3411-8171-B7DCFA95031D}"/>
              </a:ext>
            </a:extLst>
          </p:cNvPr>
          <p:cNvCxnSpPr>
            <a:cxnSpLocks/>
            <a:stCxn id="15" idx="0"/>
            <a:endCxn id="85" idx="1"/>
          </p:cNvCxnSpPr>
          <p:nvPr/>
        </p:nvCxnSpPr>
        <p:spPr>
          <a:xfrm rot="5400000" flipH="1" flipV="1">
            <a:off x="4762565" y="1883778"/>
            <a:ext cx="2762066" cy="4500053"/>
          </a:xfrm>
          <a:prstGeom prst="curvedConnector2">
            <a:avLst/>
          </a:prstGeom>
          <a:ln>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2" name="Rectangle 1">
            <a:extLst>
              <a:ext uri="{FF2B5EF4-FFF2-40B4-BE49-F238E27FC236}">
                <a16:creationId xmlns:a16="http://schemas.microsoft.com/office/drawing/2014/main" id="{D25B71DC-878F-A1C1-0C74-A83CCD4CA95D}"/>
              </a:ext>
            </a:extLst>
          </p:cNvPr>
          <p:cNvSpPr/>
          <p:nvPr/>
        </p:nvSpPr>
        <p:spPr>
          <a:xfrm>
            <a:off x="3562006" y="4056225"/>
            <a:ext cx="6897493" cy="307777"/>
          </a:xfrm>
          <a:prstGeom prst="rect">
            <a:avLst/>
          </a:prstGeom>
          <a:solidFill>
            <a:srgbClr val="F2F2F2">
              <a:alpha val="63137"/>
            </a:srgbClr>
          </a:solidFill>
          <a:ln w="6350">
            <a:solidFill>
              <a:schemeClr val="accent6">
                <a:lumMod val="40000"/>
                <a:lumOff val="60000"/>
              </a:schemeClr>
            </a:solidFill>
            <a:prstDash val="dashDot"/>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GB" sz="1400">
                <a:solidFill>
                  <a:schemeClr val="tx1">
                    <a:lumMod val="65000"/>
                    <a:lumOff val="35000"/>
                  </a:schemeClr>
                </a:solidFill>
                <a:latin typeface="Arial" panose="020B0604020202020204"/>
                <a:cs typeface="Arial"/>
                <a:sym typeface="Arial"/>
              </a:rPr>
              <a:t>        </a:t>
            </a:r>
            <a:r>
              <a:rPr kumimoji="0" lang="en-GB" sz="1400" b="0" i="0" u="none" strike="noStrike" kern="1200" cap="none" spc="0" normalizeH="0" baseline="0" noProof="0">
                <a:ln>
                  <a:noFill/>
                </a:ln>
                <a:solidFill>
                  <a:schemeClr val="tx1">
                    <a:lumMod val="65000"/>
                    <a:lumOff val="35000"/>
                  </a:schemeClr>
                </a:solidFill>
                <a:effectLst/>
                <a:uLnTx/>
                <a:uFillTx/>
                <a:latin typeface="Arial" panose="020B0604020202020204"/>
                <a:ea typeface="+mn-ea"/>
                <a:cs typeface="Arial"/>
                <a:sym typeface="Arial"/>
              </a:rPr>
              <a:t>Optional supportive systems </a:t>
            </a:r>
            <a:r>
              <a:rPr kumimoji="0" lang="en-GB" sz="1100" b="0" i="0" u="none" strike="noStrike" kern="1200" cap="none" spc="0" normalizeH="0" baseline="0" noProof="0">
                <a:ln>
                  <a:noFill/>
                </a:ln>
                <a:solidFill>
                  <a:schemeClr val="tx1">
                    <a:lumMod val="65000"/>
                    <a:lumOff val="35000"/>
                  </a:schemeClr>
                </a:solidFill>
                <a:effectLst/>
                <a:uLnTx/>
                <a:uFillTx/>
                <a:latin typeface="Arial" panose="020B0604020202020204"/>
                <a:ea typeface="+mn-ea"/>
                <a:cs typeface="Arial"/>
                <a:sym typeface="Arial"/>
              </a:rPr>
              <a:t>(e.g., traceability systems, IMDS)</a:t>
            </a:r>
          </a:p>
        </p:txBody>
      </p:sp>
      <p:sp>
        <p:nvSpPr>
          <p:cNvPr id="13" name="Arrow: Pentagon 16">
            <a:extLst>
              <a:ext uri="{FF2B5EF4-FFF2-40B4-BE49-F238E27FC236}">
                <a16:creationId xmlns:a16="http://schemas.microsoft.com/office/drawing/2014/main" id="{17B4378A-F03C-3A15-5EA9-644F9445EA9B}"/>
              </a:ext>
            </a:extLst>
          </p:cNvPr>
          <p:cNvSpPr/>
          <p:nvPr/>
        </p:nvSpPr>
        <p:spPr>
          <a:xfrm>
            <a:off x="1303764" y="5514837"/>
            <a:ext cx="1206452" cy="46800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Miner</a:t>
            </a:r>
          </a:p>
        </p:txBody>
      </p:sp>
      <p:sp>
        <p:nvSpPr>
          <p:cNvPr id="14" name="Arrow: Chevron 17">
            <a:extLst>
              <a:ext uri="{FF2B5EF4-FFF2-40B4-BE49-F238E27FC236}">
                <a16:creationId xmlns:a16="http://schemas.microsoft.com/office/drawing/2014/main" id="{23538F13-B72D-F711-3631-7055758BBA74}"/>
              </a:ext>
            </a:extLst>
          </p:cNvPr>
          <p:cNvSpPr/>
          <p:nvPr/>
        </p:nvSpPr>
        <p:spPr>
          <a:xfrm>
            <a:off x="2355555" y="5514837"/>
            <a:ext cx="1206452" cy="46800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Refiner</a:t>
            </a:r>
          </a:p>
        </p:txBody>
      </p:sp>
      <p:sp>
        <p:nvSpPr>
          <p:cNvPr id="15" name="Arrow: Chevron 18">
            <a:extLst>
              <a:ext uri="{FF2B5EF4-FFF2-40B4-BE49-F238E27FC236}">
                <a16:creationId xmlns:a16="http://schemas.microsoft.com/office/drawing/2014/main" id="{A5AA2161-4322-8B2B-46ED-BD83C006BEA5}"/>
              </a:ext>
            </a:extLst>
          </p:cNvPr>
          <p:cNvSpPr/>
          <p:nvPr/>
        </p:nvSpPr>
        <p:spPr>
          <a:xfrm>
            <a:off x="3407346" y="5514837"/>
            <a:ext cx="1206452" cy="46800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Precursor and CAM producer</a:t>
            </a:r>
          </a:p>
        </p:txBody>
      </p:sp>
      <p:sp>
        <p:nvSpPr>
          <p:cNvPr id="16" name="Arrow: Chevron 21">
            <a:extLst>
              <a:ext uri="{FF2B5EF4-FFF2-40B4-BE49-F238E27FC236}">
                <a16:creationId xmlns:a16="http://schemas.microsoft.com/office/drawing/2014/main" id="{86572DDD-359D-39C5-6FE1-4C315FEE0F74}"/>
              </a:ext>
            </a:extLst>
          </p:cNvPr>
          <p:cNvSpPr/>
          <p:nvPr/>
        </p:nvSpPr>
        <p:spPr>
          <a:xfrm>
            <a:off x="5504484" y="5514837"/>
            <a:ext cx="1206452" cy="46800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Pack producer</a:t>
            </a:r>
          </a:p>
        </p:txBody>
      </p:sp>
      <p:sp>
        <p:nvSpPr>
          <p:cNvPr id="17" name="Arrow: Chevron 22">
            <a:extLst>
              <a:ext uri="{FF2B5EF4-FFF2-40B4-BE49-F238E27FC236}">
                <a16:creationId xmlns:a16="http://schemas.microsoft.com/office/drawing/2014/main" id="{5F0909DE-1CE5-D0B0-F158-F3D96EB6DF50}"/>
              </a:ext>
            </a:extLst>
          </p:cNvPr>
          <p:cNvSpPr/>
          <p:nvPr/>
        </p:nvSpPr>
        <p:spPr>
          <a:xfrm>
            <a:off x="6556275" y="5514837"/>
            <a:ext cx="1206452" cy="468000"/>
          </a:xfrm>
          <a:prstGeom prst="chevron">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OEM</a:t>
            </a:r>
          </a:p>
        </p:txBody>
      </p:sp>
      <p:sp>
        <p:nvSpPr>
          <p:cNvPr id="18" name="Arrow: Chevron 23">
            <a:extLst>
              <a:ext uri="{FF2B5EF4-FFF2-40B4-BE49-F238E27FC236}">
                <a16:creationId xmlns:a16="http://schemas.microsoft.com/office/drawing/2014/main" id="{E06343CF-C4E6-FFF7-2382-9A54ED54CF45}"/>
              </a:ext>
            </a:extLst>
          </p:cNvPr>
          <p:cNvSpPr/>
          <p:nvPr/>
        </p:nvSpPr>
        <p:spPr>
          <a:xfrm>
            <a:off x="9687900" y="5514837"/>
            <a:ext cx="1206452" cy="468000"/>
          </a:xfrm>
          <a:prstGeom prst="chevr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Collect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Dismantler</a:t>
            </a:r>
          </a:p>
        </p:txBody>
      </p:sp>
      <p:sp>
        <p:nvSpPr>
          <p:cNvPr id="19" name="Arrow: Chevron 23">
            <a:extLst>
              <a:ext uri="{FF2B5EF4-FFF2-40B4-BE49-F238E27FC236}">
                <a16:creationId xmlns:a16="http://schemas.microsoft.com/office/drawing/2014/main" id="{B3780ED1-F7AD-C342-85BF-10AB8F5DC316}"/>
              </a:ext>
            </a:extLst>
          </p:cNvPr>
          <p:cNvSpPr/>
          <p:nvPr/>
        </p:nvSpPr>
        <p:spPr>
          <a:xfrm>
            <a:off x="8643116" y="5514837"/>
            <a:ext cx="1206452" cy="468000"/>
          </a:xfrm>
          <a:prstGeom prst="chevr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u="none" strike="noStrike" kern="1200" cap="none" spc="0" normalizeH="0" baseline="0" noProof="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endParaRPr>
          </a:p>
        </p:txBody>
      </p:sp>
      <p:cxnSp>
        <p:nvCxnSpPr>
          <p:cNvPr id="20" name="Verbinder: gekrümmt 25">
            <a:extLst>
              <a:ext uri="{FF2B5EF4-FFF2-40B4-BE49-F238E27FC236}">
                <a16:creationId xmlns:a16="http://schemas.microsoft.com/office/drawing/2014/main" id="{0DD3000B-CB9A-DCF0-666B-21301CE18AD8}"/>
              </a:ext>
            </a:extLst>
          </p:cNvPr>
          <p:cNvCxnSpPr>
            <a:cxnSpLocks/>
          </p:cNvCxnSpPr>
          <p:nvPr/>
        </p:nvCxnSpPr>
        <p:spPr>
          <a:xfrm rot="16200000" flipH="1">
            <a:off x="2344407" y="4931672"/>
            <a:ext cx="75" cy="1094857"/>
          </a:xfrm>
          <a:prstGeom prst="curvedConnector3">
            <a:avLst>
              <a:gd name="adj1" fmla="val -419246667"/>
            </a:avLst>
          </a:prstGeom>
          <a:ln w="28575">
            <a:solidFill>
              <a:schemeClr val="accent4">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1" name="Verbinder: gekrümmt 27">
            <a:extLst>
              <a:ext uri="{FF2B5EF4-FFF2-40B4-BE49-F238E27FC236}">
                <a16:creationId xmlns:a16="http://schemas.microsoft.com/office/drawing/2014/main" id="{9D5A85C1-19F3-F1AE-CB5A-C09F53FDD9F7}"/>
              </a:ext>
            </a:extLst>
          </p:cNvPr>
          <p:cNvCxnSpPr>
            <a:cxnSpLocks/>
          </p:cNvCxnSpPr>
          <p:nvPr/>
        </p:nvCxnSpPr>
        <p:spPr>
          <a:xfrm rot="5400000" flipH="1" flipV="1">
            <a:off x="3407834" y="4963178"/>
            <a:ext cx="75" cy="1031996"/>
          </a:xfrm>
          <a:prstGeom prst="curvedConnector3">
            <a:avLst>
              <a:gd name="adj1" fmla="val 419788000"/>
            </a:avLst>
          </a:prstGeom>
          <a:ln w="28575">
            <a:solidFill>
              <a:schemeClr val="accent4">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2" name="Verbinder: gekrümmt 32">
            <a:extLst>
              <a:ext uri="{FF2B5EF4-FFF2-40B4-BE49-F238E27FC236}">
                <a16:creationId xmlns:a16="http://schemas.microsoft.com/office/drawing/2014/main" id="{B2C6596D-5A66-9686-7D31-AABAFF252EAE}"/>
              </a:ext>
            </a:extLst>
          </p:cNvPr>
          <p:cNvCxnSpPr>
            <a:cxnSpLocks/>
          </p:cNvCxnSpPr>
          <p:nvPr/>
        </p:nvCxnSpPr>
        <p:spPr>
          <a:xfrm rot="5400000" flipH="1" flipV="1">
            <a:off x="4452938" y="4950068"/>
            <a:ext cx="12700" cy="1058140"/>
          </a:xfrm>
          <a:prstGeom prst="curvedConnector3">
            <a:avLst>
              <a:gd name="adj1" fmla="val 2619764"/>
            </a:avLst>
          </a:prstGeom>
          <a:ln w="28575">
            <a:solidFill>
              <a:schemeClr val="accent4">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3" name="Verbinder: gekrümmt 35">
            <a:extLst>
              <a:ext uri="{FF2B5EF4-FFF2-40B4-BE49-F238E27FC236}">
                <a16:creationId xmlns:a16="http://schemas.microsoft.com/office/drawing/2014/main" id="{30AF094C-AD7D-53E3-5808-E55359248665}"/>
              </a:ext>
            </a:extLst>
          </p:cNvPr>
          <p:cNvCxnSpPr>
            <a:cxnSpLocks/>
          </p:cNvCxnSpPr>
          <p:nvPr/>
        </p:nvCxnSpPr>
        <p:spPr>
          <a:xfrm rot="5400000" flipH="1" flipV="1">
            <a:off x="5505562" y="4955584"/>
            <a:ext cx="12700" cy="1047108"/>
          </a:xfrm>
          <a:prstGeom prst="curvedConnector3">
            <a:avLst>
              <a:gd name="adj1" fmla="val 2579654"/>
            </a:avLst>
          </a:prstGeom>
          <a:ln w="28575">
            <a:solidFill>
              <a:schemeClr val="accent4">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4" name="Verbinder: gekrümmt 49">
            <a:extLst>
              <a:ext uri="{FF2B5EF4-FFF2-40B4-BE49-F238E27FC236}">
                <a16:creationId xmlns:a16="http://schemas.microsoft.com/office/drawing/2014/main" id="{F661884B-FAF4-7368-2680-9F8CD1FD8BFC}"/>
              </a:ext>
            </a:extLst>
          </p:cNvPr>
          <p:cNvCxnSpPr>
            <a:cxnSpLocks/>
          </p:cNvCxnSpPr>
          <p:nvPr/>
        </p:nvCxnSpPr>
        <p:spPr>
          <a:xfrm rot="16200000" flipH="1">
            <a:off x="6550017" y="4950643"/>
            <a:ext cx="6350" cy="1050640"/>
          </a:xfrm>
          <a:prstGeom prst="curvedConnector3">
            <a:avLst>
              <a:gd name="adj1" fmla="val -5061622"/>
            </a:avLst>
          </a:prstGeom>
          <a:ln w="28575">
            <a:solidFill>
              <a:schemeClr val="accent4">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5" name="Arrow: Chevron 23">
            <a:extLst>
              <a:ext uri="{FF2B5EF4-FFF2-40B4-BE49-F238E27FC236}">
                <a16:creationId xmlns:a16="http://schemas.microsoft.com/office/drawing/2014/main" id="{4164239A-EFE7-215F-8B50-2F6CCA5C36B6}"/>
              </a:ext>
            </a:extLst>
          </p:cNvPr>
          <p:cNvSpPr/>
          <p:nvPr/>
        </p:nvSpPr>
        <p:spPr>
          <a:xfrm>
            <a:off x="7601059" y="5514837"/>
            <a:ext cx="1206452" cy="468000"/>
          </a:xfrm>
          <a:prstGeom prst="chevr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End-user</a:t>
            </a:r>
          </a:p>
        </p:txBody>
      </p:sp>
      <p:cxnSp>
        <p:nvCxnSpPr>
          <p:cNvPr id="26" name="Verbinder: gekrümmt 94">
            <a:extLst>
              <a:ext uri="{FF2B5EF4-FFF2-40B4-BE49-F238E27FC236}">
                <a16:creationId xmlns:a16="http://schemas.microsoft.com/office/drawing/2014/main" id="{1456C5BD-F818-DC5A-D60B-B9E0FE6FD930}"/>
              </a:ext>
            </a:extLst>
          </p:cNvPr>
          <p:cNvCxnSpPr>
            <a:cxnSpLocks/>
            <a:stCxn id="25" idx="0"/>
            <a:endCxn id="85" idx="2"/>
          </p:cNvCxnSpPr>
          <p:nvPr/>
        </p:nvCxnSpPr>
        <p:spPr>
          <a:xfrm rot="5400000" flipH="1" flipV="1">
            <a:off x="7726164" y="3400996"/>
            <a:ext cx="2474963" cy="1752721"/>
          </a:xfrm>
          <a:prstGeom prst="curvedConnector3">
            <a:avLst>
              <a:gd name="adj1" fmla="val 50000"/>
            </a:avLst>
          </a:prstGeom>
          <a:ln w="28575">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7" name="Verbinder: gekrümmt 97">
            <a:extLst>
              <a:ext uri="{FF2B5EF4-FFF2-40B4-BE49-F238E27FC236}">
                <a16:creationId xmlns:a16="http://schemas.microsoft.com/office/drawing/2014/main" id="{B54456FF-1CB8-3B1B-93EE-FA0505AD4FAD}"/>
              </a:ext>
            </a:extLst>
          </p:cNvPr>
          <p:cNvCxnSpPr>
            <a:cxnSpLocks/>
            <a:stCxn id="87" idx="0"/>
            <a:endCxn id="85" idx="2"/>
          </p:cNvCxnSpPr>
          <p:nvPr/>
        </p:nvCxnSpPr>
        <p:spPr>
          <a:xfrm rot="16200000" flipV="1">
            <a:off x="9290614" y="3589267"/>
            <a:ext cx="2474963" cy="1376177"/>
          </a:xfrm>
          <a:prstGeom prst="curvedConnector3">
            <a:avLst>
              <a:gd name="adj1" fmla="val 50000"/>
            </a:avLst>
          </a:prstGeom>
          <a:ln w="28575">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8" name="Verbinder: gekrümmt 71">
            <a:extLst>
              <a:ext uri="{FF2B5EF4-FFF2-40B4-BE49-F238E27FC236}">
                <a16:creationId xmlns:a16="http://schemas.microsoft.com/office/drawing/2014/main" id="{102F03A0-6B7D-17A9-DD2B-126B733C9EC3}"/>
              </a:ext>
            </a:extLst>
          </p:cNvPr>
          <p:cNvCxnSpPr>
            <a:cxnSpLocks/>
          </p:cNvCxnSpPr>
          <p:nvPr/>
        </p:nvCxnSpPr>
        <p:spPr>
          <a:xfrm rot="5400000" flipH="1" flipV="1">
            <a:off x="3759878" y="853175"/>
            <a:ext cx="2719691" cy="6603635"/>
          </a:xfrm>
          <a:prstGeom prst="curvedConnector2">
            <a:avLst/>
          </a:prstGeom>
          <a:ln>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85" name="Rectangle 1">
            <a:extLst>
              <a:ext uri="{FF2B5EF4-FFF2-40B4-BE49-F238E27FC236}">
                <a16:creationId xmlns:a16="http://schemas.microsoft.com/office/drawing/2014/main" id="{49B166A3-964B-B134-D650-FF1F12A83FD2}"/>
              </a:ext>
            </a:extLst>
          </p:cNvPr>
          <p:cNvSpPr/>
          <p:nvPr/>
        </p:nvSpPr>
        <p:spPr>
          <a:xfrm>
            <a:off x="8393625" y="2465667"/>
            <a:ext cx="2892761" cy="574207"/>
          </a:xfrm>
          <a:prstGeom prst="rect">
            <a:avLst/>
          </a:prstGeom>
          <a:solidFill>
            <a:schemeClr val="bg1">
              <a:lumMod val="9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accent1"/>
                </a:solidFill>
                <a:effectLst/>
                <a:uLnTx/>
                <a:uFillTx/>
                <a:latin typeface="Arial" panose="020B0604020202020204"/>
                <a:ea typeface="+mn-ea"/>
                <a:cs typeface="Arial"/>
                <a:sym typeface="Arial"/>
              </a:rPr>
              <a:t>Economic operators’    back-end systems </a:t>
            </a:r>
            <a:br>
              <a:rPr kumimoji="0" lang="en-GB" sz="1600" b="0" i="0" u="none" strike="noStrike" kern="1200" cap="none" spc="0" normalizeH="0" baseline="0" noProof="0">
                <a:ln>
                  <a:noFill/>
                </a:ln>
                <a:solidFill>
                  <a:schemeClr val="accent1"/>
                </a:solidFill>
                <a:effectLst/>
                <a:uLnTx/>
                <a:uFillTx/>
                <a:latin typeface="Arial" panose="020B0604020202020204"/>
                <a:ea typeface="+mn-ea"/>
                <a:cs typeface="Arial"/>
                <a:sym typeface="Arial"/>
              </a:rPr>
            </a:br>
            <a:endParaRPr kumimoji="0" lang="en-GB" sz="1600" b="0" i="0" u="none" strike="noStrike" kern="1200" cap="none" spc="0" normalizeH="0" baseline="0" noProof="0">
              <a:ln>
                <a:noFill/>
              </a:ln>
              <a:solidFill>
                <a:schemeClr val="accent1"/>
              </a:solidFill>
              <a:effectLst/>
              <a:uLnTx/>
              <a:uFillTx/>
              <a:latin typeface="Arial" panose="020B0604020202020204"/>
              <a:ea typeface="+mn-ea"/>
              <a:cs typeface="Arial"/>
              <a:sym typeface="Arial"/>
            </a:endParaRPr>
          </a:p>
        </p:txBody>
      </p:sp>
      <p:cxnSp>
        <p:nvCxnSpPr>
          <p:cNvPr id="86" name="Verbinder: gekrümmt 64">
            <a:extLst>
              <a:ext uri="{FF2B5EF4-FFF2-40B4-BE49-F238E27FC236}">
                <a16:creationId xmlns:a16="http://schemas.microsoft.com/office/drawing/2014/main" id="{38F125AF-1369-F7AF-2894-545659ACC09C}"/>
              </a:ext>
            </a:extLst>
          </p:cNvPr>
          <p:cNvCxnSpPr>
            <a:cxnSpLocks/>
          </p:cNvCxnSpPr>
          <p:nvPr/>
        </p:nvCxnSpPr>
        <p:spPr>
          <a:xfrm rot="5400000" flipH="1" flipV="1">
            <a:off x="4285774" y="1379070"/>
            <a:ext cx="2719691" cy="5551844"/>
          </a:xfrm>
          <a:prstGeom prst="curvedConnector2">
            <a:avLst/>
          </a:prstGeom>
          <a:ln>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87" name="Arrow: Chevron 23">
            <a:extLst>
              <a:ext uri="{FF2B5EF4-FFF2-40B4-BE49-F238E27FC236}">
                <a16:creationId xmlns:a16="http://schemas.microsoft.com/office/drawing/2014/main" id="{B6B3EEF0-6EF0-AB86-6A1B-D747BF0C189D}"/>
              </a:ext>
            </a:extLst>
          </p:cNvPr>
          <p:cNvSpPr/>
          <p:nvPr/>
        </p:nvSpPr>
        <p:spPr>
          <a:xfrm>
            <a:off x="10729957" y="5514837"/>
            <a:ext cx="1206452" cy="468000"/>
          </a:xfrm>
          <a:prstGeom prst="chevr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Recycler</a:t>
            </a:r>
          </a:p>
        </p:txBody>
      </p:sp>
      <p:cxnSp>
        <p:nvCxnSpPr>
          <p:cNvPr id="88" name="Verbinder: gekrümmt 94">
            <a:extLst>
              <a:ext uri="{FF2B5EF4-FFF2-40B4-BE49-F238E27FC236}">
                <a16:creationId xmlns:a16="http://schemas.microsoft.com/office/drawing/2014/main" id="{6160C0DE-D813-8A51-E0AB-6AED408B2DD6}"/>
              </a:ext>
            </a:extLst>
          </p:cNvPr>
          <p:cNvCxnSpPr>
            <a:cxnSpLocks/>
            <a:stCxn id="19" idx="0"/>
            <a:endCxn id="85" idx="2"/>
          </p:cNvCxnSpPr>
          <p:nvPr/>
        </p:nvCxnSpPr>
        <p:spPr>
          <a:xfrm rot="5400000" flipH="1" flipV="1">
            <a:off x="8247193" y="3922024"/>
            <a:ext cx="2474963" cy="710664"/>
          </a:xfrm>
          <a:prstGeom prst="curvedConnector3">
            <a:avLst>
              <a:gd name="adj1" fmla="val 50000"/>
            </a:avLst>
          </a:prstGeom>
          <a:ln w="28575">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9" name="Verbinder: gekrümmt 97">
            <a:extLst>
              <a:ext uri="{FF2B5EF4-FFF2-40B4-BE49-F238E27FC236}">
                <a16:creationId xmlns:a16="http://schemas.microsoft.com/office/drawing/2014/main" id="{22B9A3A8-903B-9B1F-B985-E6837B9C12BA}"/>
              </a:ext>
            </a:extLst>
          </p:cNvPr>
          <p:cNvCxnSpPr>
            <a:cxnSpLocks/>
            <a:stCxn id="18" idx="0"/>
            <a:endCxn id="85" idx="2"/>
          </p:cNvCxnSpPr>
          <p:nvPr/>
        </p:nvCxnSpPr>
        <p:spPr>
          <a:xfrm rot="16200000" flipV="1">
            <a:off x="8769585" y="4110296"/>
            <a:ext cx="2474963" cy="334120"/>
          </a:xfrm>
          <a:prstGeom prst="curvedConnector3">
            <a:avLst>
              <a:gd name="adj1" fmla="val 50000"/>
            </a:avLst>
          </a:prstGeom>
          <a:ln w="28575">
            <a:solidFill>
              <a:schemeClr val="accent6"/>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0" name="Textfeld 36">
            <a:extLst>
              <a:ext uri="{FF2B5EF4-FFF2-40B4-BE49-F238E27FC236}">
                <a16:creationId xmlns:a16="http://schemas.microsoft.com/office/drawing/2014/main" id="{774968E7-5952-DEB7-EB69-25A8B09784E8}"/>
              </a:ext>
            </a:extLst>
          </p:cNvPr>
          <p:cNvSpPr txBox="1"/>
          <p:nvPr/>
        </p:nvSpPr>
        <p:spPr>
          <a:xfrm rot="20919649">
            <a:off x="3174590" y="2845989"/>
            <a:ext cx="5742556" cy="1102308"/>
          </a:xfrm>
          <a:prstGeom prst="rect">
            <a:avLst/>
          </a:prstGeom>
          <a:noFill/>
        </p:spPr>
        <p:txBody>
          <a:bodyPr wrap="square" rtlCol="0">
            <a:prstTxWarp prst="textArchUp">
              <a:avLst>
                <a:gd name="adj" fmla="val 11631323"/>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GB" sz="1000" b="0" i="0" u="none" strike="noStrike" kern="1200" cap="none" spc="0" normalizeH="0" baseline="0" noProof="0">
                <a:ln>
                  <a:noFill/>
                </a:ln>
                <a:solidFill>
                  <a:schemeClr val="accent1"/>
                </a:solidFill>
                <a:effectLst/>
                <a:uLnTx/>
                <a:uFillTx/>
                <a:latin typeface="Arial" panose="020B0604020202020204"/>
                <a:ea typeface="+mn-ea"/>
                <a:cs typeface="Arial"/>
                <a:sym typeface="Arial"/>
              </a:rPr>
            </a:br>
            <a:r>
              <a:rPr kumimoji="0" lang="en-GB" sz="900" b="0" i="0" u="none" strike="noStrike" kern="1200" cap="none" spc="0" normalizeH="0" baseline="0" noProof="0">
                <a:ln>
                  <a:noFill/>
                </a:ln>
                <a:solidFill>
                  <a:schemeClr val="accent1"/>
                </a:solidFill>
                <a:effectLst/>
                <a:uLnTx/>
                <a:uFillTx/>
                <a:latin typeface="Arial" panose="020B0604020202020204"/>
                <a:ea typeface="+mn-ea"/>
                <a:cs typeface="Arial"/>
                <a:sym typeface="Arial"/>
              </a:rPr>
              <a:t>Direct reporting for aggregation in economic operator’s back-end system(s)</a:t>
            </a:r>
            <a:endParaRPr kumimoji="0" lang="en-GB" sz="1000" b="0" i="0" u="none" strike="noStrike" kern="1200" cap="none" spc="0" normalizeH="0" baseline="0" noProof="0">
              <a:ln>
                <a:noFill/>
              </a:ln>
              <a:solidFill>
                <a:schemeClr val="accent1"/>
              </a:solidFill>
              <a:effectLst/>
              <a:uLnTx/>
              <a:uFillTx/>
              <a:latin typeface="Arial" panose="020B0604020202020204"/>
              <a:ea typeface="+mn-ea"/>
              <a:cs typeface="Arial"/>
              <a:sym typeface="Arial"/>
            </a:endParaRPr>
          </a:p>
        </p:txBody>
      </p:sp>
      <p:cxnSp>
        <p:nvCxnSpPr>
          <p:cNvPr id="92" name="Gerader Verbinder 34">
            <a:extLst>
              <a:ext uri="{FF2B5EF4-FFF2-40B4-BE49-F238E27FC236}">
                <a16:creationId xmlns:a16="http://schemas.microsoft.com/office/drawing/2014/main" id="{B9FA448E-4575-0380-5009-EC2923FDCAE6}"/>
              </a:ext>
            </a:extLst>
          </p:cNvPr>
          <p:cNvCxnSpPr>
            <a:cxnSpLocks/>
          </p:cNvCxnSpPr>
          <p:nvPr/>
        </p:nvCxnSpPr>
        <p:spPr>
          <a:xfrm>
            <a:off x="303872" y="4662112"/>
            <a:ext cx="11448000" cy="0"/>
          </a:xfrm>
          <a:prstGeom prst="line">
            <a:avLst/>
          </a:pr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93" name="Gerader Verbinder 34">
            <a:extLst>
              <a:ext uri="{FF2B5EF4-FFF2-40B4-BE49-F238E27FC236}">
                <a16:creationId xmlns:a16="http://schemas.microsoft.com/office/drawing/2014/main" id="{B1BEEF1D-87AA-089F-99F3-7CE9A8C21F08}"/>
              </a:ext>
            </a:extLst>
          </p:cNvPr>
          <p:cNvCxnSpPr>
            <a:cxnSpLocks/>
          </p:cNvCxnSpPr>
          <p:nvPr/>
        </p:nvCxnSpPr>
        <p:spPr>
          <a:xfrm>
            <a:off x="306894" y="2292206"/>
            <a:ext cx="11448000" cy="0"/>
          </a:xfrm>
          <a:prstGeom prst="line">
            <a:avLst/>
          </a:pr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95" name="Verbinder: gekrümmt 98">
            <a:extLst>
              <a:ext uri="{FF2B5EF4-FFF2-40B4-BE49-F238E27FC236}">
                <a16:creationId xmlns:a16="http://schemas.microsoft.com/office/drawing/2014/main" id="{B670ECE0-DCB9-D11D-E89C-D743BEA27687}"/>
              </a:ext>
            </a:extLst>
          </p:cNvPr>
          <p:cNvCxnSpPr>
            <a:cxnSpLocks/>
          </p:cNvCxnSpPr>
          <p:nvPr/>
        </p:nvCxnSpPr>
        <p:spPr>
          <a:xfrm rot="5400000" flipH="1" flipV="1">
            <a:off x="9638395" y="2377383"/>
            <a:ext cx="346070" cy="1"/>
          </a:xfrm>
          <a:prstGeom prst="curvedConnector3">
            <a:avLst>
              <a:gd name="adj1" fmla="val 50000"/>
            </a:avLst>
          </a:prstGeom>
          <a:ln w="28575">
            <a:solidFill>
              <a:schemeClr val="accent5"/>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B7AED835-81D5-BC50-42E8-D6407A6CE48D}"/>
              </a:ext>
            </a:extLst>
          </p:cNvPr>
          <p:cNvSpPr txBox="1"/>
          <p:nvPr/>
        </p:nvSpPr>
        <p:spPr>
          <a:xfrm>
            <a:off x="7117369" y="1741180"/>
            <a:ext cx="2539328" cy="430887"/>
          </a:xfrm>
          <a:prstGeom prst="rect">
            <a:avLst/>
          </a:prstGeom>
          <a:solidFill>
            <a:schemeClr val="bg1"/>
          </a:solidFill>
        </p:spPr>
        <p:txBody>
          <a:bodyPr wrap="square" tIns="0" rIns="36000" bIns="0">
            <a:spAutoFit/>
          </a:bodyPr>
          <a:lstStyle/>
          <a:p>
            <a:pPr lvl="0" algn="r">
              <a:defRPr/>
            </a:pPr>
            <a:r>
              <a:rPr kumimoji="0" lang="en-GB" sz="1400" b="1" i="0" u="none" strike="noStrike" kern="1200" cap="none" spc="0" normalizeH="0" baseline="0" noProof="0">
                <a:ln>
                  <a:noFill/>
                </a:ln>
                <a:solidFill>
                  <a:schemeClr val="accent1"/>
                </a:solidFill>
                <a:effectLst/>
                <a:uLnTx/>
                <a:uFillTx/>
                <a:latin typeface="Arial" panose="020B0604020202020204"/>
                <a:ea typeface="+mn-ea"/>
                <a:cs typeface="Arial"/>
                <a:sym typeface="Arial"/>
              </a:rPr>
              <a:t>Battery Passport Systems </a:t>
            </a:r>
            <a:br>
              <a:rPr kumimoji="0" lang="en-GB" sz="1400" b="1" i="0" u="none" strike="noStrike" kern="1200" cap="none" spc="0" normalizeH="0" baseline="0" noProof="0">
                <a:ln>
                  <a:noFill/>
                </a:ln>
                <a:solidFill>
                  <a:schemeClr val="accent1"/>
                </a:solidFill>
                <a:effectLst/>
                <a:uLnTx/>
                <a:uFillTx/>
                <a:latin typeface="Arial" panose="020B0604020202020204"/>
                <a:ea typeface="+mn-ea"/>
                <a:cs typeface="Arial"/>
                <a:sym typeface="Arial"/>
              </a:rPr>
            </a:br>
            <a:endParaRPr kumimoji="0" lang="en-GB" sz="1400" b="0" i="0" u="none" strike="noStrike" kern="1200" cap="none" spc="0" normalizeH="0" baseline="0" noProof="0">
              <a:ln>
                <a:noFill/>
              </a:ln>
              <a:solidFill>
                <a:schemeClr val="accent1"/>
              </a:solidFill>
              <a:effectLst/>
              <a:uLnTx/>
              <a:uFillTx/>
              <a:latin typeface="Arial" panose="020B0604020202020204"/>
              <a:ea typeface="+mn-ea"/>
              <a:cs typeface="Arial"/>
              <a:sym typeface="Arial"/>
            </a:endParaRPr>
          </a:p>
        </p:txBody>
      </p:sp>
      <p:sp>
        <p:nvSpPr>
          <p:cNvPr id="97" name="TextBox 96">
            <a:extLst>
              <a:ext uri="{FF2B5EF4-FFF2-40B4-BE49-F238E27FC236}">
                <a16:creationId xmlns:a16="http://schemas.microsoft.com/office/drawing/2014/main" id="{3C882E09-4BB7-7A92-C9D2-05601B1A0007}"/>
              </a:ext>
            </a:extLst>
          </p:cNvPr>
          <p:cNvSpPr txBox="1"/>
          <p:nvPr/>
        </p:nvSpPr>
        <p:spPr>
          <a:xfrm>
            <a:off x="9906250" y="1739370"/>
            <a:ext cx="1953242" cy="430887"/>
          </a:xfrm>
          <a:prstGeom prst="rect">
            <a:avLst/>
          </a:prstGeom>
          <a:solidFill>
            <a:schemeClr val="bg1"/>
          </a:solidFill>
        </p:spPr>
        <p:txBody>
          <a:bodyPr wrap="square" t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accent1"/>
                </a:solidFill>
                <a:effectLst/>
                <a:uLnTx/>
                <a:uFillTx/>
                <a:latin typeface="Arial" panose="020B0604020202020204"/>
                <a:ea typeface="+mn-ea"/>
                <a:cs typeface="Arial"/>
                <a:sym typeface="Arial"/>
              </a:rPr>
              <a:t>Product Passport Registry </a:t>
            </a:r>
            <a:endParaRPr kumimoji="0" lang="en-GB" sz="1050" b="0" i="0" u="none" strike="noStrike" kern="1200" cap="none" spc="0" normalizeH="0" baseline="0" noProof="0">
              <a:ln>
                <a:noFill/>
              </a:ln>
              <a:solidFill>
                <a:schemeClr val="accent1"/>
              </a:solidFill>
              <a:effectLst/>
              <a:uLnTx/>
              <a:uFillTx/>
              <a:latin typeface="Arial" panose="020B0604020202020204"/>
              <a:ea typeface="+mn-ea"/>
              <a:cs typeface="Arial"/>
              <a:sym typeface="Arial"/>
            </a:endParaRPr>
          </a:p>
        </p:txBody>
      </p:sp>
      <p:grpSp>
        <p:nvGrpSpPr>
          <p:cNvPr id="101" name="Group 100">
            <a:extLst>
              <a:ext uri="{FF2B5EF4-FFF2-40B4-BE49-F238E27FC236}">
                <a16:creationId xmlns:a16="http://schemas.microsoft.com/office/drawing/2014/main" id="{40369C7D-BE64-6AC9-CA39-0523BEB89466}"/>
              </a:ext>
            </a:extLst>
          </p:cNvPr>
          <p:cNvGrpSpPr/>
          <p:nvPr/>
        </p:nvGrpSpPr>
        <p:grpSpPr>
          <a:xfrm>
            <a:off x="8258175" y="1165708"/>
            <a:ext cx="507316" cy="507316"/>
            <a:chOff x="8156575" y="1264599"/>
            <a:chExt cx="507316" cy="507316"/>
          </a:xfrm>
          <a:solidFill>
            <a:schemeClr val="accent1"/>
          </a:solidFill>
        </p:grpSpPr>
        <p:pic>
          <p:nvPicPr>
            <p:cNvPr id="102" name="Graphic 101" descr="Smart Phone with solid fill">
              <a:extLst>
                <a:ext uri="{FF2B5EF4-FFF2-40B4-BE49-F238E27FC236}">
                  <a16:creationId xmlns:a16="http://schemas.microsoft.com/office/drawing/2014/main" id="{69D101FF-D07B-7B99-B002-A1EB55DA576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56575" y="1264599"/>
              <a:ext cx="507316" cy="507316"/>
            </a:xfrm>
            <a:prstGeom prst="rect">
              <a:avLst/>
            </a:prstGeom>
          </p:spPr>
        </p:pic>
        <p:pic>
          <p:nvPicPr>
            <p:cNvPr id="103" name="Graphic 102" descr="Qr Code with solid fill">
              <a:extLst>
                <a:ext uri="{FF2B5EF4-FFF2-40B4-BE49-F238E27FC236}">
                  <a16:creationId xmlns:a16="http://schemas.microsoft.com/office/drawing/2014/main" id="{2E61F6E3-9CF0-0993-1987-792634E5266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19941" y="1442688"/>
              <a:ext cx="189413" cy="189413"/>
            </a:xfrm>
            <a:prstGeom prst="rect">
              <a:avLst/>
            </a:prstGeom>
          </p:spPr>
        </p:pic>
      </p:grpSp>
      <p:sp>
        <p:nvSpPr>
          <p:cNvPr id="104" name="Arrow: Chevron 18">
            <a:extLst>
              <a:ext uri="{FF2B5EF4-FFF2-40B4-BE49-F238E27FC236}">
                <a16:creationId xmlns:a16="http://schemas.microsoft.com/office/drawing/2014/main" id="{7863C578-D0D2-A0A2-84C2-61104BFDDCC4}"/>
              </a:ext>
            </a:extLst>
          </p:cNvPr>
          <p:cNvSpPr/>
          <p:nvPr/>
        </p:nvSpPr>
        <p:spPr>
          <a:xfrm>
            <a:off x="4465116" y="5504009"/>
            <a:ext cx="1206452" cy="46800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u="none" strike="noStrike" kern="1200" cap="none" spc="0" normalizeH="0" baseline="0">
                <a:ln>
                  <a:noFill/>
                </a:ln>
                <a:solidFill>
                  <a:srgbClr val="FFFFFF"/>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Cells and modules manufacturer</a:t>
            </a:r>
          </a:p>
        </p:txBody>
      </p:sp>
      <p:sp>
        <p:nvSpPr>
          <p:cNvPr id="105" name="Subtitle 23">
            <a:extLst>
              <a:ext uri="{FF2B5EF4-FFF2-40B4-BE49-F238E27FC236}">
                <a16:creationId xmlns:a16="http://schemas.microsoft.com/office/drawing/2014/main" id="{79B3A0F6-1EC0-F8B4-4EDF-60FAFE14874A}"/>
              </a:ext>
            </a:extLst>
          </p:cNvPr>
          <p:cNvSpPr txBox="1">
            <a:spLocks/>
          </p:cNvSpPr>
          <p:nvPr/>
        </p:nvSpPr>
        <p:spPr>
          <a:xfrm>
            <a:off x="3427307" y="6267928"/>
            <a:ext cx="5979441" cy="298800"/>
          </a:xfrm>
          <a:prstGeom prst="rect">
            <a:avLst/>
          </a:prstGeom>
        </p:spPr>
        <p:txBody>
          <a:bodyPr vert="horz" lIns="0" tIns="0" rIns="0" bIns="0" rtlCol="0">
            <a:noAutofit/>
          </a:bodyPr>
          <a:lstStyle>
            <a:lvl1pPr marL="342900" marR="0" indent="-342900" algn="l" defTabSz="914400" rtl="0" eaLnBrk="1" fontAlgn="auto" latinLnBrk="0" hangingPunct="1">
              <a:lnSpc>
                <a:spcPct val="110000"/>
              </a:lnSpc>
              <a:spcBef>
                <a:spcPts val="0"/>
              </a:spcBef>
              <a:spcAft>
                <a:spcPts val="0"/>
              </a:spcAft>
              <a:buClr>
                <a:schemeClr val="accent1"/>
              </a:buClr>
              <a:buSzTx/>
              <a:buFont typeface="Wingdings" panose="05000000000000000000" pitchFamily="2" charset="2"/>
              <a:buChar char="n"/>
              <a:tabLst/>
              <a:defRPr sz="2000" b="0" i="0" kern="1200" baseline="0">
                <a:solidFill>
                  <a:schemeClr val="tx1"/>
                </a:solidFill>
                <a:latin typeface="Arial" panose="020B0604020202020204" pitchFamily="34" charset="0"/>
                <a:ea typeface="+mn-ea"/>
                <a:cs typeface="+mn-cs"/>
              </a:defRPr>
            </a:lvl1pPr>
            <a:lvl2pPr marL="719138" marR="0" indent="-361950" algn="l" defTabSz="914400" rtl="0" eaLnBrk="1" fontAlgn="auto" latinLnBrk="0" hangingPunct="1">
              <a:lnSpc>
                <a:spcPct val="110000"/>
              </a:lnSpc>
              <a:spcBef>
                <a:spcPts val="600"/>
              </a:spcBef>
              <a:spcAft>
                <a:spcPts val="0"/>
              </a:spcAft>
              <a:buClr>
                <a:srgbClr val="004A96"/>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4738" marR="0" indent="-355600" algn="l" defTabSz="914400" rtl="0" eaLnBrk="1" fontAlgn="auto" latinLnBrk="0" hangingPunct="1">
              <a:lnSpc>
                <a:spcPct val="110000"/>
              </a:lnSpc>
              <a:spcBef>
                <a:spcPts val="300"/>
              </a:spcBef>
              <a:spcAft>
                <a:spcPts val="0"/>
              </a:spcAft>
              <a:buClr>
                <a:srgbClr val="004A96"/>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61950" algn="l" defTabSz="914400" rtl="0" eaLnBrk="1" fontAlgn="auto" latinLnBrk="0" hangingPunct="1">
              <a:lnSpc>
                <a:spcPct val="110000"/>
              </a:lnSpc>
              <a:spcBef>
                <a:spcPts val="0"/>
              </a:spcBef>
              <a:spcAft>
                <a:spcPct val="50000"/>
              </a:spcAft>
              <a:buClr>
                <a:srgbClr val="004A96"/>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marL="0" marR="0" lvl="0" indent="0" algn="l" defTabSz="914400" rtl="0" eaLnBrk="1" fontAlgn="auto" latinLnBrk="0" hangingPunct="1">
              <a:lnSpc>
                <a:spcPct val="110000"/>
              </a:lnSpc>
              <a:spcBef>
                <a:spcPts val="0"/>
              </a:spcBef>
              <a:spcAft>
                <a:spcPts val="0"/>
              </a:spcAft>
              <a:buClr>
                <a:srgbClr val="004A96"/>
              </a:buClr>
              <a:buSzTx/>
              <a:buFont typeface="Wingdings" panose="05000000000000000000" pitchFamily="2" charset="2"/>
              <a:buNone/>
              <a:tabLst/>
              <a:defRPr/>
            </a:pPr>
            <a:r>
              <a:rPr kumimoji="0" lang="en-GB" sz="1000" b="0" i="0" u="none" strike="noStrike" kern="1200" cap="none" spc="0" normalizeH="0" baseline="0" noProof="0">
                <a:ln>
                  <a:noFill/>
                </a:ln>
                <a:solidFill>
                  <a:srgbClr val="000000">
                    <a:lumMod val="100000"/>
                  </a:srgbClr>
                </a:solidFill>
                <a:effectLst/>
                <a:uLnTx/>
                <a:uFillTx/>
                <a:latin typeface="+mn-lt"/>
                <a:ea typeface="Work Sans"/>
                <a:cs typeface="Work Sans"/>
                <a:sym typeface="Work Sans"/>
              </a:rPr>
              <a:t>This project receives funding from the </a:t>
            </a:r>
            <a:r>
              <a:rPr kumimoji="0" lang="en-GB" sz="1000" b="0" i="0" u="sng" strike="noStrike" kern="1200" cap="none" spc="0" normalizeH="0" baseline="0" noProof="0">
                <a:ln>
                  <a:noFill/>
                </a:ln>
                <a:solidFill>
                  <a:srgbClr val="004A96"/>
                </a:solidFill>
                <a:effectLst/>
                <a:uLnTx/>
                <a:uFillTx/>
                <a:latin typeface="+mn-lt"/>
                <a:ea typeface="Work Sans"/>
                <a:cs typeface="Work Sans"/>
                <a:sym typeface="Work Sans"/>
                <a:hlinkClick r:id="rId7">
                  <a:extLst>
                    <a:ext uri="{A12FA001-AC4F-418D-AE19-62706E023703}">
                      <ahyp:hlinkClr xmlns:ahyp="http://schemas.microsoft.com/office/drawing/2018/hyperlinkcolor" val="tx"/>
                    </a:ext>
                  </a:extLst>
                </a:hlinkClick>
              </a:rPr>
              <a:t>German Federal Ministry for Economic Affairs and Climate Action</a:t>
            </a:r>
            <a:r>
              <a:rPr kumimoji="0" lang="en-GB" sz="1000" b="0" i="0" u="none" strike="noStrike" kern="1200" cap="none" spc="0" normalizeH="0" baseline="0" noProof="0">
                <a:ln>
                  <a:noFill/>
                </a:ln>
                <a:solidFill>
                  <a:srgbClr val="000000">
                    <a:lumMod val="100000"/>
                  </a:srgbClr>
                </a:solidFill>
                <a:effectLst/>
                <a:uLnTx/>
                <a:uFillTx/>
                <a:latin typeface="+mn-lt"/>
                <a:ea typeface="Work Sans"/>
                <a:cs typeface="Work Sans"/>
                <a:sym typeface="Work Sans"/>
              </a:rPr>
              <a:t> by resolution of the German Bundestag under grant agreement No 16BZF335.</a:t>
            </a:r>
          </a:p>
        </p:txBody>
      </p:sp>
      <p:grpSp>
        <p:nvGrpSpPr>
          <p:cNvPr id="106" name="Group 11">
            <a:extLst>
              <a:ext uri="{FF2B5EF4-FFF2-40B4-BE49-F238E27FC236}">
                <a16:creationId xmlns:a16="http://schemas.microsoft.com/office/drawing/2014/main" id="{99D69114-F23D-8141-B594-59C508FBB495}"/>
              </a:ext>
            </a:extLst>
          </p:cNvPr>
          <p:cNvGrpSpPr/>
          <p:nvPr/>
        </p:nvGrpSpPr>
        <p:grpSpPr>
          <a:xfrm>
            <a:off x="3711378" y="4912081"/>
            <a:ext cx="507316" cy="507316"/>
            <a:chOff x="8156575" y="1264599"/>
            <a:chExt cx="507316" cy="507316"/>
          </a:xfrm>
          <a:solidFill>
            <a:schemeClr val="accent1"/>
          </a:solidFill>
        </p:grpSpPr>
        <p:pic>
          <p:nvPicPr>
            <p:cNvPr id="107" name="Graphic 160" descr="Smart Phone with solid fill">
              <a:extLst>
                <a:ext uri="{FF2B5EF4-FFF2-40B4-BE49-F238E27FC236}">
                  <a16:creationId xmlns:a16="http://schemas.microsoft.com/office/drawing/2014/main" id="{43AC7826-502A-AF02-920D-C8FB34AEE3A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56575" y="1264599"/>
              <a:ext cx="507316" cy="507316"/>
            </a:xfrm>
            <a:prstGeom prst="rect">
              <a:avLst/>
            </a:prstGeom>
          </p:spPr>
        </p:pic>
        <p:pic>
          <p:nvPicPr>
            <p:cNvPr id="108" name="Graphic 161" descr="Qr Code with solid fill">
              <a:extLst>
                <a:ext uri="{FF2B5EF4-FFF2-40B4-BE49-F238E27FC236}">
                  <a16:creationId xmlns:a16="http://schemas.microsoft.com/office/drawing/2014/main" id="{EACE7F35-A00A-D70C-4905-B2C5E759738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19941" y="1442688"/>
              <a:ext cx="189413" cy="189413"/>
            </a:xfrm>
            <a:prstGeom prst="rect">
              <a:avLst/>
            </a:prstGeom>
          </p:spPr>
        </p:pic>
      </p:grpSp>
      <p:grpSp>
        <p:nvGrpSpPr>
          <p:cNvPr id="109" name="Group 11">
            <a:extLst>
              <a:ext uri="{FF2B5EF4-FFF2-40B4-BE49-F238E27FC236}">
                <a16:creationId xmlns:a16="http://schemas.microsoft.com/office/drawing/2014/main" id="{26809D77-F07B-9E18-BC3A-7E0D7D4B1D9B}"/>
              </a:ext>
            </a:extLst>
          </p:cNvPr>
          <p:cNvGrpSpPr/>
          <p:nvPr/>
        </p:nvGrpSpPr>
        <p:grpSpPr>
          <a:xfrm>
            <a:off x="6813167" y="4959792"/>
            <a:ext cx="507316" cy="507316"/>
            <a:chOff x="8156575" y="1264599"/>
            <a:chExt cx="507316" cy="507316"/>
          </a:xfrm>
          <a:solidFill>
            <a:schemeClr val="accent1"/>
          </a:solidFill>
        </p:grpSpPr>
        <p:pic>
          <p:nvPicPr>
            <p:cNvPr id="110" name="Graphic 160" descr="Smart Phone with solid fill">
              <a:extLst>
                <a:ext uri="{FF2B5EF4-FFF2-40B4-BE49-F238E27FC236}">
                  <a16:creationId xmlns:a16="http://schemas.microsoft.com/office/drawing/2014/main" id="{96884838-FCEF-B751-EA2B-708CA8FC737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56575" y="1264599"/>
              <a:ext cx="507316" cy="507316"/>
            </a:xfrm>
            <a:prstGeom prst="rect">
              <a:avLst/>
            </a:prstGeom>
          </p:spPr>
        </p:pic>
        <p:pic>
          <p:nvPicPr>
            <p:cNvPr id="111" name="Graphic 161" descr="Qr Code with solid fill">
              <a:extLst>
                <a:ext uri="{FF2B5EF4-FFF2-40B4-BE49-F238E27FC236}">
                  <a16:creationId xmlns:a16="http://schemas.microsoft.com/office/drawing/2014/main" id="{1B5BB2CF-493F-68B6-02F1-20FBAFB8E9B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19941" y="1442688"/>
              <a:ext cx="189413" cy="189413"/>
            </a:xfrm>
            <a:prstGeom prst="rect">
              <a:avLst/>
            </a:prstGeom>
          </p:spPr>
        </p:pic>
      </p:grpSp>
      <p:pic>
        <p:nvPicPr>
          <p:cNvPr id="3" name="Graphic 2">
            <a:extLst>
              <a:ext uri="{FF2B5EF4-FFF2-40B4-BE49-F238E27FC236}">
                <a16:creationId xmlns:a16="http://schemas.microsoft.com/office/drawing/2014/main" id="{7E6F9E77-0EB5-C279-889D-958D0BA86CF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45785" y="1157519"/>
            <a:ext cx="856103" cy="856103"/>
          </a:xfrm>
          <a:prstGeom prst="rect">
            <a:avLst/>
          </a:prstGeom>
        </p:spPr>
      </p:pic>
      <p:pic>
        <p:nvPicPr>
          <p:cNvPr id="6" name="Graphic 5">
            <a:extLst>
              <a:ext uri="{FF2B5EF4-FFF2-40B4-BE49-F238E27FC236}">
                <a16:creationId xmlns:a16="http://schemas.microsoft.com/office/drawing/2014/main" id="{15361047-ADD7-9193-8425-C859EF8D7EE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45785" y="2392394"/>
            <a:ext cx="856103" cy="856103"/>
          </a:xfrm>
          <a:prstGeom prst="rect">
            <a:avLst/>
          </a:prstGeom>
        </p:spPr>
      </p:pic>
      <p:pic>
        <p:nvPicPr>
          <p:cNvPr id="114" name="Graphic 113">
            <a:extLst>
              <a:ext uri="{FF2B5EF4-FFF2-40B4-BE49-F238E27FC236}">
                <a16:creationId xmlns:a16="http://schemas.microsoft.com/office/drawing/2014/main" id="{BFE7E65A-47F6-B58F-2F6C-E569493AD01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45785" y="3627269"/>
            <a:ext cx="856102" cy="856102"/>
          </a:xfrm>
          <a:prstGeom prst="rect">
            <a:avLst/>
          </a:prstGeom>
        </p:spPr>
      </p:pic>
      <p:pic>
        <p:nvPicPr>
          <p:cNvPr id="115" name="Graphic 114">
            <a:extLst>
              <a:ext uri="{FF2B5EF4-FFF2-40B4-BE49-F238E27FC236}">
                <a16:creationId xmlns:a16="http://schemas.microsoft.com/office/drawing/2014/main" id="{6A220B56-FBFC-2F40-9D38-1774DE91DBB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45785" y="4862144"/>
            <a:ext cx="856102" cy="856102"/>
          </a:xfrm>
          <a:prstGeom prst="rect">
            <a:avLst/>
          </a:prstGeom>
        </p:spPr>
      </p:pic>
      <p:sp>
        <p:nvSpPr>
          <p:cNvPr id="116" name="TextBox 115">
            <a:extLst>
              <a:ext uri="{FF2B5EF4-FFF2-40B4-BE49-F238E27FC236}">
                <a16:creationId xmlns:a16="http://schemas.microsoft.com/office/drawing/2014/main" id="{177036D2-1B92-8B64-C7D1-E1E44804E6ED}"/>
              </a:ext>
            </a:extLst>
          </p:cNvPr>
          <p:cNvSpPr txBox="1"/>
          <p:nvPr/>
        </p:nvSpPr>
        <p:spPr>
          <a:xfrm>
            <a:off x="8834280" y="5509485"/>
            <a:ext cx="955904" cy="45704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u="none" strike="noStrike" kern="1200" cap="none" spc="0" normalizeH="0" baseline="0">
                <a:ln>
                  <a:noFill/>
                </a:ln>
                <a:solidFill>
                  <a:schemeClr val="bg1"/>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Reuser</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u="none" strike="noStrike" kern="1200" cap="none" spc="0" normalizeH="0" baseline="0">
                <a:ln>
                  <a:noFill/>
                </a:ln>
                <a:solidFill>
                  <a:schemeClr val="bg1"/>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Remanufacturer</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u="none" strike="noStrike" kern="1200" cap="none" spc="0" normalizeH="0" baseline="0">
                <a:ln>
                  <a:noFill/>
                </a:ln>
                <a:solidFill>
                  <a:schemeClr val="bg1"/>
                </a:solidFill>
                <a:effectLst/>
                <a:uLnTx/>
                <a:uFillTx/>
                <a:latin typeface="Arial Narrow" panose="020B0604020202020204" pitchFamily="34" charset="0"/>
                <a:ea typeface="Apple Symbols" panose="02000000000000000000" pitchFamily="2" charset="-79"/>
                <a:cs typeface="Arial Narrow" panose="020B0604020202020204" pitchFamily="34" charset="0"/>
                <a:sym typeface="Arial"/>
              </a:rPr>
              <a:t>Repurposer</a:t>
            </a:r>
          </a:p>
        </p:txBody>
      </p:sp>
      <p:pic>
        <p:nvPicPr>
          <p:cNvPr id="125" name="Graphic 124">
            <a:extLst>
              <a:ext uri="{FF2B5EF4-FFF2-40B4-BE49-F238E27FC236}">
                <a16:creationId xmlns:a16="http://schemas.microsoft.com/office/drawing/2014/main" id="{626D371E-2AC4-555C-DD48-3A09DCBEB99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352896" y="901209"/>
            <a:ext cx="754121" cy="754121"/>
          </a:xfrm>
          <a:prstGeom prst="rect">
            <a:avLst/>
          </a:prstGeom>
        </p:spPr>
      </p:pic>
      <p:sp>
        <p:nvSpPr>
          <p:cNvPr id="131" name="TextBox 130">
            <a:extLst>
              <a:ext uri="{FF2B5EF4-FFF2-40B4-BE49-F238E27FC236}">
                <a16:creationId xmlns:a16="http://schemas.microsoft.com/office/drawing/2014/main" id="{C7B7ABAD-810F-50AC-62C6-A70B400E980D}"/>
              </a:ext>
            </a:extLst>
          </p:cNvPr>
          <p:cNvSpPr txBox="1"/>
          <p:nvPr/>
        </p:nvSpPr>
        <p:spPr>
          <a:xfrm>
            <a:off x="1638165" y="2681946"/>
            <a:ext cx="2285705"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accent1"/>
                </a:solidFill>
                <a:effectLst/>
                <a:uLnTx/>
                <a:uFillTx/>
                <a:latin typeface="Arial" panose="020B0604020202020204"/>
                <a:ea typeface="+mn-ea"/>
                <a:cs typeface="Arial"/>
                <a:sym typeface="Arial"/>
              </a:rPr>
              <a:t>Data </a:t>
            </a:r>
            <a:r>
              <a:rPr lang="en-US" b="1">
                <a:solidFill>
                  <a:schemeClr val="accent1"/>
                </a:solidFill>
                <a:latin typeface="Arial" panose="020B0604020202020204"/>
                <a:cs typeface="Arial"/>
                <a:sym typeface="Arial"/>
              </a:rPr>
              <a:t>P</a:t>
            </a:r>
            <a:r>
              <a:rPr kumimoji="0" lang="en-US" sz="1800" b="1" i="0" u="none" strike="noStrike" kern="1200" cap="none" spc="0" normalizeH="0" baseline="0" noProof="0" err="1">
                <a:ln>
                  <a:noFill/>
                </a:ln>
                <a:solidFill>
                  <a:schemeClr val="accent1"/>
                </a:solidFill>
                <a:effectLst/>
                <a:uLnTx/>
                <a:uFillTx/>
                <a:latin typeface="Arial" panose="020B0604020202020204"/>
                <a:ea typeface="+mn-ea"/>
                <a:cs typeface="Arial"/>
                <a:sym typeface="Arial"/>
              </a:rPr>
              <a:t>rocessing</a:t>
            </a:r>
            <a:endParaRPr kumimoji="0" lang="en-US" sz="1800" b="0" i="0" u="none" strike="noStrike" kern="1200" cap="none" spc="0" normalizeH="0" baseline="30000" noProof="0">
              <a:ln>
                <a:noFill/>
              </a:ln>
              <a:solidFill>
                <a:schemeClr val="accent1"/>
              </a:solidFill>
              <a:effectLst/>
              <a:uLnTx/>
              <a:uFillTx/>
              <a:latin typeface="Arial" panose="020B0604020202020204"/>
              <a:ea typeface="+mn-ea"/>
              <a:cs typeface="Arial"/>
              <a:sym typeface="Arial"/>
            </a:endParaRPr>
          </a:p>
        </p:txBody>
      </p:sp>
      <p:sp>
        <p:nvSpPr>
          <p:cNvPr id="132" name="TextBox 131">
            <a:extLst>
              <a:ext uri="{FF2B5EF4-FFF2-40B4-BE49-F238E27FC236}">
                <a16:creationId xmlns:a16="http://schemas.microsoft.com/office/drawing/2014/main" id="{C8ABC9D5-E1C0-6AAF-669E-D0319E4ABC15}"/>
              </a:ext>
            </a:extLst>
          </p:cNvPr>
          <p:cNvSpPr txBox="1"/>
          <p:nvPr/>
        </p:nvSpPr>
        <p:spPr>
          <a:xfrm>
            <a:off x="1634615" y="3916821"/>
            <a:ext cx="2285705"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chemeClr val="accent1"/>
                </a:solidFill>
                <a:effectLst/>
                <a:uLnTx/>
                <a:uFillTx/>
                <a:latin typeface="Arial" panose="020B0604020202020204"/>
                <a:ea typeface="+mn-ea"/>
                <a:cs typeface="Arial"/>
                <a:sym typeface="Arial"/>
              </a:rPr>
              <a:t>Data Exchange</a:t>
            </a:r>
            <a:endParaRPr kumimoji="0" lang="en-GB" sz="1800" b="0" i="0" u="none" strike="noStrike" kern="1200" cap="none" spc="0" normalizeH="0" baseline="0" noProof="0">
              <a:ln>
                <a:noFill/>
              </a:ln>
              <a:solidFill>
                <a:schemeClr val="accent1"/>
              </a:solidFill>
              <a:effectLst/>
              <a:uLnTx/>
              <a:uFillTx/>
              <a:latin typeface="Arial" panose="020B0604020202020204"/>
              <a:ea typeface="+mn-ea"/>
              <a:cs typeface="Arial"/>
              <a:sym typeface="Arial"/>
            </a:endParaRPr>
          </a:p>
        </p:txBody>
      </p:sp>
      <p:sp>
        <p:nvSpPr>
          <p:cNvPr id="133" name="TextBox 132">
            <a:extLst>
              <a:ext uri="{FF2B5EF4-FFF2-40B4-BE49-F238E27FC236}">
                <a16:creationId xmlns:a16="http://schemas.microsoft.com/office/drawing/2014/main" id="{5E1D2F46-7CF6-ED2B-BBD2-6BA7D9900983}"/>
              </a:ext>
            </a:extLst>
          </p:cNvPr>
          <p:cNvSpPr txBox="1"/>
          <p:nvPr/>
        </p:nvSpPr>
        <p:spPr>
          <a:xfrm>
            <a:off x="1634614" y="5151696"/>
            <a:ext cx="2285705"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chemeClr val="accent1"/>
                </a:solidFill>
                <a:effectLst/>
                <a:uLnTx/>
                <a:uFillTx/>
                <a:latin typeface="Arial" panose="020B0604020202020204"/>
                <a:ea typeface="+mn-ea"/>
                <a:cs typeface="Arial"/>
                <a:sym typeface="Arial"/>
              </a:rPr>
              <a:t>Data Collection </a:t>
            </a:r>
            <a:endParaRPr kumimoji="0" lang="en-GB" sz="1800" b="0" i="0" u="none" strike="noStrike" kern="1200" cap="none" spc="0" normalizeH="0" baseline="0" noProof="0">
              <a:ln>
                <a:noFill/>
              </a:ln>
              <a:solidFill>
                <a:schemeClr val="accent1"/>
              </a:solidFill>
              <a:effectLst/>
              <a:uLnTx/>
              <a:uFillTx/>
              <a:latin typeface="Arial" panose="020B0604020202020204"/>
              <a:ea typeface="+mn-ea"/>
              <a:cs typeface="Arial"/>
              <a:sym typeface="Arial"/>
            </a:endParaRPr>
          </a:p>
        </p:txBody>
      </p:sp>
      <p:sp>
        <p:nvSpPr>
          <p:cNvPr id="134" name="TextBox 133">
            <a:extLst>
              <a:ext uri="{FF2B5EF4-FFF2-40B4-BE49-F238E27FC236}">
                <a16:creationId xmlns:a16="http://schemas.microsoft.com/office/drawing/2014/main" id="{A6538D12-39FA-4601-7976-F0924B3523BB}"/>
              </a:ext>
            </a:extLst>
          </p:cNvPr>
          <p:cNvSpPr txBox="1"/>
          <p:nvPr/>
        </p:nvSpPr>
        <p:spPr>
          <a:xfrm>
            <a:off x="1638165" y="1447071"/>
            <a:ext cx="1744101" cy="276999"/>
          </a:xfrm>
          <a:prstGeom prst="rect">
            <a:avLst/>
          </a:prstGeom>
          <a:noFill/>
        </p:spPr>
        <p:txBody>
          <a:bodyPr wrap="square" lIns="0" tIns="0" rIns="0" bIns="0" rtlCol="0">
            <a:spAutoFit/>
          </a:bodyPr>
          <a:lstStyle/>
          <a:p>
            <a:r>
              <a:rPr kumimoji="0" lang="en-GB" sz="1800" b="1" i="0" u="none" strike="noStrike" kern="1200" cap="none" spc="0" normalizeH="0" baseline="0" noProof="0">
                <a:ln>
                  <a:noFill/>
                </a:ln>
                <a:solidFill>
                  <a:schemeClr val="accent1"/>
                </a:solidFill>
                <a:effectLst/>
                <a:uLnTx/>
                <a:uFillTx/>
                <a:latin typeface="Arial" panose="020B0604020202020204"/>
                <a:ea typeface="+mn-ea"/>
                <a:cs typeface="Arial"/>
                <a:sym typeface="Arial"/>
              </a:rPr>
              <a:t>Data Access</a:t>
            </a:r>
            <a:endParaRPr kumimoji="0" lang="en-GB" sz="1800" b="0" i="0" u="none" strike="noStrike" kern="1200" cap="none" spc="0" normalizeH="0" baseline="30000" noProof="0">
              <a:ln>
                <a:noFill/>
              </a:ln>
              <a:solidFill>
                <a:schemeClr val="accent1"/>
              </a:solidFill>
              <a:effectLst/>
              <a:uLnTx/>
              <a:uFillTx/>
              <a:latin typeface="Arial" panose="020B0604020202020204"/>
              <a:ea typeface="+mn-ea"/>
              <a:cs typeface="Arial"/>
              <a:sym typeface="Arial"/>
            </a:endParaRPr>
          </a:p>
        </p:txBody>
      </p:sp>
      <p:grpSp>
        <p:nvGrpSpPr>
          <p:cNvPr id="91" name="Group 90">
            <a:extLst>
              <a:ext uri="{FF2B5EF4-FFF2-40B4-BE49-F238E27FC236}">
                <a16:creationId xmlns:a16="http://schemas.microsoft.com/office/drawing/2014/main" id="{65021710-6A3D-33FA-748F-DD87FB25F33F}"/>
              </a:ext>
            </a:extLst>
          </p:cNvPr>
          <p:cNvGrpSpPr/>
          <p:nvPr/>
        </p:nvGrpSpPr>
        <p:grpSpPr>
          <a:xfrm>
            <a:off x="8977745" y="875116"/>
            <a:ext cx="676521" cy="806861"/>
            <a:chOff x="8977745" y="875116"/>
            <a:chExt cx="676521" cy="806861"/>
          </a:xfrm>
        </p:grpSpPr>
        <p:sp>
          <p:nvSpPr>
            <p:cNvPr id="94" name="Rectangle: Rounded Corners 33">
              <a:extLst>
                <a:ext uri="{FF2B5EF4-FFF2-40B4-BE49-F238E27FC236}">
                  <a16:creationId xmlns:a16="http://schemas.microsoft.com/office/drawing/2014/main" id="{AC7A1387-13C4-0D8A-DFE0-612F26393A9A}"/>
                </a:ext>
              </a:extLst>
            </p:cNvPr>
            <p:cNvSpPr/>
            <p:nvPr/>
          </p:nvSpPr>
          <p:spPr>
            <a:xfrm>
              <a:off x="9000694" y="927856"/>
              <a:ext cx="623077" cy="754121"/>
            </a:xfrm>
            <a:prstGeom prst="roundRect">
              <a:avLst>
                <a:gd name="adj" fmla="val 5786"/>
              </a:avLst>
            </a:prstGeom>
            <a:solidFill>
              <a:schemeClr val="bg1">
                <a:lumMod val="95000"/>
              </a:schemeClr>
            </a:solidFill>
            <a:ln w="63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sp>
          <p:nvSpPr>
            <p:cNvPr id="98" name="Forma libre 156">
              <a:extLst>
                <a:ext uri="{FF2B5EF4-FFF2-40B4-BE49-F238E27FC236}">
                  <a16:creationId xmlns:a16="http://schemas.microsoft.com/office/drawing/2014/main" id="{CD32FB69-2405-E027-D19E-0E2C4554F984}"/>
                </a:ext>
              </a:extLst>
            </p:cNvPr>
            <p:cNvSpPr/>
            <p:nvPr/>
          </p:nvSpPr>
          <p:spPr>
            <a:xfrm>
              <a:off x="9035967" y="952169"/>
              <a:ext cx="26432" cy="34246"/>
            </a:xfrm>
            <a:custGeom>
              <a:avLst/>
              <a:gdLst>
                <a:gd name="connsiteX0" fmla="*/ 35201 w 70401"/>
                <a:gd name="connsiteY0" fmla="*/ 95138 h 95138"/>
                <a:gd name="connsiteX1" fmla="*/ 70402 w 70401"/>
                <a:gd name="connsiteY1" fmla="*/ 0 h 95138"/>
                <a:gd name="connsiteX2" fmla="*/ 0 w 70401"/>
                <a:gd name="connsiteY2" fmla="*/ 0 h 95138"/>
                <a:gd name="connsiteX3" fmla="*/ 35201 w 70401"/>
                <a:gd name="connsiteY3" fmla="*/ 95138 h 95138"/>
              </a:gdLst>
              <a:ahLst/>
              <a:cxnLst>
                <a:cxn ang="0">
                  <a:pos x="connsiteX0" y="connsiteY0"/>
                </a:cxn>
                <a:cxn ang="0">
                  <a:pos x="connsiteX1" y="connsiteY1"/>
                </a:cxn>
                <a:cxn ang="0">
                  <a:pos x="connsiteX2" y="connsiteY2"/>
                </a:cxn>
                <a:cxn ang="0">
                  <a:pos x="connsiteX3" y="connsiteY3"/>
                </a:cxn>
              </a:cxnLst>
              <a:rect l="l" t="t" r="r" b="b"/>
              <a:pathLst>
                <a:path w="70401" h="95138">
                  <a:moveTo>
                    <a:pt x="35201" y="95138"/>
                  </a:moveTo>
                  <a:cubicBezTo>
                    <a:pt x="48826" y="95138"/>
                    <a:pt x="67989" y="58294"/>
                    <a:pt x="70402" y="0"/>
                  </a:cubicBezTo>
                  <a:lnTo>
                    <a:pt x="0" y="0"/>
                  </a:lnTo>
                  <a:cubicBezTo>
                    <a:pt x="2413" y="58294"/>
                    <a:pt x="21576" y="95138"/>
                    <a:pt x="35201" y="95138"/>
                  </a:cubicBezTo>
                  <a:close/>
                </a:path>
              </a:pathLst>
            </a:custGeom>
            <a:solidFill>
              <a:schemeClr val="accent1"/>
            </a:solid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99" name="Forma libre 157">
              <a:extLst>
                <a:ext uri="{FF2B5EF4-FFF2-40B4-BE49-F238E27FC236}">
                  <a16:creationId xmlns:a16="http://schemas.microsoft.com/office/drawing/2014/main" id="{6C4A82E6-4D2D-3479-8090-36733CCC701B}"/>
                </a:ext>
              </a:extLst>
            </p:cNvPr>
            <p:cNvSpPr/>
            <p:nvPr/>
          </p:nvSpPr>
          <p:spPr>
            <a:xfrm>
              <a:off x="9009450" y="912168"/>
              <a:ext cx="24866" cy="31440"/>
            </a:xfrm>
            <a:custGeom>
              <a:avLst/>
              <a:gdLst>
                <a:gd name="connsiteX0" fmla="*/ 0 w 66231"/>
                <a:gd name="connsiteY0" fmla="*/ 87344 h 87343"/>
                <a:gd name="connsiteX1" fmla="*/ 46611 w 66231"/>
                <a:gd name="connsiteY1" fmla="*/ 87344 h 87343"/>
                <a:gd name="connsiteX2" fmla="*/ 66232 w 66231"/>
                <a:gd name="connsiteY2" fmla="*/ 0 h 87343"/>
                <a:gd name="connsiteX3" fmla="*/ 0 w 66231"/>
                <a:gd name="connsiteY3" fmla="*/ 87344 h 87343"/>
              </a:gdLst>
              <a:ahLst/>
              <a:cxnLst>
                <a:cxn ang="0">
                  <a:pos x="connsiteX0" y="connsiteY0"/>
                </a:cxn>
                <a:cxn ang="0">
                  <a:pos x="connsiteX1" y="connsiteY1"/>
                </a:cxn>
                <a:cxn ang="0">
                  <a:pos x="connsiteX2" y="connsiteY2"/>
                </a:cxn>
                <a:cxn ang="0">
                  <a:pos x="connsiteX3" y="connsiteY3"/>
                </a:cxn>
              </a:cxnLst>
              <a:rect l="l" t="t" r="r" b="b"/>
              <a:pathLst>
                <a:path w="66231" h="87343">
                  <a:moveTo>
                    <a:pt x="0" y="87344"/>
                  </a:moveTo>
                  <a:lnTo>
                    <a:pt x="46611" y="87344"/>
                  </a:lnTo>
                  <a:cubicBezTo>
                    <a:pt x="47927" y="54949"/>
                    <a:pt x="54618" y="22733"/>
                    <a:pt x="66232" y="0"/>
                  </a:cubicBezTo>
                  <a:cubicBezTo>
                    <a:pt x="30367" y="14363"/>
                    <a:pt x="4473" y="47583"/>
                    <a:pt x="0" y="87344"/>
                  </a:cubicBezTo>
                  <a:close/>
                </a:path>
              </a:pathLst>
            </a:custGeom>
            <a:solidFill>
              <a:schemeClr val="accent1"/>
            </a:solid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00" name="Forma libre 158">
              <a:extLst>
                <a:ext uri="{FF2B5EF4-FFF2-40B4-BE49-F238E27FC236}">
                  <a16:creationId xmlns:a16="http://schemas.microsoft.com/office/drawing/2014/main" id="{1DBCFA61-B4B0-A54D-A68F-A6C4ED59E69D}"/>
                </a:ext>
              </a:extLst>
            </p:cNvPr>
            <p:cNvSpPr/>
            <p:nvPr/>
          </p:nvSpPr>
          <p:spPr>
            <a:xfrm>
              <a:off x="9064049" y="912168"/>
              <a:ext cx="24866" cy="31440"/>
            </a:xfrm>
            <a:custGeom>
              <a:avLst/>
              <a:gdLst>
                <a:gd name="connsiteX0" fmla="*/ 66232 w 66231"/>
                <a:gd name="connsiteY0" fmla="*/ 87344 h 87343"/>
                <a:gd name="connsiteX1" fmla="*/ 0 w 66231"/>
                <a:gd name="connsiteY1" fmla="*/ 0 h 87343"/>
                <a:gd name="connsiteX2" fmla="*/ 19621 w 66231"/>
                <a:gd name="connsiteY2" fmla="*/ 87344 h 87343"/>
                <a:gd name="connsiteX3" fmla="*/ 66232 w 66231"/>
                <a:gd name="connsiteY3" fmla="*/ 87344 h 87343"/>
              </a:gdLst>
              <a:ahLst/>
              <a:cxnLst>
                <a:cxn ang="0">
                  <a:pos x="connsiteX0" y="connsiteY0"/>
                </a:cxn>
                <a:cxn ang="0">
                  <a:pos x="connsiteX1" y="connsiteY1"/>
                </a:cxn>
                <a:cxn ang="0">
                  <a:pos x="connsiteX2" y="connsiteY2"/>
                </a:cxn>
                <a:cxn ang="0">
                  <a:pos x="connsiteX3" y="connsiteY3"/>
                </a:cxn>
              </a:cxnLst>
              <a:rect l="l" t="t" r="r" b="b"/>
              <a:pathLst>
                <a:path w="66231" h="87343">
                  <a:moveTo>
                    <a:pt x="66232" y="87344"/>
                  </a:moveTo>
                  <a:cubicBezTo>
                    <a:pt x="61759" y="47583"/>
                    <a:pt x="35865" y="14364"/>
                    <a:pt x="0" y="0"/>
                  </a:cubicBezTo>
                  <a:cubicBezTo>
                    <a:pt x="11614" y="22734"/>
                    <a:pt x="18304" y="54949"/>
                    <a:pt x="19621" y="87344"/>
                  </a:cubicBezTo>
                  <a:lnTo>
                    <a:pt x="66232" y="87344"/>
                  </a:lnTo>
                  <a:close/>
                </a:path>
              </a:pathLst>
            </a:custGeom>
            <a:solidFill>
              <a:schemeClr val="accent1"/>
            </a:solid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17" name="Forma libre 159">
              <a:extLst>
                <a:ext uri="{FF2B5EF4-FFF2-40B4-BE49-F238E27FC236}">
                  <a16:creationId xmlns:a16="http://schemas.microsoft.com/office/drawing/2014/main" id="{499B2E32-20EF-2E8B-26C5-0F761D1DB0C3}"/>
                </a:ext>
              </a:extLst>
            </p:cNvPr>
            <p:cNvSpPr/>
            <p:nvPr/>
          </p:nvSpPr>
          <p:spPr>
            <a:xfrm>
              <a:off x="9035967" y="909362"/>
              <a:ext cx="26432" cy="34246"/>
            </a:xfrm>
            <a:custGeom>
              <a:avLst/>
              <a:gdLst>
                <a:gd name="connsiteX0" fmla="*/ 35201 w 70401"/>
                <a:gd name="connsiteY0" fmla="*/ 0 h 95138"/>
                <a:gd name="connsiteX1" fmla="*/ 0 w 70401"/>
                <a:gd name="connsiteY1" fmla="*/ 95138 h 95138"/>
                <a:gd name="connsiteX2" fmla="*/ 70402 w 70401"/>
                <a:gd name="connsiteY2" fmla="*/ 95138 h 95138"/>
                <a:gd name="connsiteX3" fmla="*/ 35201 w 70401"/>
                <a:gd name="connsiteY3" fmla="*/ 0 h 95138"/>
              </a:gdLst>
              <a:ahLst/>
              <a:cxnLst>
                <a:cxn ang="0">
                  <a:pos x="connsiteX0" y="connsiteY0"/>
                </a:cxn>
                <a:cxn ang="0">
                  <a:pos x="connsiteX1" y="connsiteY1"/>
                </a:cxn>
                <a:cxn ang="0">
                  <a:pos x="connsiteX2" y="connsiteY2"/>
                </a:cxn>
                <a:cxn ang="0">
                  <a:pos x="connsiteX3" y="connsiteY3"/>
                </a:cxn>
              </a:cxnLst>
              <a:rect l="l" t="t" r="r" b="b"/>
              <a:pathLst>
                <a:path w="70401" h="95138">
                  <a:moveTo>
                    <a:pt x="35201" y="0"/>
                  </a:moveTo>
                  <a:cubicBezTo>
                    <a:pt x="21576" y="0"/>
                    <a:pt x="2413" y="36844"/>
                    <a:pt x="0" y="95138"/>
                  </a:cubicBezTo>
                  <a:lnTo>
                    <a:pt x="70402" y="95138"/>
                  </a:lnTo>
                  <a:cubicBezTo>
                    <a:pt x="67989" y="36844"/>
                    <a:pt x="48826" y="0"/>
                    <a:pt x="35201" y="0"/>
                  </a:cubicBezTo>
                  <a:close/>
                </a:path>
              </a:pathLst>
            </a:custGeom>
            <a:solidFill>
              <a:schemeClr val="accent1"/>
            </a:solid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18" name="Forma libre 161">
              <a:extLst>
                <a:ext uri="{FF2B5EF4-FFF2-40B4-BE49-F238E27FC236}">
                  <a16:creationId xmlns:a16="http://schemas.microsoft.com/office/drawing/2014/main" id="{F88A7E61-F0CE-4923-DE2C-C89A39670222}"/>
                </a:ext>
              </a:extLst>
            </p:cNvPr>
            <p:cNvSpPr/>
            <p:nvPr/>
          </p:nvSpPr>
          <p:spPr>
            <a:xfrm>
              <a:off x="9009450" y="952169"/>
              <a:ext cx="24866" cy="31440"/>
            </a:xfrm>
            <a:custGeom>
              <a:avLst/>
              <a:gdLst>
                <a:gd name="connsiteX0" fmla="*/ 0 w 66231"/>
                <a:gd name="connsiteY0" fmla="*/ 0 h 87343"/>
                <a:gd name="connsiteX1" fmla="*/ 66232 w 66231"/>
                <a:gd name="connsiteY1" fmla="*/ 87344 h 87343"/>
                <a:gd name="connsiteX2" fmla="*/ 46611 w 66231"/>
                <a:gd name="connsiteY2" fmla="*/ 0 h 87343"/>
                <a:gd name="connsiteX3" fmla="*/ 0 w 66231"/>
                <a:gd name="connsiteY3" fmla="*/ 0 h 87343"/>
              </a:gdLst>
              <a:ahLst/>
              <a:cxnLst>
                <a:cxn ang="0">
                  <a:pos x="connsiteX0" y="connsiteY0"/>
                </a:cxn>
                <a:cxn ang="0">
                  <a:pos x="connsiteX1" y="connsiteY1"/>
                </a:cxn>
                <a:cxn ang="0">
                  <a:pos x="connsiteX2" y="connsiteY2"/>
                </a:cxn>
                <a:cxn ang="0">
                  <a:pos x="connsiteX3" y="connsiteY3"/>
                </a:cxn>
              </a:cxnLst>
              <a:rect l="l" t="t" r="r" b="b"/>
              <a:pathLst>
                <a:path w="66231" h="87343">
                  <a:moveTo>
                    <a:pt x="0" y="0"/>
                  </a:moveTo>
                  <a:cubicBezTo>
                    <a:pt x="4473" y="39761"/>
                    <a:pt x="30367" y="72979"/>
                    <a:pt x="66232" y="87344"/>
                  </a:cubicBezTo>
                  <a:cubicBezTo>
                    <a:pt x="54618" y="64610"/>
                    <a:pt x="47927" y="32395"/>
                    <a:pt x="46611" y="0"/>
                  </a:cubicBezTo>
                  <a:lnTo>
                    <a:pt x="0" y="0"/>
                  </a:lnTo>
                  <a:close/>
                </a:path>
              </a:pathLst>
            </a:custGeom>
            <a:solidFill>
              <a:schemeClr val="accent1"/>
            </a:solid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19" name="Forma libre 162">
              <a:extLst>
                <a:ext uri="{FF2B5EF4-FFF2-40B4-BE49-F238E27FC236}">
                  <a16:creationId xmlns:a16="http://schemas.microsoft.com/office/drawing/2014/main" id="{AC1E3441-9FEC-7C55-02F4-86D139D87C11}"/>
                </a:ext>
              </a:extLst>
            </p:cNvPr>
            <p:cNvSpPr/>
            <p:nvPr/>
          </p:nvSpPr>
          <p:spPr>
            <a:xfrm>
              <a:off x="9064049" y="952169"/>
              <a:ext cx="24866" cy="31440"/>
            </a:xfrm>
            <a:custGeom>
              <a:avLst/>
              <a:gdLst>
                <a:gd name="connsiteX0" fmla="*/ 0 w 66231"/>
                <a:gd name="connsiteY0" fmla="*/ 87344 h 87343"/>
                <a:gd name="connsiteX1" fmla="*/ 66232 w 66231"/>
                <a:gd name="connsiteY1" fmla="*/ 0 h 87343"/>
                <a:gd name="connsiteX2" fmla="*/ 19621 w 66231"/>
                <a:gd name="connsiteY2" fmla="*/ 0 h 87343"/>
                <a:gd name="connsiteX3" fmla="*/ 0 w 66231"/>
                <a:gd name="connsiteY3" fmla="*/ 87344 h 87343"/>
              </a:gdLst>
              <a:ahLst/>
              <a:cxnLst>
                <a:cxn ang="0">
                  <a:pos x="connsiteX0" y="connsiteY0"/>
                </a:cxn>
                <a:cxn ang="0">
                  <a:pos x="connsiteX1" y="connsiteY1"/>
                </a:cxn>
                <a:cxn ang="0">
                  <a:pos x="connsiteX2" y="connsiteY2"/>
                </a:cxn>
                <a:cxn ang="0">
                  <a:pos x="connsiteX3" y="connsiteY3"/>
                </a:cxn>
              </a:cxnLst>
              <a:rect l="l" t="t" r="r" b="b"/>
              <a:pathLst>
                <a:path w="66231" h="87343">
                  <a:moveTo>
                    <a:pt x="0" y="87344"/>
                  </a:moveTo>
                  <a:cubicBezTo>
                    <a:pt x="35865" y="72979"/>
                    <a:pt x="61760" y="39760"/>
                    <a:pt x="66232" y="0"/>
                  </a:cubicBezTo>
                  <a:lnTo>
                    <a:pt x="19621" y="0"/>
                  </a:lnTo>
                  <a:cubicBezTo>
                    <a:pt x="18304" y="32395"/>
                    <a:pt x="11613" y="64611"/>
                    <a:pt x="0" y="87344"/>
                  </a:cubicBezTo>
                  <a:close/>
                </a:path>
              </a:pathLst>
            </a:custGeom>
            <a:solidFill>
              <a:schemeClr val="accent1"/>
            </a:solid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20" name="Gráfico 53">
              <a:extLst>
                <a:ext uri="{FF2B5EF4-FFF2-40B4-BE49-F238E27FC236}">
                  <a16:creationId xmlns:a16="http://schemas.microsoft.com/office/drawing/2014/main" id="{A97D3A79-0998-F7FE-BF51-57975654A2D3}"/>
                </a:ext>
              </a:extLst>
            </p:cNvPr>
            <p:cNvSpPr/>
            <p:nvPr/>
          </p:nvSpPr>
          <p:spPr>
            <a:xfrm>
              <a:off x="9096844" y="1007674"/>
              <a:ext cx="55474" cy="70915"/>
            </a:xfrm>
            <a:custGeom>
              <a:avLst/>
              <a:gdLst>
                <a:gd name="connsiteX0" fmla="*/ 392446 w 428123"/>
                <a:gd name="connsiteY0" fmla="*/ 71354 h 570831"/>
                <a:gd name="connsiteX1" fmla="*/ 321092 w 428123"/>
                <a:gd name="connsiteY1" fmla="*/ 71354 h 570831"/>
                <a:gd name="connsiteX2" fmla="*/ 321092 w 428123"/>
                <a:gd name="connsiteY2" fmla="*/ 0 h 570831"/>
                <a:gd name="connsiteX3" fmla="*/ 107031 w 428123"/>
                <a:gd name="connsiteY3" fmla="*/ 0 h 570831"/>
                <a:gd name="connsiteX4" fmla="*/ 107031 w 428123"/>
                <a:gd name="connsiteY4" fmla="*/ 71354 h 570831"/>
                <a:gd name="connsiteX5" fmla="*/ 35677 w 428123"/>
                <a:gd name="connsiteY5" fmla="*/ 71354 h 570831"/>
                <a:gd name="connsiteX6" fmla="*/ 0 w 428123"/>
                <a:gd name="connsiteY6" fmla="*/ 107031 h 570831"/>
                <a:gd name="connsiteX7" fmla="*/ 0 w 428123"/>
                <a:gd name="connsiteY7" fmla="*/ 535154 h 570831"/>
                <a:gd name="connsiteX8" fmla="*/ 35677 w 428123"/>
                <a:gd name="connsiteY8" fmla="*/ 570831 h 570831"/>
                <a:gd name="connsiteX9" fmla="*/ 392446 w 428123"/>
                <a:gd name="connsiteY9" fmla="*/ 570831 h 570831"/>
                <a:gd name="connsiteX10" fmla="*/ 428123 w 428123"/>
                <a:gd name="connsiteY10" fmla="*/ 535154 h 570831"/>
                <a:gd name="connsiteX11" fmla="*/ 428123 w 428123"/>
                <a:gd name="connsiteY11" fmla="*/ 107031 h 570831"/>
                <a:gd name="connsiteX12" fmla="*/ 392446 w 428123"/>
                <a:gd name="connsiteY12" fmla="*/ 71354 h 570831"/>
                <a:gd name="connsiteX13" fmla="*/ 214062 w 428123"/>
                <a:gd name="connsiteY13" fmla="*/ 499477 h 570831"/>
                <a:gd name="connsiteX14" fmla="*/ 196223 w 428123"/>
                <a:gd name="connsiteY14" fmla="*/ 356769 h 570831"/>
                <a:gd name="connsiteX15" fmla="*/ 124869 w 428123"/>
                <a:gd name="connsiteY15" fmla="*/ 356769 h 570831"/>
                <a:gd name="connsiteX16" fmla="*/ 214062 w 428123"/>
                <a:gd name="connsiteY16" fmla="*/ 142708 h 570831"/>
                <a:gd name="connsiteX17" fmla="*/ 231900 w 428123"/>
                <a:gd name="connsiteY17" fmla="*/ 285416 h 570831"/>
                <a:gd name="connsiteX18" fmla="*/ 303253 w 428123"/>
                <a:gd name="connsiteY18" fmla="*/ 285416 h 570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8123" h="570831">
                  <a:moveTo>
                    <a:pt x="392446" y="71354"/>
                  </a:moveTo>
                  <a:lnTo>
                    <a:pt x="321092" y="71354"/>
                  </a:lnTo>
                  <a:lnTo>
                    <a:pt x="321092" y="0"/>
                  </a:lnTo>
                  <a:lnTo>
                    <a:pt x="107031" y="0"/>
                  </a:lnTo>
                  <a:lnTo>
                    <a:pt x="107031" y="71354"/>
                  </a:lnTo>
                  <a:lnTo>
                    <a:pt x="35677" y="71354"/>
                  </a:lnTo>
                  <a:cubicBezTo>
                    <a:pt x="15974" y="71354"/>
                    <a:pt x="0" y="87328"/>
                    <a:pt x="0" y="107031"/>
                  </a:cubicBezTo>
                  <a:lnTo>
                    <a:pt x="0" y="535154"/>
                  </a:lnTo>
                  <a:cubicBezTo>
                    <a:pt x="0" y="554857"/>
                    <a:pt x="15974" y="570831"/>
                    <a:pt x="35677" y="570831"/>
                  </a:cubicBezTo>
                  <a:lnTo>
                    <a:pt x="392446" y="570831"/>
                  </a:lnTo>
                  <a:cubicBezTo>
                    <a:pt x="412149" y="570831"/>
                    <a:pt x="428123" y="554857"/>
                    <a:pt x="428123" y="535154"/>
                  </a:cubicBezTo>
                  <a:lnTo>
                    <a:pt x="428123" y="107031"/>
                  </a:lnTo>
                  <a:cubicBezTo>
                    <a:pt x="428123" y="87328"/>
                    <a:pt x="412148" y="71354"/>
                    <a:pt x="392446" y="71354"/>
                  </a:cubicBezTo>
                  <a:close/>
                  <a:moveTo>
                    <a:pt x="214062" y="499477"/>
                  </a:moveTo>
                  <a:lnTo>
                    <a:pt x="196223" y="356769"/>
                  </a:lnTo>
                  <a:lnTo>
                    <a:pt x="124869" y="356769"/>
                  </a:lnTo>
                  <a:lnTo>
                    <a:pt x="214062" y="142708"/>
                  </a:lnTo>
                  <a:lnTo>
                    <a:pt x="231900" y="285416"/>
                  </a:lnTo>
                  <a:lnTo>
                    <a:pt x="303253" y="285416"/>
                  </a:lnTo>
                  <a:close/>
                </a:path>
              </a:pathLst>
            </a:custGeom>
            <a:solidFill>
              <a:schemeClr val="accent1"/>
            </a:solidFill>
            <a:ln w="10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21" name="Rectangle: Rounded Corners 42">
              <a:extLst>
                <a:ext uri="{FF2B5EF4-FFF2-40B4-BE49-F238E27FC236}">
                  <a16:creationId xmlns:a16="http://schemas.microsoft.com/office/drawing/2014/main" id="{13D71D10-EC93-E88A-E6BF-6DB0D96DF0B0}"/>
                </a:ext>
              </a:extLst>
            </p:cNvPr>
            <p:cNvSpPr/>
            <p:nvPr/>
          </p:nvSpPr>
          <p:spPr>
            <a:xfrm>
              <a:off x="9231555" y="1110423"/>
              <a:ext cx="349890" cy="6003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sp>
          <p:nvSpPr>
            <p:cNvPr id="122" name="Rectangle: Rounded Corners 43">
              <a:extLst>
                <a:ext uri="{FF2B5EF4-FFF2-40B4-BE49-F238E27FC236}">
                  <a16:creationId xmlns:a16="http://schemas.microsoft.com/office/drawing/2014/main" id="{CD70F195-9657-176C-B6D9-49D69FA59743}"/>
                </a:ext>
              </a:extLst>
            </p:cNvPr>
            <p:cNvSpPr/>
            <p:nvPr/>
          </p:nvSpPr>
          <p:spPr>
            <a:xfrm>
              <a:off x="9037320" y="1106219"/>
              <a:ext cx="174289" cy="21917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sp>
          <p:nvSpPr>
            <p:cNvPr id="123" name="Rectangle: Rounded Corners 44">
              <a:extLst>
                <a:ext uri="{FF2B5EF4-FFF2-40B4-BE49-F238E27FC236}">
                  <a16:creationId xmlns:a16="http://schemas.microsoft.com/office/drawing/2014/main" id="{577AC0B2-793F-B8AD-B0FB-B8193A40C174}"/>
                </a:ext>
              </a:extLst>
            </p:cNvPr>
            <p:cNvSpPr/>
            <p:nvPr/>
          </p:nvSpPr>
          <p:spPr>
            <a:xfrm>
              <a:off x="9041089" y="1353023"/>
              <a:ext cx="176551" cy="12691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sp>
          <p:nvSpPr>
            <p:cNvPr id="124" name="Rectangle: Rounded Corners 45">
              <a:extLst>
                <a:ext uri="{FF2B5EF4-FFF2-40B4-BE49-F238E27FC236}">
                  <a16:creationId xmlns:a16="http://schemas.microsoft.com/office/drawing/2014/main" id="{FA0AD930-87D5-F60F-63D9-BD97EB5E7104}"/>
                </a:ext>
              </a:extLst>
            </p:cNvPr>
            <p:cNvSpPr/>
            <p:nvPr/>
          </p:nvSpPr>
          <p:spPr>
            <a:xfrm>
              <a:off x="9231555" y="1186476"/>
              <a:ext cx="349890" cy="6003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sp>
          <p:nvSpPr>
            <p:cNvPr id="126" name="Forma libre 160">
              <a:extLst>
                <a:ext uri="{FF2B5EF4-FFF2-40B4-BE49-F238E27FC236}">
                  <a16:creationId xmlns:a16="http://schemas.microsoft.com/office/drawing/2014/main" id="{7FE4D339-DE84-DFDA-745C-D3A28E063C89}"/>
                </a:ext>
              </a:extLst>
            </p:cNvPr>
            <p:cNvSpPr/>
            <p:nvPr/>
          </p:nvSpPr>
          <p:spPr>
            <a:xfrm>
              <a:off x="8977745" y="875116"/>
              <a:ext cx="142874" cy="179791"/>
            </a:xfrm>
            <a:custGeom>
              <a:avLst/>
              <a:gdLst>
                <a:gd name="connsiteX0" fmla="*/ 285416 w 380553"/>
                <a:gd name="connsiteY0" fmla="*/ 440016 h 499477"/>
                <a:gd name="connsiteX1" fmla="*/ 371042 w 380553"/>
                <a:gd name="connsiteY1" fmla="*/ 335145 h 499477"/>
                <a:gd name="connsiteX2" fmla="*/ 380554 w 380553"/>
                <a:gd name="connsiteY2" fmla="*/ 323496 h 499477"/>
                <a:gd name="connsiteX3" fmla="*/ 380554 w 380553"/>
                <a:gd name="connsiteY3" fmla="*/ 47570 h 499477"/>
                <a:gd name="connsiteX4" fmla="*/ 332985 w 380553"/>
                <a:gd name="connsiteY4" fmla="*/ 0 h 499477"/>
                <a:gd name="connsiteX5" fmla="*/ 47570 w 380553"/>
                <a:gd name="connsiteY5" fmla="*/ 0 h 499477"/>
                <a:gd name="connsiteX6" fmla="*/ 0 w 380553"/>
                <a:gd name="connsiteY6" fmla="*/ 47570 h 499477"/>
                <a:gd name="connsiteX7" fmla="*/ 0 w 380553"/>
                <a:gd name="connsiteY7" fmla="*/ 451909 h 499477"/>
                <a:gd name="connsiteX8" fmla="*/ 47570 w 380553"/>
                <a:gd name="connsiteY8" fmla="*/ 499477 h 499477"/>
                <a:gd name="connsiteX9" fmla="*/ 283604 w 380553"/>
                <a:gd name="connsiteY9" fmla="*/ 499477 h 499477"/>
                <a:gd name="connsiteX10" fmla="*/ 293557 w 380553"/>
                <a:gd name="connsiteY10" fmla="*/ 494089 h 499477"/>
                <a:gd name="connsiteX11" fmla="*/ 294498 w 380553"/>
                <a:gd name="connsiteY11" fmla="*/ 482800 h 499477"/>
                <a:gd name="connsiteX12" fmla="*/ 285416 w 380553"/>
                <a:gd name="connsiteY12" fmla="*/ 440016 h 499477"/>
                <a:gd name="connsiteX13" fmla="*/ 225954 w 380553"/>
                <a:gd name="connsiteY13" fmla="*/ 428123 h 499477"/>
                <a:gd name="connsiteX14" fmla="*/ 154600 w 380553"/>
                <a:gd name="connsiteY14" fmla="*/ 428123 h 499477"/>
                <a:gd name="connsiteX15" fmla="*/ 142708 w 380553"/>
                <a:gd name="connsiteY15" fmla="*/ 416231 h 499477"/>
                <a:gd name="connsiteX16" fmla="*/ 154600 w 380553"/>
                <a:gd name="connsiteY16" fmla="*/ 404338 h 499477"/>
                <a:gd name="connsiteX17" fmla="*/ 225954 w 380553"/>
                <a:gd name="connsiteY17" fmla="*/ 404338 h 499477"/>
                <a:gd name="connsiteX18" fmla="*/ 237847 w 380553"/>
                <a:gd name="connsiteY18" fmla="*/ 416231 h 499477"/>
                <a:gd name="connsiteX19" fmla="*/ 225954 w 380553"/>
                <a:gd name="connsiteY19" fmla="*/ 428123 h 499477"/>
                <a:gd name="connsiteX20" fmla="*/ 261631 w 380553"/>
                <a:gd name="connsiteY20" fmla="*/ 380554 h 499477"/>
                <a:gd name="connsiteX21" fmla="*/ 83247 w 380553"/>
                <a:gd name="connsiteY21" fmla="*/ 380554 h 499477"/>
                <a:gd name="connsiteX22" fmla="*/ 71354 w 380553"/>
                <a:gd name="connsiteY22" fmla="*/ 368661 h 499477"/>
                <a:gd name="connsiteX23" fmla="*/ 83247 w 380553"/>
                <a:gd name="connsiteY23" fmla="*/ 356769 h 499477"/>
                <a:gd name="connsiteX24" fmla="*/ 261631 w 380553"/>
                <a:gd name="connsiteY24" fmla="*/ 356769 h 499477"/>
                <a:gd name="connsiteX25" fmla="*/ 273524 w 380553"/>
                <a:gd name="connsiteY25" fmla="*/ 368662 h 499477"/>
                <a:gd name="connsiteX26" fmla="*/ 261631 w 380553"/>
                <a:gd name="connsiteY26" fmla="*/ 380554 h 499477"/>
                <a:gd name="connsiteX27" fmla="*/ 190277 w 380553"/>
                <a:gd name="connsiteY27" fmla="*/ 332985 h 499477"/>
                <a:gd name="connsiteX28" fmla="*/ 59462 w 380553"/>
                <a:gd name="connsiteY28" fmla="*/ 202170 h 499477"/>
                <a:gd name="connsiteX29" fmla="*/ 190277 w 380553"/>
                <a:gd name="connsiteY29" fmla="*/ 71354 h 499477"/>
                <a:gd name="connsiteX30" fmla="*/ 321092 w 380553"/>
                <a:gd name="connsiteY30" fmla="*/ 202169 h 499477"/>
                <a:gd name="connsiteX31" fmla="*/ 190277 w 380553"/>
                <a:gd name="connsiteY31" fmla="*/ 332985 h 49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80553" h="499477">
                  <a:moveTo>
                    <a:pt x="285416" y="440016"/>
                  </a:moveTo>
                  <a:cubicBezTo>
                    <a:pt x="285416" y="389369"/>
                    <a:pt x="321429" y="345272"/>
                    <a:pt x="371042" y="335145"/>
                  </a:cubicBezTo>
                  <a:cubicBezTo>
                    <a:pt x="376570" y="334019"/>
                    <a:pt x="380554" y="329152"/>
                    <a:pt x="380554" y="323496"/>
                  </a:cubicBezTo>
                  <a:lnTo>
                    <a:pt x="380554" y="47570"/>
                  </a:lnTo>
                  <a:cubicBezTo>
                    <a:pt x="380555" y="21334"/>
                    <a:pt x="359220" y="0"/>
                    <a:pt x="332985" y="0"/>
                  </a:cubicBezTo>
                  <a:lnTo>
                    <a:pt x="47570" y="0"/>
                  </a:lnTo>
                  <a:cubicBezTo>
                    <a:pt x="21335" y="0"/>
                    <a:pt x="0" y="21334"/>
                    <a:pt x="0" y="47570"/>
                  </a:cubicBezTo>
                  <a:lnTo>
                    <a:pt x="0" y="451909"/>
                  </a:lnTo>
                  <a:cubicBezTo>
                    <a:pt x="0" y="478143"/>
                    <a:pt x="21335" y="499477"/>
                    <a:pt x="47570" y="499477"/>
                  </a:cubicBezTo>
                  <a:lnTo>
                    <a:pt x="283604" y="499477"/>
                  </a:lnTo>
                  <a:cubicBezTo>
                    <a:pt x="287622" y="499477"/>
                    <a:pt x="291361" y="497445"/>
                    <a:pt x="293557" y="494089"/>
                  </a:cubicBezTo>
                  <a:cubicBezTo>
                    <a:pt x="295752" y="490721"/>
                    <a:pt x="296112" y="486482"/>
                    <a:pt x="294498" y="482800"/>
                  </a:cubicBezTo>
                  <a:cubicBezTo>
                    <a:pt x="288470" y="469085"/>
                    <a:pt x="285416" y="454695"/>
                    <a:pt x="285416" y="440016"/>
                  </a:cubicBezTo>
                  <a:close/>
                  <a:moveTo>
                    <a:pt x="225954" y="428123"/>
                  </a:moveTo>
                  <a:lnTo>
                    <a:pt x="154600" y="428123"/>
                  </a:lnTo>
                  <a:cubicBezTo>
                    <a:pt x="148027" y="428123"/>
                    <a:pt x="142708" y="422804"/>
                    <a:pt x="142708" y="416231"/>
                  </a:cubicBezTo>
                  <a:cubicBezTo>
                    <a:pt x="142708" y="409657"/>
                    <a:pt x="148027" y="404338"/>
                    <a:pt x="154600" y="404338"/>
                  </a:cubicBezTo>
                  <a:lnTo>
                    <a:pt x="225954" y="404338"/>
                  </a:lnTo>
                  <a:cubicBezTo>
                    <a:pt x="232528" y="404338"/>
                    <a:pt x="237847" y="409657"/>
                    <a:pt x="237847" y="416231"/>
                  </a:cubicBezTo>
                  <a:cubicBezTo>
                    <a:pt x="237847" y="422804"/>
                    <a:pt x="232528" y="428123"/>
                    <a:pt x="225954" y="428123"/>
                  </a:cubicBezTo>
                  <a:close/>
                  <a:moveTo>
                    <a:pt x="261631" y="380554"/>
                  </a:moveTo>
                  <a:lnTo>
                    <a:pt x="83247" y="380554"/>
                  </a:lnTo>
                  <a:cubicBezTo>
                    <a:pt x="76673" y="380554"/>
                    <a:pt x="71354" y="375234"/>
                    <a:pt x="71354" y="368661"/>
                  </a:cubicBezTo>
                  <a:cubicBezTo>
                    <a:pt x="71354" y="362089"/>
                    <a:pt x="76673" y="356769"/>
                    <a:pt x="83247" y="356769"/>
                  </a:cubicBezTo>
                  <a:lnTo>
                    <a:pt x="261631" y="356769"/>
                  </a:lnTo>
                  <a:cubicBezTo>
                    <a:pt x="268205" y="356769"/>
                    <a:pt x="273524" y="362089"/>
                    <a:pt x="273524" y="368662"/>
                  </a:cubicBezTo>
                  <a:cubicBezTo>
                    <a:pt x="273524" y="375236"/>
                    <a:pt x="268205" y="380554"/>
                    <a:pt x="261631" y="380554"/>
                  </a:cubicBezTo>
                  <a:close/>
                  <a:moveTo>
                    <a:pt x="190277" y="332985"/>
                  </a:moveTo>
                  <a:cubicBezTo>
                    <a:pt x="118145" y="332985"/>
                    <a:pt x="59462" y="274302"/>
                    <a:pt x="59462" y="202170"/>
                  </a:cubicBezTo>
                  <a:cubicBezTo>
                    <a:pt x="59462" y="130038"/>
                    <a:pt x="118145" y="71354"/>
                    <a:pt x="190277" y="71354"/>
                  </a:cubicBezTo>
                  <a:cubicBezTo>
                    <a:pt x="262409" y="71354"/>
                    <a:pt x="321092" y="130037"/>
                    <a:pt x="321092" y="202169"/>
                  </a:cubicBezTo>
                  <a:cubicBezTo>
                    <a:pt x="321092" y="274301"/>
                    <a:pt x="262409" y="332985"/>
                    <a:pt x="190277" y="332985"/>
                  </a:cubicBezTo>
                  <a:close/>
                </a:path>
              </a:pathLst>
            </a:custGeom>
            <a:solidFill>
              <a:schemeClr val="accent1"/>
            </a:solid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27" name="Rectangle: Rounded Corners 46">
              <a:extLst>
                <a:ext uri="{FF2B5EF4-FFF2-40B4-BE49-F238E27FC236}">
                  <a16:creationId xmlns:a16="http://schemas.microsoft.com/office/drawing/2014/main" id="{B57CC1D1-F7C8-B540-D7B5-F6C461077CBA}"/>
                </a:ext>
              </a:extLst>
            </p:cNvPr>
            <p:cNvSpPr/>
            <p:nvPr/>
          </p:nvSpPr>
          <p:spPr>
            <a:xfrm>
              <a:off x="9230376" y="1263639"/>
              <a:ext cx="351069" cy="6003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sp>
          <p:nvSpPr>
            <p:cNvPr id="128" name="Rectangle: Rounded Corners 47">
              <a:extLst>
                <a:ext uri="{FF2B5EF4-FFF2-40B4-BE49-F238E27FC236}">
                  <a16:creationId xmlns:a16="http://schemas.microsoft.com/office/drawing/2014/main" id="{49FF04F4-F91C-BC34-652E-36B6EE6EF032}"/>
                </a:ext>
              </a:extLst>
            </p:cNvPr>
            <p:cNvSpPr/>
            <p:nvPr/>
          </p:nvSpPr>
          <p:spPr>
            <a:xfrm>
              <a:off x="9039826" y="1503756"/>
              <a:ext cx="549219" cy="12691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grpSp>
          <p:nvGrpSpPr>
            <p:cNvPr id="129" name="Gráfico 77">
              <a:extLst>
                <a:ext uri="{FF2B5EF4-FFF2-40B4-BE49-F238E27FC236}">
                  <a16:creationId xmlns:a16="http://schemas.microsoft.com/office/drawing/2014/main" id="{0D513294-7071-A822-7F0B-6B8D2E907A85}"/>
                </a:ext>
              </a:extLst>
            </p:cNvPr>
            <p:cNvGrpSpPr/>
            <p:nvPr/>
          </p:nvGrpSpPr>
          <p:grpSpPr>
            <a:xfrm>
              <a:off x="9055634" y="1533211"/>
              <a:ext cx="78520" cy="75282"/>
              <a:chOff x="7427271" y="2932309"/>
              <a:chExt cx="570829" cy="570830"/>
            </a:xfrm>
            <a:solidFill>
              <a:schemeClr val="bg1"/>
            </a:solidFill>
          </p:grpSpPr>
          <p:sp>
            <p:nvSpPr>
              <p:cNvPr id="168" name="Forma libre 199">
                <a:extLst>
                  <a:ext uri="{FF2B5EF4-FFF2-40B4-BE49-F238E27FC236}">
                    <a16:creationId xmlns:a16="http://schemas.microsoft.com/office/drawing/2014/main" id="{DCFB471E-B590-E3FD-5565-A9DADC622E80}"/>
                  </a:ext>
                </a:extLst>
              </p:cNvPr>
              <p:cNvSpPr/>
              <p:nvPr/>
            </p:nvSpPr>
            <p:spPr>
              <a:xfrm>
                <a:off x="7427271" y="2932309"/>
                <a:ext cx="523262" cy="237845"/>
              </a:xfrm>
              <a:custGeom>
                <a:avLst/>
                <a:gdLst>
                  <a:gd name="connsiteX0" fmla="*/ 261631 w 523262"/>
                  <a:gd name="connsiteY0" fmla="*/ 237846 h 237845"/>
                  <a:gd name="connsiteX1" fmla="*/ 523263 w 523262"/>
                  <a:gd name="connsiteY1" fmla="*/ 154599 h 237845"/>
                  <a:gd name="connsiteX2" fmla="*/ 523263 w 523262"/>
                  <a:gd name="connsiteY2" fmla="*/ 71354 h 237845"/>
                  <a:gd name="connsiteX3" fmla="*/ 261631 w 523262"/>
                  <a:gd name="connsiteY3" fmla="*/ 0 h 237845"/>
                  <a:gd name="connsiteX4" fmla="*/ 0 w 523262"/>
                  <a:gd name="connsiteY4" fmla="*/ 71354 h 237845"/>
                  <a:gd name="connsiteX5" fmla="*/ 0 w 523262"/>
                  <a:gd name="connsiteY5" fmla="*/ 154600 h 237845"/>
                  <a:gd name="connsiteX6" fmla="*/ 261631 w 523262"/>
                  <a:gd name="connsiteY6" fmla="*/ 237846 h 237845"/>
                  <a:gd name="connsiteX7" fmla="*/ 261631 w 523262"/>
                  <a:gd name="connsiteY7" fmla="*/ 23784 h 237845"/>
                  <a:gd name="connsiteX8" fmla="*/ 475693 w 523262"/>
                  <a:gd name="connsiteY8" fmla="*/ 71354 h 237845"/>
                  <a:gd name="connsiteX9" fmla="*/ 261631 w 523262"/>
                  <a:gd name="connsiteY9" fmla="*/ 118924 h 237845"/>
                  <a:gd name="connsiteX10" fmla="*/ 47570 w 523262"/>
                  <a:gd name="connsiteY10" fmla="*/ 71354 h 237845"/>
                  <a:gd name="connsiteX11" fmla="*/ 261631 w 523262"/>
                  <a:gd name="connsiteY11" fmla="*/ 23784 h 237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3262" h="237845">
                    <a:moveTo>
                      <a:pt x="261631" y="237846"/>
                    </a:moveTo>
                    <a:cubicBezTo>
                      <a:pt x="391634" y="237846"/>
                      <a:pt x="523263" y="209253"/>
                      <a:pt x="523263" y="154599"/>
                    </a:cubicBezTo>
                    <a:lnTo>
                      <a:pt x="523263" y="71354"/>
                    </a:lnTo>
                    <a:cubicBezTo>
                      <a:pt x="523263" y="22333"/>
                      <a:pt x="387639" y="0"/>
                      <a:pt x="261631" y="0"/>
                    </a:cubicBezTo>
                    <a:cubicBezTo>
                      <a:pt x="135624" y="0"/>
                      <a:pt x="0" y="22333"/>
                      <a:pt x="0" y="71354"/>
                    </a:cubicBezTo>
                    <a:lnTo>
                      <a:pt x="0" y="154600"/>
                    </a:lnTo>
                    <a:cubicBezTo>
                      <a:pt x="0" y="209254"/>
                      <a:pt x="131629" y="237846"/>
                      <a:pt x="261631" y="237846"/>
                    </a:cubicBezTo>
                    <a:close/>
                    <a:moveTo>
                      <a:pt x="261631" y="23784"/>
                    </a:moveTo>
                    <a:cubicBezTo>
                      <a:pt x="400135" y="23784"/>
                      <a:pt x="475693" y="55211"/>
                      <a:pt x="475693" y="71354"/>
                    </a:cubicBezTo>
                    <a:cubicBezTo>
                      <a:pt x="475693" y="87497"/>
                      <a:pt x="400135" y="118924"/>
                      <a:pt x="261631" y="118924"/>
                    </a:cubicBezTo>
                    <a:cubicBezTo>
                      <a:pt x="123128" y="118924"/>
                      <a:pt x="47570" y="87497"/>
                      <a:pt x="47570" y="71354"/>
                    </a:cubicBezTo>
                    <a:cubicBezTo>
                      <a:pt x="47570" y="55211"/>
                      <a:pt x="123128" y="23784"/>
                      <a:pt x="261631" y="23784"/>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69" name="Forma libre 200">
                <a:extLst>
                  <a:ext uri="{FF2B5EF4-FFF2-40B4-BE49-F238E27FC236}">
                    <a16:creationId xmlns:a16="http://schemas.microsoft.com/office/drawing/2014/main" id="{FF48EC02-8B63-281B-178E-B763E9CC5E7B}"/>
                  </a:ext>
                </a:extLst>
              </p:cNvPr>
              <p:cNvSpPr/>
              <p:nvPr/>
            </p:nvSpPr>
            <p:spPr>
              <a:xfrm>
                <a:off x="7427271" y="3146452"/>
                <a:ext cx="523261" cy="166410"/>
              </a:xfrm>
              <a:custGeom>
                <a:avLst/>
                <a:gdLst>
                  <a:gd name="connsiteX0" fmla="*/ 360881 w 523261"/>
                  <a:gd name="connsiteY0" fmla="*/ 152741 h 166410"/>
                  <a:gd name="connsiteX1" fmla="*/ 463800 w 523261"/>
                  <a:gd name="connsiteY1" fmla="*/ 71272 h 166410"/>
                  <a:gd name="connsiteX2" fmla="*/ 506538 w 523261"/>
                  <a:gd name="connsiteY2" fmla="*/ 80632 h 166410"/>
                  <a:gd name="connsiteX3" fmla="*/ 517850 w 523261"/>
                  <a:gd name="connsiteY3" fmla="*/ 79738 h 166410"/>
                  <a:gd name="connsiteX4" fmla="*/ 523261 w 523261"/>
                  <a:gd name="connsiteY4" fmla="*/ 69762 h 166410"/>
                  <a:gd name="connsiteX5" fmla="*/ 523261 w 523261"/>
                  <a:gd name="connsiteY5" fmla="*/ 11903 h 166410"/>
                  <a:gd name="connsiteX6" fmla="*/ 517245 w 523261"/>
                  <a:gd name="connsiteY6" fmla="*/ 1555 h 166410"/>
                  <a:gd name="connsiteX7" fmla="*/ 505284 w 523261"/>
                  <a:gd name="connsiteY7" fmla="*/ 1695 h 166410"/>
                  <a:gd name="connsiteX8" fmla="*/ 261630 w 523261"/>
                  <a:gd name="connsiteY8" fmla="*/ 47487 h 166410"/>
                  <a:gd name="connsiteX9" fmla="*/ 17977 w 523261"/>
                  <a:gd name="connsiteY9" fmla="*/ 1695 h 166410"/>
                  <a:gd name="connsiteX10" fmla="*/ 6015 w 523261"/>
                  <a:gd name="connsiteY10" fmla="*/ 1555 h 166410"/>
                  <a:gd name="connsiteX11" fmla="*/ 0 w 523261"/>
                  <a:gd name="connsiteY11" fmla="*/ 11903 h 166410"/>
                  <a:gd name="connsiteX12" fmla="*/ 0 w 523261"/>
                  <a:gd name="connsiteY12" fmla="*/ 83164 h 166410"/>
                  <a:gd name="connsiteX13" fmla="*/ 261631 w 523261"/>
                  <a:gd name="connsiteY13" fmla="*/ 166411 h 166410"/>
                  <a:gd name="connsiteX14" fmla="*/ 350615 w 523261"/>
                  <a:gd name="connsiteY14" fmla="*/ 161707 h 166410"/>
                  <a:gd name="connsiteX15" fmla="*/ 360881 w 523261"/>
                  <a:gd name="connsiteY15" fmla="*/ 152741 h 166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3261" h="166410">
                    <a:moveTo>
                      <a:pt x="360881" y="152741"/>
                    </a:moveTo>
                    <a:cubicBezTo>
                      <a:pt x="372749" y="104777"/>
                      <a:pt x="415070" y="71272"/>
                      <a:pt x="463800" y="71272"/>
                    </a:cubicBezTo>
                    <a:cubicBezTo>
                      <a:pt x="478178" y="71272"/>
                      <a:pt x="492556" y="74419"/>
                      <a:pt x="506538" y="80632"/>
                    </a:cubicBezTo>
                    <a:cubicBezTo>
                      <a:pt x="510254" y="82270"/>
                      <a:pt x="514482" y="81921"/>
                      <a:pt x="517850" y="79738"/>
                    </a:cubicBezTo>
                    <a:cubicBezTo>
                      <a:pt x="521218" y="77543"/>
                      <a:pt x="523261" y="73792"/>
                      <a:pt x="523261" y="69762"/>
                    </a:cubicBezTo>
                    <a:lnTo>
                      <a:pt x="523261" y="11903"/>
                    </a:lnTo>
                    <a:cubicBezTo>
                      <a:pt x="523261" y="7617"/>
                      <a:pt x="520961" y="3669"/>
                      <a:pt x="517245" y="1555"/>
                    </a:cubicBezTo>
                    <a:cubicBezTo>
                      <a:pt x="513483" y="-570"/>
                      <a:pt x="508907" y="-512"/>
                      <a:pt x="505284" y="1695"/>
                    </a:cubicBezTo>
                    <a:cubicBezTo>
                      <a:pt x="432257" y="45281"/>
                      <a:pt x="289503" y="47487"/>
                      <a:pt x="261630" y="47487"/>
                    </a:cubicBezTo>
                    <a:cubicBezTo>
                      <a:pt x="233758" y="47487"/>
                      <a:pt x="91003" y="45281"/>
                      <a:pt x="17977" y="1695"/>
                    </a:cubicBezTo>
                    <a:cubicBezTo>
                      <a:pt x="14353" y="-512"/>
                      <a:pt x="9778" y="-570"/>
                      <a:pt x="6015" y="1555"/>
                    </a:cubicBezTo>
                    <a:cubicBezTo>
                      <a:pt x="2300" y="3669"/>
                      <a:pt x="0" y="7617"/>
                      <a:pt x="0" y="11903"/>
                    </a:cubicBezTo>
                    <a:lnTo>
                      <a:pt x="0" y="83164"/>
                    </a:lnTo>
                    <a:cubicBezTo>
                      <a:pt x="0" y="137818"/>
                      <a:pt x="131629" y="166411"/>
                      <a:pt x="261631" y="166411"/>
                    </a:cubicBezTo>
                    <a:cubicBezTo>
                      <a:pt x="291781" y="166411"/>
                      <a:pt x="321720" y="164831"/>
                      <a:pt x="350615" y="161707"/>
                    </a:cubicBezTo>
                    <a:cubicBezTo>
                      <a:pt x="355585" y="161172"/>
                      <a:pt x="359673" y="157584"/>
                      <a:pt x="360881" y="152741"/>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70" name="Forma libre 201">
                <a:extLst>
                  <a:ext uri="{FF2B5EF4-FFF2-40B4-BE49-F238E27FC236}">
                    <a16:creationId xmlns:a16="http://schemas.microsoft.com/office/drawing/2014/main" id="{4724DE7F-4D32-6DD0-8AB7-F316CC676336}"/>
                  </a:ext>
                </a:extLst>
              </p:cNvPr>
              <p:cNvSpPr/>
              <p:nvPr/>
            </p:nvSpPr>
            <p:spPr>
              <a:xfrm>
                <a:off x="7427271" y="3289164"/>
                <a:ext cx="334723" cy="166406"/>
              </a:xfrm>
              <a:custGeom>
                <a:avLst/>
                <a:gdLst>
                  <a:gd name="connsiteX0" fmla="*/ 322021 w 334723"/>
                  <a:gd name="connsiteY0" fmla="*/ 45277 h 166406"/>
                  <a:gd name="connsiteX1" fmla="*/ 261630 w 334723"/>
                  <a:gd name="connsiteY1" fmla="*/ 47483 h 166406"/>
                  <a:gd name="connsiteX2" fmla="*/ 17977 w 334723"/>
                  <a:gd name="connsiteY2" fmla="*/ 1691 h 166406"/>
                  <a:gd name="connsiteX3" fmla="*/ 6015 w 334723"/>
                  <a:gd name="connsiteY3" fmla="*/ 1551 h 166406"/>
                  <a:gd name="connsiteX4" fmla="*/ 0 w 334723"/>
                  <a:gd name="connsiteY4" fmla="*/ 11899 h 166406"/>
                  <a:gd name="connsiteX5" fmla="*/ 0 w 334723"/>
                  <a:gd name="connsiteY5" fmla="*/ 83160 h 166406"/>
                  <a:gd name="connsiteX6" fmla="*/ 261631 w 334723"/>
                  <a:gd name="connsiteY6" fmla="*/ 166407 h 166406"/>
                  <a:gd name="connsiteX7" fmla="*/ 321929 w 334723"/>
                  <a:gd name="connsiteY7" fmla="*/ 164246 h 166406"/>
                  <a:gd name="connsiteX8" fmla="*/ 332985 w 334723"/>
                  <a:gd name="connsiteY8" fmla="*/ 152389 h 166406"/>
                  <a:gd name="connsiteX9" fmla="*/ 332985 w 334723"/>
                  <a:gd name="connsiteY9" fmla="*/ 71267 h 166406"/>
                  <a:gd name="connsiteX10" fmla="*/ 334379 w 334723"/>
                  <a:gd name="connsiteY10" fmla="*/ 59990 h 166406"/>
                  <a:gd name="connsiteX11" fmla="*/ 331939 w 334723"/>
                  <a:gd name="connsiteY11" fmla="*/ 49491 h 166406"/>
                  <a:gd name="connsiteX12" fmla="*/ 322021 w 334723"/>
                  <a:gd name="connsiteY12" fmla="*/ 45277 h 166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4723" h="166406">
                    <a:moveTo>
                      <a:pt x="322021" y="45277"/>
                    </a:moveTo>
                    <a:cubicBezTo>
                      <a:pt x="294357" y="47193"/>
                      <a:pt x="272315" y="47483"/>
                      <a:pt x="261630" y="47483"/>
                    </a:cubicBezTo>
                    <a:cubicBezTo>
                      <a:pt x="233758" y="47483"/>
                      <a:pt x="91003" y="45277"/>
                      <a:pt x="17977" y="1691"/>
                    </a:cubicBezTo>
                    <a:cubicBezTo>
                      <a:pt x="14353" y="-516"/>
                      <a:pt x="9778" y="-563"/>
                      <a:pt x="6015" y="1551"/>
                    </a:cubicBezTo>
                    <a:cubicBezTo>
                      <a:pt x="2300" y="3665"/>
                      <a:pt x="0" y="7613"/>
                      <a:pt x="0" y="11899"/>
                    </a:cubicBezTo>
                    <a:lnTo>
                      <a:pt x="0" y="83160"/>
                    </a:lnTo>
                    <a:cubicBezTo>
                      <a:pt x="0" y="137814"/>
                      <a:pt x="131629" y="166407"/>
                      <a:pt x="261631" y="166407"/>
                    </a:cubicBezTo>
                    <a:cubicBezTo>
                      <a:pt x="281212" y="166407"/>
                      <a:pt x="301489" y="165686"/>
                      <a:pt x="321929" y="164246"/>
                    </a:cubicBezTo>
                    <a:cubicBezTo>
                      <a:pt x="328153" y="163817"/>
                      <a:pt x="332985" y="158637"/>
                      <a:pt x="332985" y="152389"/>
                    </a:cubicBezTo>
                    <a:lnTo>
                      <a:pt x="332985" y="71267"/>
                    </a:lnTo>
                    <a:cubicBezTo>
                      <a:pt x="332985" y="67551"/>
                      <a:pt x="333450" y="63753"/>
                      <a:pt x="334379" y="59990"/>
                    </a:cubicBezTo>
                    <a:cubicBezTo>
                      <a:pt x="335285" y="56296"/>
                      <a:pt x="334379" y="52394"/>
                      <a:pt x="331939" y="49491"/>
                    </a:cubicBezTo>
                    <a:cubicBezTo>
                      <a:pt x="329478" y="46577"/>
                      <a:pt x="325413" y="45114"/>
                      <a:pt x="322021" y="45277"/>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71" name="Forma libre 202">
                <a:extLst>
                  <a:ext uri="{FF2B5EF4-FFF2-40B4-BE49-F238E27FC236}">
                    <a16:creationId xmlns:a16="http://schemas.microsoft.com/office/drawing/2014/main" id="{FF283F08-7B2D-764A-2EC3-F2F6D61CAF59}"/>
                  </a:ext>
                </a:extLst>
              </p:cNvPr>
              <p:cNvSpPr/>
              <p:nvPr/>
            </p:nvSpPr>
            <p:spPr>
              <a:xfrm>
                <a:off x="7784040" y="3241508"/>
                <a:ext cx="214060" cy="261631"/>
              </a:xfrm>
              <a:custGeom>
                <a:avLst/>
                <a:gdLst>
                  <a:gd name="connsiteX0" fmla="*/ 190277 w 214060"/>
                  <a:gd name="connsiteY0" fmla="*/ 95139 h 261631"/>
                  <a:gd name="connsiteX1" fmla="*/ 190277 w 214060"/>
                  <a:gd name="connsiteY1" fmla="*/ 83247 h 261631"/>
                  <a:gd name="connsiteX2" fmla="*/ 107031 w 214060"/>
                  <a:gd name="connsiteY2" fmla="*/ 0 h 261631"/>
                  <a:gd name="connsiteX3" fmla="*/ 23784 w 214060"/>
                  <a:gd name="connsiteY3" fmla="*/ 83247 h 261631"/>
                  <a:gd name="connsiteX4" fmla="*/ 23784 w 214060"/>
                  <a:gd name="connsiteY4" fmla="*/ 95139 h 261631"/>
                  <a:gd name="connsiteX5" fmla="*/ 0 w 214060"/>
                  <a:gd name="connsiteY5" fmla="*/ 118923 h 261631"/>
                  <a:gd name="connsiteX6" fmla="*/ 0 w 214060"/>
                  <a:gd name="connsiteY6" fmla="*/ 237847 h 261631"/>
                  <a:gd name="connsiteX7" fmla="*/ 23784 w 214060"/>
                  <a:gd name="connsiteY7" fmla="*/ 261631 h 261631"/>
                  <a:gd name="connsiteX8" fmla="*/ 190276 w 214060"/>
                  <a:gd name="connsiteY8" fmla="*/ 261631 h 261631"/>
                  <a:gd name="connsiteX9" fmla="*/ 214061 w 214060"/>
                  <a:gd name="connsiteY9" fmla="*/ 237847 h 261631"/>
                  <a:gd name="connsiteX10" fmla="*/ 214061 w 214060"/>
                  <a:gd name="connsiteY10" fmla="*/ 118923 h 261631"/>
                  <a:gd name="connsiteX11" fmla="*/ 190277 w 214060"/>
                  <a:gd name="connsiteY11" fmla="*/ 95139 h 261631"/>
                  <a:gd name="connsiteX12" fmla="*/ 118923 w 214060"/>
                  <a:gd name="connsiteY12" fmla="*/ 186620 h 261631"/>
                  <a:gd name="connsiteX13" fmla="*/ 118923 w 214060"/>
                  <a:gd name="connsiteY13" fmla="*/ 202170 h 261631"/>
                  <a:gd name="connsiteX14" fmla="*/ 107031 w 214060"/>
                  <a:gd name="connsiteY14" fmla="*/ 214063 h 261631"/>
                  <a:gd name="connsiteX15" fmla="*/ 95138 w 214060"/>
                  <a:gd name="connsiteY15" fmla="*/ 202170 h 261631"/>
                  <a:gd name="connsiteX16" fmla="*/ 95138 w 214060"/>
                  <a:gd name="connsiteY16" fmla="*/ 186620 h 261631"/>
                  <a:gd name="connsiteX17" fmla="*/ 83245 w 214060"/>
                  <a:gd name="connsiteY17" fmla="*/ 166493 h 261631"/>
                  <a:gd name="connsiteX18" fmla="*/ 107030 w 214060"/>
                  <a:gd name="connsiteY18" fmla="*/ 142709 h 261631"/>
                  <a:gd name="connsiteX19" fmla="*/ 130814 w 214060"/>
                  <a:gd name="connsiteY19" fmla="*/ 166493 h 261631"/>
                  <a:gd name="connsiteX20" fmla="*/ 118923 w 214060"/>
                  <a:gd name="connsiteY20" fmla="*/ 186620 h 261631"/>
                  <a:gd name="connsiteX21" fmla="*/ 142708 w 214060"/>
                  <a:gd name="connsiteY21" fmla="*/ 95139 h 261631"/>
                  <a:gd name="connsiteX22" fmla="*/ 71354 w 214060"/>
                  <a:gd name="connsiteY22" fmla="*/ 95139 h 261631"/>
                  <a:gd name="connsiteX23" fmla="*/ 71354 w 214060"/>
                  <a:gd name="connsiteY23" fmla="*/ 83247 h 261631"/>
                  <a:gd name="connsiteX24" fmla="*/ 107031 w 214060"/>
                  <a:gd name="connsiteY24" fmla="*/ 47570 h 261631"/>
                  <a:gd name="connsiteX25" fmla="*/ 142708 w 214060"/>
                  <a:gd name="connsiteY25" fmla="*/ 83247 h 261631"/>
                  <a:gd name="connsiteX26" fmla="*/ 142708 w 214060"/>
                  <a:gd name="connsiteY26" fmla="*/ 95139 h 261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14060" h="261631">
                    <a:moveTo>
                      <a:pt x="190277" y="95139"/>
                    </a:moveTo>
                    <a:lnTo>
                      <a:pt x="190277" y="83247"/>
                    </a:lnTo>
                    <a:cubicBezTo>
                      <a:pt x="190277" y="37349"/>
                      <a:pt x="152928" y="0"/>
                      <a:pt x="107031" y="0"/>
                    </a:cubicBezTo>
                    <a:cubicBezTo>
                      <a:pt x="61134" y="0"/>
                      <a:pt x="23784" y="37349"/>
                      <a:pt x="23784" y="83247"/>
                    </a:cubicBezTo>
                    <a:lnTo>
                      <a:pt x="23784" y="95139"/>
                    </a:lnTo>
                    <a:cubicBezTo>
                      <a:pt x="10673" y="95139"/>
                      <a:pt x="0" y="105812"/>
                      <a:pt x="0" y="118923"/>
                    </a:cubicBezTo>
                    <a:lnTo>
                      <a:pt x="0" y="237847"/>
                    </a:lnTo>
                    <a:cubicBezTo>
                      <a:pt x="0" y="250958"/>
                      <a:pt x="10673" y="261631"/>
                      <a:pt x="23784" y="261631"/>
                    </a:cubicBezTo>
                    <a:lnTo>
                      <a:pt x="190276" y="261631"/>
                    </a:lnTo>
                    <a:cubicBezTo>
                      <a:pt x="203388" y="261631"/>
                      <a:pt x="214061" y="250958"/>
                      <a:pt x="214061" y="237847"/>
                    </a:cubicBezTo>
                    <a:lnTo>
                      <a:pt x="214061" y="118923"/>
                    </a:lnTo>
                    <a:cubicBezTo>
                      <a:pt x="214062" y="105812"/>
                      <a:pt x="203389" y="95139"/>
                      <a:pt x="190277" y="95139"/>
                    </a:cubicBezTo>
                    <a:close/>
                    <a:moveTo>
                      <a:pt x="118923" y="186620"/>
                    </a:moveTo>
                    <a:lnTo>
                      <a:pt x="118923" y="202170"/>
                    </a:lnTo>
                    <a:cubicBezTo>
                      <a:pt x="118923" y="208744"/>
                      <a:pt x="113604" y="214063"/>
                      <a:pt x="107031" y="214063"/>
                    </a:cubicBezTo>
                    <a:cubicBezTo>
                      <a:pt x="100457" y="214063"/>
                      <a:pt x="95138" y="208744"/>
                      <a:pt x="95138" y="202170"/>
                    </a:cubicBezTo>
                    <a:lnTo>
                      <a:pt x="95138" y="186620"/>
                    </a:lnTo>
                    <a:cubicBezTo>
                      <a:pt x="88161" y="182469"/>
                      <a:pt x="83245" y="175179"/>
                      <a:pt x="83245" y="166493"/>
                    </a:cubicBezTo>
                    <a:cubicBezTo>
                      <a:pt x="83245" y="153382"/>
                      <a:pt x="93918" y="142709"/>
                      <a:pt x="107030" y="142709"/>
                    </a:cubicBezTo>
                    <a:cubicBezTo>
                      <a:pt x="120141" y="142709"/>
                      <a:pt x="130814" y="153382"/>
                      <a:pt x="130814" y="166493"/>
                    </a:cubicBezTo>
                    <a:cubicBezTo>
                      <a:pt x="130815" y="175179"/>
                      <a:pt x="125899" y="182469"/>
                      <a:pt x="118923" y="186620"/>
                    </a:cubicBezTo>
                    <a:close/>
                    <a:moveTo>
                      <a:pt x="142708" y="95139"/>
                    </a:moveTo>
                    <a:lnTo>
                      <a:pt x="71354" y="95139"/>
                    </a:lnTo>
                    <a:lnTo>
                      <a:pt x="71354" y="83247"/>
                    </a:lnTo>
                    <a:cubicBezTo>
                      <a:pt x="71354" y="63573"/>
                      <a:pt x="87357" y="47570"/>
                      <a:pt x="107031" y="47570"/>
                    </a:cubicBezTo>
                    <a:cubicBezTo>
                      <a:pt x="126704" y="47570"/>
                      <a:pt x="142708" y="63573"/>
                      <a:pt x="142708" y="83247"/>
                    </a:cubicBezTo>
                    <a:lnTo>
                      <a:pt x="142708" y="95139"/>
                    </a:ln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grpSp>
        <p:grpSp>
          <p:nvGrpSpPr>
            <p:cNvPr id="130" name="Gráfico 232">
              <a:extLst>
                <a:ext uri="{FF2B5EF4-FFF2-40B4-BE49-F238E27FC236}">
                  <a16:creationId xmlns:a16="http://schemas.microsoft.com/office/drawing/2014/main" id="{449B9A3A-B159-6D15-C4DC-9967703C3557}"/>
                </a:ext>
              </a:extLst>
            </p:cNvPr>
            <p:cNvGrpSpPr/>
            <p:nvPr/>
          </p:nvGrpSpPr>
          <p:grpSpPr>
            <a:xfrm>
              <a:off x="9055853" y="1138925"/>
              <a:ext cx="132804" cy="138902"/>
              <a:chOff x="4023312" y="4118557"/>
              <a:chExt cx="523265" cy="570831"/>
            </a:xfrm>
            <a:solidFill>
              <a:schemeClr val="tx2"/>
            </a:solidFill>
          </p:grpSpPr>
          <p:sp>
            <p:nvSpPr>
              <p:cNvPr id="163" name="Forma libre 292">
                <a:extLst>
                  <a:ext uri="{FF2B5EF4-FFF2-40B4-BE49-F238E27FC236}">
                    <a16:creationId xmlns:a16="http://schemas.microsoft.com/office/drawing/2014/main" id="{DBAEC81C-170D-4F40-1CE9-BA5C50978AB7}"/>
                  </a:ext>
                </a:extLst>
              </p:cNvPr>
              <p:cNvSpPr/>
              <p:nvPr/>
            </p:nvSpPr>
            <p:spPr>
              <a:xfrm>
                <a:off x="4273051" y="4474990"/>
                <a:ext cx="202170" cy="178665"/>
              </a:xfrm>
              <a:custGeom>
                <a:avLst/>
                <a:gdLst>
                  <a:gd name="connsiteX0" fmla="*/ 190277 w 202170"/>
                  <a:gd name="connsiteY0" fmla="*/ 154844 h 178665"/>
                  <a:gd name="connsiteX1" fmla="*/ 23785 w 202170"/>
                  <a:gd name="connsiteY1" fmla="*/ 11911 h 178665"/>
                  <a:gd name="connsiteX2" fmla="*/ 11893 w 202170"/>
                  <a:gd name="connsiteY2" fmla="*/ 0 h 178665"/>
                  <a:gd name="connsiteX3" fmla="*/ 0 w 202170"/>
                  <a:gd name="connsiteY3" fmla="*/ 11911 h 178665"/>
                  <a:gd name="connsiteX4" fmla="*/ 190277 w 202170"/>
                  <a:gd name="connsiteY4" fmla="*/ 178666 h 178665"/>
                  <a:gd name="connsiteX5" fmla="*/ 202170 w 202170"/>
                  <a:gd name="connsiteY5" fmla="*/ 166755 h 178665"/>
                  <a:gd name="connsiteX6" fmla="*/ 190277 w 202170"/>
                  <a:gd name="connsiteY6" fmla="*/ 154844 h 178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2170" h="178665">
                    <a:moveTo>
                      <a:pt x="190277" y="154844"/>
                    </a:moveTo>
                    <a:cubicBezTo>
                      <a:pt x="101596" y="154844"/>
                      <a:pt x="23785" y="88053"/>
                      <a:pt x="23785" y="11911"/>
                    </a:cubicBezTo>
                    <a:cubicBezTo>
                      <a:pt x="23785" y="5327"/>
                      <a:pt x="18466" y="0"/>
                      <a:pt x="11893" y="0"/>
                    </a:cubicBezTo>
                    <a:cubicBezTo>
                      <a:pt x="5319" y="0"/>
                      <a:pt x="0" y="5327"/>
                      <a:pt x="0" y="11911"/>
                    </a:cubicBezTo>
                    <a:cubicBezTo>
                      <a:pt x="0" y="100743"/>
                      <a:pt x="88914" y="178666"/>
                      <a:pt x="190277" y="178666"/>
                    </a:cubicBezTo>
                    <a:cubicBezTo>
                      <a:pt x="196851" y="178666"/>
                      <a:pt x="202170" y="173339"/>
                      <a:pt x="202170" y="166755"/>
                    </a:cubicBezTo>
                    <a:cubicBezTo>
                      <a:pt x="202170" y="160172"/>
                      <a:pt x="196851" y="154844"/>
                      <a:pt x="190277" y="154844"/>
                    </a:cubicBezTo>
                    <a:close/>
                  </a:path>
                </a:pathLst>
              </a:custGeom>
              <a:solidFill>
                <a:schemeClr val="bg1"/>
              </a:solidFill>
              <a:ln w="10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64" name="Forma libre 293">
                <a:extLst>
                  <a:ext uri="{FF2B5EF4-FFF2-40B4-BE49-F238E27FC236}">
                    <a16:creationId xmlns:a16="http://schemas.microsoft.com/office/drawing/2014/main" id="{9FD87594-561A-2CA3-8E36-B9AB57154F13}"/>
                  </a:ext>
                </a:extLst>
              </p:cNvPr>
              <p:cNvSpPr/>
              <p:nvPr/>
            </p:nvSpPr>
            <p:spPr>
              <a:xfrm>
                <a:off x="4094670" y="4118557"/>
                <a:ext cx="368660" cy="73125"/>
              </a:xfrm>
              <a:custGeom>
                <a:avLst/>
                <a:gdLst>
                  <a:gd name="connsiteX0" fmla="*/ 11889 w 368660"/>
                  <a:gd name="connsiteY0" fmla="*/ 73126 h 73125"/>
                  <a:gd name="connsiteX1" fmla="*/ 18068 w 368660"/>
                  <a:gd name="connsiteY1" fmla="*/ 71404 h 73125"/>
                  <a:gd name="connsiteX2" fmla="*/ 351006 w 368660"/>
                  <a:gd name="connsiteY2" fmla="*/ 64402 h 73125"/>
                  <a:gd name="connsiteX3" fmla="*/ 367173 w 368660"/>
                  <a:gd name="connsiteY3" fmla="*/ 59737 h 73125"/>
                  <a:gd name="connsiteX4" fmla="*/ 362528 w 368660"/>
                  <a:gd name="connsiteY4" fmla="*/ 43557 h 73125"/>
                  <a:gd name="connsiteX5" fmla="*/ 5712 w 368660"/>
                  <a:gd name="connsiteY5" fmla="*/ 51025 h 73125"/>
                  <a:gd name="connsiteX6" fmla="*/ 1717 w 368660"/>
                  <a:gd name="connsiteY6" fmla="*/ 67391 h 73125"/>
                  <a:gd name="connsiteX7" fmla="*/ 11889 w 368660"/>
                  <a:gd name="connsiteY7" fmla="*/ 73126 h 7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8660" h="73125">
                    <a:moveTo>
                      <a:pt x="11889" y="73126"/>
                    </a:moveTo>
                    <a:cubicBezTo>
                      <a:pt x="14003" y="73126"/>
                      <a:pt x="16140" y="72567"/>
                      <a:pt x="18068" y="71404"/>
                    </a:cubicBezTo>
                    <a:cubicBezTo>
                      <a:pt x="118688" y="10244"/>
                      <a:pt x="249155" y="8022"/>
                      <a:pt x="351006" y="64402"/>
                    </a:cubicBezTo>
                    <a:cubicBezTo>
                      <a:pt x="356767" y="67600"/>
                      <a:pt x="363991" y="65506"/>
                      <a:pt x="367173" y="59737"/>
                    </a:cubicBezTo>
                    <a:cubicBezTo>
                      <a:pt x="370355" y="53979"/>
                      <a:pt x="368264" y="46733"/>
                      <a:pt x="362528" y="43557"/>
                    </a:cubicBezTo>
                    <a:cubicBezTo>
                      <a:pt x="253291" y="-16882"/>
                      <a:pt x="113510" y="-14451"/>
                      <a:pt x="5712" y="51025"/>
                    </a:cubicBezTo>
                    <a:cubicBezTo>
                      <a:pt x="114" y="54444"/>
                      <a:pt x="-1675" y="61773"/>
                      <a:pt x="1717" y="67391"/>
                    </a:cubicBezTo>
                    <a:cubicBezTo>
                      <a:pt x="3969" y="71090"/>
                      <a:pt x="7871" y="73126"/>
                      <a:pt x="11889" y="73126"/>
                    </a:cubicBezTo>
                    <a:close/>
                  </a:path>
                </a:pathLst>
              </a:custGeom>
              <a:solidFill>
                <a:schemeClr val="bg1"/>
              </a:solidFill>
              <a:ln w="10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65" name="Forma libre 294">
                <a:extLst>
                  <a:ext uri="{FF2B5EF4-FFF2-40B4-BE49-F238E27FC236}">
                    <a16:creationId xmlns:a16="http://schemas.microsoft.com/office/drawing/2014/main" id="{19C158C8-E491-DD89-CDCB-DFA66683B9A1}"/>
                  </a:ext>
                </a:extLst>
              </p:cNvPr>
              <p:cNvSpPr/>
              <p:nvPr/>
            </p:nvSpPr>
            <p:spPr>
              <a:xfrm>
                <a:off x="4023312" y="4189124"/>
                <a:ext cx="523265" cy="154844"/>
              </a:xfrm>
              <a:custGeom>
                <a:avLst/>
                <a:gdLst>
                  <a:gd name="connsiteX0" fmla="*/ 521776 w 523265"/>
                  <a:gd name="connsiteY0" fmla="*/ 137163 h 154844"/>
                  <a:gd name="connsiteX1" fmla="*/ 261632 w 523265"/>
                  <a:gd name="connsiteY1" fmla="*/ 0 h 154844"/>
                  <a:gd name="connsiteX2" fmla="*/ 1488 w 523265"/>
                  <a:gd name="connsiteY2" fmla="*/ 137163 h 154844"/>
                  <a:gd name="connsiteX3" fmla="*/ 6134 w 523265"/>
                  <a:gd name="connsiteY3" fmla="*/ 153355 h 154844"/>
                  <a:gd name="connsiteX4" fmla="*/ 22300 w 523265"/>
                  <a:gd name="connsiteY4" fmla="*/ 148703 h 154844"/>
                  <a:gd name="connsiteX5" fmla="*/ 261632 w 523265"/>
                  <a:gd name="connsiteY5" fmla="*/ 23822 h 154844"/>
                  <a:gd name="connsiteX6" fmla="*/ 500964 w 523265"/>
                  <a:gd name="connsiteY6" fmla="*/ 148703 h 154844"/>
                  <a:gd name="connsiteX7" fmla="*/ 511371 w 523265"/>
                  <a:gd name="connsiteY7" fmla="*/ 154845 h 154844"/>
                  <a:gd name="connsiteX8" fmla="*/ 517132 w 523265"/>
                  <a:gd name="connsiteY8" fmla="*/ 153356 h 154844"/>
                  <a:gd name="connsiteX9" fmla="*/ 521776 w 523265"/>
                  <a:gd name="connsiteY9" fmla="*/ 137163 h 154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3265" h="154844">
                    <a:moveTo>
                      <a:pt x="521776" y="137163"/>
                    </a:moveTo>
                    <a:cubicBezTo>
                      <a:pt x="475717" y="53844"/>
                      <a:pt x="373611" y="0"/>
                      <a:pt x="261632" y="0"/>
                    </a:cubicBezTo>
                    <a:cubicBezTo>
                      <a:pt x="149654" y="0"/>
                      <a:pt x="47547" y="53844"/>
                      <a:pt x="1488" y="137163"/>
                    </a:cubicBezTo>
                    <a:cubicBezTo>
                      <a:pt x="-1694" y="142921"/>
                      <a:pt x="397" y="150168"/>
                      <a:pt x="6134" y="153355"/>
                    </a:cubicBezTo>
                    <a:cubicBezTo>
                      <a:pt x="11895" y="156530"/>
                      <a:pt x="19095" y="154460"/>
                      <a:pt x="22300" y="148703"/>
                    </a:cubicBezTo>
                    <a:cubicBezTo>
                      <a:pt x="64225" y="72839"/>
                      <a:pt x="158178" y="23822"/>
                      <a:pt x="261632" y="23822"/>
                    </a:cubicBezTo>
                    <a:cubicBezTo>
                      <a:pt x="365087" y="23822"/>
                      <a:pt x="459041" y="72839"/>
                      <a:pt x="500964" y="148703"/>
                    </a:cubicBezTo>
                    <a:cubicBezTo>
                      <a:pt x="503148" y="152634"/>
                      <a:pt x="507190" y="154845"/>
                      <a:pt x="511371" y="154845"/>
                    </a:cubicBezTo>
                    <a:cubicBezTo>
                      <a:pt x="513322" y="154845"/>
                      <a:pt x="515296" y="154367"/>
                      <a:pt x="517132" y="153356"/>
                    </a:cubicBezTo>
                    <a:cubicBezTo>
                      <a:pt x="522869" y="150168"/>
                      <a:pt x="524959" y="142921"/>
                      <a:pt x="521776" y="137163"/>
                    </a:cubicBezTo>
                    <a:close/>
                  </a:path>
                </a:pathLst>
              </a:custGeom>
              <a:solidFill>
                <a:schemeClr val="bg1"/>
              </a:solidFill>
              <a:ln w="10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66" name="Forma libre 295">
                <a:extLst>
                  <a:ext uri="{FF2B5EF4-FFF2-40B4-BE49-F238E27FC236}">
                    <a16:creationId xmlns:a16="http://schemas.microsoft.com/office/drawing/2014/main" id="{C2DE7844-9A8E-9EAC-424F-26A6E0DEE876}"/>
                  </a:ext>
                </a:extLst>
              </p:cNvPr>
              <p:cNvSpPr/>
              <p:nvPr/>
            </p:nvSpPr>
            <p:spPr>
              <a:xfrm>
                <a:off x="4118453" y="4332056"/>
                <a:ext cx="332984" cy="357332"/>
              </a:xfrm>
              <a:custGeom>
                <a:avLst/>
                <a:gdLst>
                  <a:gd name="connsiteX0" fmla="*/ 23783 w 332984"/>
                  <a:gd name="connsiteY0" fmla="*/ 166755 h 357332"/>
                  <a:gd name="connsiteX1" fmla="*/ 166491 w 332984"/>
                  <a:gd name="connsiteY1" fmla="*/ 23822 h 357332"/>
                  <a:gd name="connsiteX2" fmla="*/ 309199 w 332984"/>
                  <a:gd name="connsiteY2" fmla="*/ 154844 h 357332"/>
                  <a:gd name="connsiteX3" fmla="*/ 321091 w 332984"/>
                  <a:gd name="connsiteY3" fmla="*/ 166754 h 357332"/>
                  <a:gd name="connsiteX4" fmla="*/ 332984 w 332984"/>
                  <a:gd name="connsiteY4" fmla="*/ 154844 h 357332"/>
                  <a:gd name="connsiteX5" fmla="*/ 166492 w 332984"/>
                  <a:gd name="connsiteY5" fmla="*/ 0 h 357332"/>
                  <a:gd name="connsiteX6" fmla="*/ 0 w 332984"/>
                  <a:gd name="connsiteY6" fmla="*/ 166755 h 357332"/>
                  <a:gd name="connsiteX7" fmla="*/ 80320 w 332984"/>
                  <a:gd name="connsiteY7" fmla="*/ 353552 h 357332"/>
                  <a:gd name="connsiteX8" fmla="*/ 89007 w 332984"/>
                  <a:gd name="connsiteY8" fmla="*/ 357332 h 357332"/>
                  <a:gd name="connsiteX9" fmla="*/ 97114 w 332984"/>
                  <a:gd name="connsiteY9" fmla="*/ 354121 h 357332"/>
                  <a:gd name="connsiteX10" fmla="*/ 97695 w 332984"/>
                  <a:gd name="connsiteY10" fmla="*/ 337290 h 357332"/>
                  <a:gd name="connsiteX11" fmla="*/ 23783 w 332984"/>
                  <a:gd name="connsiteY11" fmla="*/ 166755 h 35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2984" h="357332">
                    <a:moveTo>
                      <a:pt x="23783" y="166755"/>
                    </a:moveTo>
                    <a:cubicBezTo>
                      <a:pt x="23783" y="83936"/>
                      <a:pt x="83802" y="23822"/>
                      <a:pt x="166491" y="23822"/>
                    </a:cubicBezTo>
                    <a:cubicBezTo>
                      <a:pt x="253175" y="23822"/>
                      <a:pt x="309199" y="75247"/>
                      <a:pt x="309199" y="154844"/>
                    </a:cubicBezTo>
                    <a:cubicBezTo>
                      <a:pt x="309199" y="161427"/>
                      <a:pt x="314518" y="166754"/>
                      <a:pt x="321091" y="166754"/>
                    </a:cubicBezTo>
                    <a:cubicBezTo>
                      <a:pt x="327665" y="166754"/>
                      <a:pt x="332984" y="161427"/>
                      <a:pt x="332984" y="154844"/>
                    </a:cubicBezTo>
                    <a:cubicBezTo>
                      <a:pt x="332984" y="62231"/>
                      <a:pt x="266066" y="0"/>
                      <a:pt x="166492" y="0"/>
                    </a:cubicBezTo>
                    <a:cubicBezTo>
                      <a:pt x="71586" y="0"/>
                      <a:pt x="0" y="71687"/>
                      <a:pt x="0" y="166755"/>
                    </a:cubicBezTo>
                    <a:cubicBezTo>
                      <a:pt x="0" y="236361"/>
                      <a:pt x="24760" y="293974"/>
                      <a:pt x="80320" y="353552"/>
                    </a:cubicBezTo>
                    <a:cubicBezTo>
                      <a:pt x="82666" y="356065"/>
                      <a:pt x="85825" y="357332"/>
                      <a:pt x="89007" y="357332"/>
                    </a:cubicBezTo>
                    <a:cubicBezTo>
                      <a:pt x="91910" y="357332"/>
                      <a:pt x="94837" y="356274"/>
                      <a:pt x="97114" y="354121"/>
                    </a:cubicBezTo>
                    <a:cubicBezTo>
                      <a:pt x="101922" y="349632"/>
                      <a:pt x="102178" y="342094"/>
                      <a:pt x="97695" y="337290"/>
                    </a:cubicBezTo>
                    <a:cubicBezTo>
                      <a:pt x="46570" y="282458"/>
                      <a:pt x="23783" y="229870"/>
                      <a:pt x="23783" y="166755"/>
                    </a:cubicBezTo>
                    <a:close/>
                  </a:path>
                </a:pathLst>
              </a:custGeom>
              <a:solidFill>
                <a:schemeClr val="bg1"/>
              </a:solidFill>
              <a:ln w="10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67" name="Forma libre 296">
                <a:extLst>
                  <a:ext uri="{FF2B5EF4-FFF2-40B4-BE49-F238E27FC236}">
                    <a16:creationId xmlns:a16="http://schemas.microsoft.com/office/drawing/2014/main" id="{3AE117B3-6DE0-D3E0-7AA4-6D8CCF13D342}"/>
                  </a:ext>
                </a:extLst>
              </p:cNvPr>
              <p:cNvSpPr/>
              <p:nvPr/>
            </p:nvSpPr>
            <p:spPr>
              <a:xfrm>
                <a:off x="4047098" y="4260591"/>
                <a:ext cx="475692" cy="428797"/>
              </a:xfrm>
              <a:custGeom>
                <a:avLst/>
                <a:gdLst>
                  <a:gd name="connsiteX0" fmla="*/ 237846 w 475692"/>
                  <a:gd name="connsiteY0" fmla="*/ 0 h 428797"/>
                  <a:gd name="connsiteX1" fmla="*/ 0 w 475692"/>
                  <a:gd name="connsiteY1" fmla="*/ 226310 h 428797"/>
                  <a:gd name="connsiteX2" fmla="*/ 24691 w 475692"/>
                  <a:gd name="connsiteY2" fmla="*/ 326159 h 428797"/>
                  <a:gd name="connsiteX3" fmla="*/ 40230 w 475692"/>
                  <a:gd name="connsiteY3" fmla="*/ 332603 h 428797"/>
                  <a:gd name="connsiteX4" fmla="*/ 46664 w 475692"/>
                  <a:gd name="connsiteY4" fmla="*/ 317040 h 428797"/>
                  <a:gd name="connsiteX5" fmla="*/ 23784 w 475692"/>
                  <a:gd name="connsiteY5" fmla="*/ 226310 h 428797"/>
                  <a:gd name="connsiteX6" fmla="*/ 237846 w 475692"/>
                  <a:gd name="connsiteY6" fmla="*/ 23822 h 428797"/>
                  <a:gd name="connsiteX7" fmla="*/ 451908 w 475692"/>
                  <a:gd name="connsiteY7" fmla="*/ 238222 h 428797"/>
                  <a:gd name="connsiteX8" fmla="*/ 392446 w 475692"/>
                  <a:gd name="connsiteY8" fmla="*/ 297776 h 428797"/>
                  <a:gd name="connsiteX9" fmla="*/ 332985 w 475692"/>
                  <a:gd name="connsiteY9" fmla="*/ 238222 h 428797"/>
                  <a:gd name="connsiteX10" fmla="*/ 237847 w 475692"/>
                  <a:gd name="connsiteY10" fmla="*/ 142933 h 428797"/>
                  <a:gd name="connsiteX11" fmla="*/ 142709 w 475692"/>
                  <a:gd name="connsiteY11" fmla="*/ 238222 h 428797"/>
                  <a:gd name="connsiteX12" fmla="*/ 269645 w 475692"/>
                  <a:gd name="connsiteY12" fmla="*/ 427309 h 428797"/>
                  <a:gd name="connsiteX13" fmla="*/ 275406 w 475692"/>
                  <a:gd name="connsiteY13" fmla="*/ 428798 h 428797"/>
                  <a:gd name="connsiteX14" fmla="*/ 285811 w 475692"/>
                  <a:gd name="connsiteY14" fmla="*/ 422645 h 428797"/>
                  <a:gd name="connsiteX15" fmla="*/ 281166 w 475692"/>
                  <a:gd name="connsiteY15" fmla="*/ 406465 h 428797"/>
                  <a:gd name="connsiteX16" fmla="*/ 166492 w 475692"/>
                  <a:gd name="connsiteY16" fmla="*/ 238220 h 428797"/>
                  <a:gd name="connsiteX17" fmla="*/ 237846 w 475692"/>
                  <a:gd name="connsiteY17" fmla="*/ 166754 h 428797"/>
                  <a:gd name="connsiteX18" fmla="*/ 309200 w 475692"/>
                  <a:gd name="connsiteY18" fmla="*/ 238220 h 428797"/>
                  <a:gd name="connsiteX19" fmla="*/ 392446 w 475692"/>
                  <a:gd name="connsiteY19" fmla="*/ 321597 h 428797"/>
                  <a:gd name="connsiteX20" fmla="*/ 475693 w 475692"/>
                  <a:gd name="connsiteY20" fmla="*/ 238220 h 428797"/>
                  <a:gd name="connsiteX21" fmla="*/ 237846 w 475692"/>
                  <a:gd name="connsiteY21" fmla="*/ 0 h 428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75692" h="428797">
                    <a:moveTo>
                      <a:pt x="237846" y="0"/>
                    </a:moveTo>
                    <a:cubicBezTo>
                      <a:pt x="100039" y="0"/>
                      <a:pt x="0" y="95173"/>
                      <a:pt x="0" y="226310"/>
                    </a:cubicBezTo>
                    <a:cubicBezTo>
                      <a:pt x="0" y="261671"/>
                      <a:pt x="11869" y="295194"/>
                      <a:pt x="24691" y="326159"/>
                    </a:cubicBezTo>
                    <a:cubicBezTo>
                      <a:pt x="27199" y="332254"/>
                      <a:pt x="34214" y="335092"/>
                      <a:pt x="40230" y="332603"/>
                    </a:cubicBezTo>
                    <a:cubicBezTo>
                      <a:pt x="46293" y="330079"/>
                      <a:pt x="49173" y="323112"/>
                      <a:pt x="46664" y="317040"/>
                    </a:cubicBezTo>
                    <a:cubicBezTo>
                      <a:pt x="34771" y="288343"/>
                      <a:pt x="23784" y="257506"/>
                      <a:pt x="23784" y="226310"/>
                    </a:cubicBezTo>
                    <a:cubicBezTo>
                      <a:pt x="23784" y="107083"/>
                      <a:pt x="111815" y="23822"/>
                      <a:pt x="237846" y="23822"/>
                    </a:cubicBezTo>
                    <a:cubicBezTo>
                      <a:pt x="359881" y="23822"/>
                      <a:pt x="451908" y="115994"/>
                      <a:pt x="451908" y="238222"/>
                    </a:cubicBezTo>
                    <a:cubicBezTo>
                      <a:pt x="451908" y="271059"/>
                      <a:pt x="425242" y="297776"/>
                      <a:pt x="392446" y="297776"/>
                    </a:cubicBezTo>
                    <a:cubicBezTo>
                      <a:pt x="359649" y="297776"/>
                      <a:pt x="332985" y="271058"/>
                      <a:pt x="332985" y="238222"/>
                    </a:cubicBezTo>
                    <a:cubicBezTo>
                      <a:pt x="332985" y="182121"/>
                      <a:pt x="293871" y="142933"/>
                      <a:pt x="237847" y="142933"/>
                    </a:cubicBezTo>
                    <a:cubicBezTo>
                      <a:pt x="181823" y="142933"/>
                      <a:pt x="142709" y="182121"/>
                      <a:pt x="142709" y="238222"/>
                    </a:cubicBezTo>
                    <a:cubicBezTo>
                      <a:pt x="142709" y="315946"/>
                      <a:pt x="186608" y="381329"/>
                      <a:pt x="269645" y="427309"/>
                    </a:cubicBezTo>
                    <a:cubicBezTo>
                      <a:pt x="271480" y="428322"/>
                      <a:pt x="273455" y="428798"/>
                      <a:pt x="275406" y="428798"/>
                    </a:cubicBezTo>
                    <a:cubicBezTo>
                      <a:pt x="279587" y="428798"/>
                      <a:pt x="283652" y="426576"/>
                      <a:pt x="285811" y="422645"/>
                    </a:cubicBezTo>
                    <a:cubicBezTo>
                      <a:pt x="288993" y="416887"/>
                      <a:pt x="286903" y="409640"/>
                      <a:pt x="281166" y="406465"/>
                    </a:cubicBezTo>
                    <a:cubicBezTo>
                      <a:pt x="205072" y="364334"/>
                      <a:pt x="166492" y="307733"/>
                      <a:pt x="166492" y="238220"/>
                    </a:cubicBezTo>
                    <a:cubicBezTo>
                      <a:pt x="166492" y="188855"/>
                      <a:pt x="202332" y="166754"/>
                      <a:pt x="237846" y="166754"/>
                    </a:cubicBezTo>
                    <a:cubicBezTo>
                      <a:pt x="273360" y="166754"/>
                      <a:pt x="309200" y="188855"/>
                      <a:pt x="309200" y="238220"/>
                    </a:cubicBezTo>
                    <a:cubicBezTo>
                      <a:pt x="309200" y="284190"/>
                      <a:pt x="346549" y="321597"/>
                      <a:pt x="392446" y="321597"/>
                    </a:cubicBezTo>
                    <a:cubicBezTo>
                      <a:pt x="438344" y="321597"/>
                      <a:pt x="475693" y="284189"/>
                      <a:pt x="475693" y="238220"/>
                    </a:cubicBezTo>
                    <a:cubicBezTo>
                      <a:pt x="475692" y="102407"/>
                      <a:pt x="373446" y="0"/>
                      <a:pt x="237846" y="0"/>
                    </a:cubicBezTo>
                    <a:close/>
                  </a:path>
                </a:pathLst>
              </a:custGeom>
              <a:solidFill>
                <a:schemeClr val="bg1"/>
              </a:solidFill>
              <a:ln w="1098"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grpSp>
        <p:pic>
          <p:nvPicPr>
            <p:cNvPr id="135" name="Gráfico 211">
              <a:extLst>
                <a:ext uri="{FF2B5EF4-FFF2-40B4-BE49-F238E27FC236}">
                  <a16:creationId xmlns:a16="http://schemas.microsoft.com/office/drawing/2014/main" id="{1A5E81D3-79B0-0053-1E44-C1F5F0058671}"/>
                </a:ext>
              </a:extLst>
            </p:cNvPr>
            <p:cNvPicPr>
              <a:picLocks noChangeAspect="1"/>
            </p:cNvPicPr>
            <p:nvPr/>
          </p:nvPicPr>
          <p:blipFill>
            <a:blip r:embed="rId18" cstate="print">
              <a:extLst>
                <a:ext uri="{28A0092B-C50C-407E-A947-70E740481C1C}">
                  <a14:useLocalDpi xmlns:a14="http://schemas.microsoft.com/office/drawing/2010/main"/>
                </a:ext>
                <a:ext uri="{96DAC541-7B7A-43D3-8B79-37D633B846F1}">
                  <asvg:svgBlip xmlns:asvg="http://schemas.microsoft.com/office/drawing/2016/SVG/main" r:embed="rId19"/>
                </a:ext>
              </a:extLst>
            </a:blip>
            <a:srcRect/>
            <a:stretch/>
          </p:blipFill>
          <p:spPr>
            <a:xfrm>
              <a:off x="9075817" y="1367599"/>
              <a:ext cx="107094" cy="102677"/>
            </a:xfrm>
            <a:prstGeom prst="rect">
              <a:avLst/>
            </a:prstGeom>
          </p:spPr>
        </p:pic>
        <p:sp>
          <p:nvSpPr>
            <p:cNvPr id="136" name="Rectangle: Rounded Corners 51">
              <a:extLst>
                <a:ext uri="{FF2B5EF4-FFF2-40B4-BE49-F238E27FC236}">
                  <a16:creationId xmlns:a16="http://schemas.microsoft.com/office/drawing/2014/main" id="{E92D7A37-4669-65CA-D04B-424C307112F7}"/>
                </a:ext>
              </a:extLst>
            </p:cNvPr>
            <p:cNvSpPr/>
            <p:nvPr/>
          </p:nvSpPr>
          <p:spPr>
            <a:xfrm>
              <a:off x="9226159" y="1351305"/>
              <a:ext cx="176551" cy="12691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sp>
          <p:nvSpPr>
            <p:cNvPr id="137" name="Rectangle: Rounded Corners 52">
              <a:extLst>
                <a:ext uri="{FF2B5EF4-FFF2-40B4-BE49-F238E27FC236}">
                  <a16:creationId xmlns:a16="http://schemas.microsoft.com/office/drawing/2014/main" id="{1BC7F867-3840-AAB8-7FF0-4BED1A302D7D}"/>
                </a:ext>
              </a:extLst>
            </p:cNvPr>
            <p:cNvSpPr/>
            <p:nvPr/>
          </p:nvSpPr>
          <p:spPr>
            <a:xfrm>
              <a:off x="9410717" y="1353012"/>
              <a:ext cx="176551" cy="12691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sym typeface="Arial"/>
              </a:endParaRPr>
            </a:p>
          </p:txBody>
        </p:sp>
        <p:pic>
          <p:nvPicPr>
            <p:cNvPr id="138" name="Gráfico 220">
              <a:extLst>
                <a:ext uri="{FF2B5EF4-FFF2-40B4-BE49-F238E27FC236}">
                  <a16:creationId xmlns:a16="http://schemas.microsoft.com/office/drawing/2014/main" id="{8485B3FB-082F-431F-6428-B865AD685C36}"/>
                </a:ext>
              </a:extLst>
            </p:cNvPr>
            <p:cNvPicPr>
              <a:picLocks noChangeAspect="1"/>
            </p:cNvPicPr>
            <p:nvPr/>
          </p:nvPicPr>
          <p:blipFill>
            <a:blip r:embed="rId20" cstate="print">
              <a:extLst>
                <a:ext uri="{28A0092B-C50C-407E-A947-70E740481C1C}">
                  <a14:useLocalDpi xmlns:a14="http://schemas.microsoft.com/office/drawing/2010/main"/>
                </a:ext>
                <a:ext uri="{96DAC541-7B7A-43D3-8B79-37D633B846F1}">
                  <asvg:svgBlip xmlns:asvg="http://schemas.microsoft.com/office/drawing/2016/SVG/main" r:embed="rId21"/>
                </a:ext>
              </a:extLst>
            </a:blip>
            <a:srcRect/>
            <a:stretch/>
          </p:blipFill>
          <p:spPr>
            <a:xfrm>
              <a:off x="9261411" y="1365695"/>
              <a:ext cx="105163" cy="100826"/>
            </a:xfrm>
            <a:prstGeom prst="rect">
              <a:avLst/>
            </a:prstGeom>
          </p:spPr>
        </p:pic>
        <p:pic>
          <p:nvPicPr>
            <p:cNvPr id="139" name="Gráfico 234">
              <a:extLst>
                <a:ext uri="{FF2B5EF4-FFF2-40B4-BE49-F238E27FC236}">
                  <a16:creationId xmlns:a16="http://schemas.microsoft.com/office/drawing/2014/main" id="{1EBC1C35-DAE3-4D6E-4A3D-BCCA9DB4CA2B}"/>
                </a:ext>
              </a:extLst>
            </p:cNvPr>
            <p:cNvPicPr>
              <a:picLocks noChangeAspect="1"/>
            </p:cNvPicPr>
            <p:nvPr/>
          </p:nvPicPr>
          <p:blipFill>
            <a:blip r:embed="rId22" cstate="print">
              <a:extLst>
                <a:ext uri="{28A0092B-C50C-407E-A947-70E740481C1C}">
                  <a14:useLocalDpi xmlns:a14="http://schemas.microsoft.com/office/drawing/2010/main"/>
                </a:ext>
                <a:ext uri="{96DAC541-7B7A-43D3-8B79-37D633B846F1}">
                  <asvg:svgBlip xmlns:asvg="http://schemas.microsoft.com/office/drawing/2016/SVG/main" r:embed="rId23"/>
                </a:ext>
              </a:extLst>
            </a:blip>
            <a:srcRect/>
            <a:stretch/>
          </p:blipFill>
          <p:spPr>
            <a:xfrm>
              <a:off x="9442604" y="1363270"/>
              <a:ext cx="106117" cy="101742"/>
            </a:xfrm>
            <a:prstGeom prst="rect">
              <a:avLst/>
            </a:prstGeom>
          </p:spPr>
        </p:pic>
        <p:grpSp>
          <p:nvGrpSpPr>
            <p:cNvPr id="140" name="Gráfico 93">
              <a:extLst>
                <a:ext uri="{FF2B5EF4-FFF2-40B4-BE49-F238E27FC236}">
                  <a16:creationId xmlns:a16="http://schemas.microsoft.com/office/drawing/2014/main" id="{6C25CC8B-F1CC-3E4D-B83E-2063F7AF0E31}"/>
                </a:ext>
              </a:extLst>
            </p:cNvPr>
            <p:cNvGrpSpPr/>
            <p:nvPr/>
          </p:nvGrpSpPr>
          <p:grpSpPr>
            <a:xfrm>
              <a:off x="9240790" y="1117839"/>
              <a:ext cx="46178" cy="44274"/>
              <a:chOff x="2827562" y="5657036"/>
              <a:chExt cx="570830" cy="570830"/>
            </a:xfrm>
            <a:solidFill>
              <a:schemeClr val="bg1"/>
            </a:solidFill>
          </p:grpSpPr>
          <p:sp>
            <p:nvSpPr>
              <p:cNvPr id="152" name="Forma libre 277">
                <a:extLst>
                  <a:ext uri="{FF2B5EF4-FFF2-40B4-BE49-F238E27FC236}">
                    <a16:creationId xmlns:a16="http://schemas.microsoft.com/office/drawing/2014/main" id="{D2B2E2EC-B10D-7105-AD03-41C0FDAC1268}"/>
                  </a:ext>
                </a:extLst>
              </p:cNvPr>
              <p:cNvSpPr/>
              <p:nvPr/>
            </p:nvSpPr>
            <p:spPr>
              <a:xfrm>
                <a:off x="2991448" y="6013805"/>
                <a:ext cx="195486" cy="166492"/>
              </a:xfrm>
              <a:custGeom>
                <a:avLst/>
                <a:gdLst>
                  <a:gd name="connsiteX0" fmla="*/ 192720 w 195486"/>
                  <a:gd name="connsiteY0" fmla="*/ 4273 h 166492"/>
                  <a:gd name="connsiteX1" fmla="*/ 183592 w 195486"/>
                  <a:gd name="connsiteY1" fmla="*/ 0 h 166492"/>
                  <a:gd name="connsiteX2" fmla="*/ 11896 w 195486"/>
                  <a:gd name="connsiteY2" fmla="*/ 0 h 166492"/>
                  <a:gd name="connsiteX3" fmla="*/ 2768 w 195486"/>
                  <a:gd name="connsiteY3" fmla="*/ 4273 h 166492"/>
                  <a:gd name="connsiteX4" fmla="*/ 189 w 195486"/>
                  <a:gd name="connsiteY4" fmla="*/ 14005 h 166492"/>
                  <a:gd name="connsiteX5" fmla="*/ 97743 w 195486"/>
                  <a:gd name="connsiteY5" fmla="*/ 166492 h 166492"/>
                  <a:gd name="connsiteX6" fmla="*/ 195297 w 195486"/>
                  <a:gd name="connsiteY6" fmla="*/ 14005 h 166492"/>
                  <a:gd name="connsiteX7" fmla="*/ 192720 w 195486"/>
                  <a:gd name="connsiteY7" fmla="*/ 4273 h 166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86" h="166492">
                    <a:moveTo>
                      <a:pt x="192720" y="4273"/>
                    </a:moveTo>
                    <a:cubicBezTo>
                      <a:pt x="190467" y="1555"/>
                      <a:pt x="187123" y="0"/>
                      <a:pt x="183592" y="0"/>
                    </a:cubicBezTo>
                    <a:lnTo>
                      <a:pt x="11896" y="0"/>
                    </a:lnTo>
                    <a:cubicBezTo>
                      <a:pt x="8365" y="0"/>
                      <a:pt x="5021" y="1556"/>
                      <a:pt x="2768" y="4273"/>
                    </a:cubicBezTo>
                    <a:cubicBezTo>
                      <a:pt x="514" y="6968"/>
                      <a:pt x="-438" y="10545"/>
                      <a:pt x="189" y="14005"/>
                    </a:cubicBezTo>
                    <a:cubicBezTo>
                      <a:pt x="17470" y="109493"/>
                      <a:pt x="53936" y="166492"/>
                      <a:pt x="97743" y="166492"/>
                    </a:cubicBezTo>
                    <a:cubicBezTo>
                      <a:pt x="141550" y="166492"/>
                      <a:pt x="178016" y="109493"/>
                      <a:pt x="195297" y="14005"/>
                    </a:cubicBezTo>
                    <a:cubicBezTo>
                      <a:pt x="195926" y="10545"/>
                      <a:pt x="194974" y="6968"/>
                      <a:pt x="192720" y="4273"/>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53" name="Forma libre 278">
                <a:extLst>
                  <a:ext uri="{FF2B5EF4-FFF2-40B4-BE49-F238E27FC236}">
                    <a16:creationId xmlns:a16="http://schemas.microsoft.com/office/drawing/2014/main" id="{44A8602F-FD42-FCC7-F60B-0AA3D1B259F2}"/>
                  </a:ext>
                </a:extLst>
              </p:cNvPr>
              <p:cNvSpPr/>
              <p:nvPr/>
            </p:nvSpPr>
            <p:spPr>
              <a:xfrm>
                <a:off x="2982162" y="5847313"/>
                <a:ext cx="214060" cy="142707"/>
              </a:xfrm>
              <a:custGeom>
                <a:avLst/>
                <a:gdLst>
                  <a:gd name="connsiteX0" fmla="*/ 199335 w 214060"/>
                  <a:gd name="connsiteY0" fmla="*/ 0 h 142707"/>
                  <a:gd name="connsiteX1" fmla="*/ 14726 w 214060"/>
                  <a:gd name="connsiteY1" fmla="*/ 0 h 142707"/>
                  <a:gd name="connsiteX2" fmla="*/ 2880 w 214060"/>
                  <a:gd name="connsiteY2" fmla="*/ 10778 h 142707"/>
                  <a:gd name="connsiteX3" fmla="*/ 0 w 214060"/>
                  <a:gd name="connsiteY3" fmla="*/ 71354 h 142707"/>
                  <a:gd name="connsiteX4" fmla="*/ 2880 w 214060"/>
                  <a:gd name="connsiteY4" fmla="*/ 131930 h 142707"/>
                  <a:gd name="connsiteX5" fmla="*/ 14726 w 214060"/>
                  <a:gd name="connsiteY5" fmla="*/ 142708 h 142707"/>
                  <a:gd name="connsiteX6" fmla="*/ 199335 w 214060"/>
                  <a:gd name="connsiteY6" fmla="*/ 142708 h 142707"/>
                  <a:gd name="connsiteX7" fmla="*/ 211181 w 214060"/>
                  <a:gd name="connsiteY7" fmla="*/ 131930 h 142707"/>
                  <a:gd name="connsiteX8" fmla="*/ 214060 w 214060"/>
                  <a:gd name="connsiteY8" fmla="*/ 71354 h 142707"/>
                  <a:gd name="connsiteX9" fmla="*/ 211181 w 214060"/>
                  <a:gd name="connsiteY9" fmla="*/ 10778 h 142707"/>
                  <a:gd name="connsiteX10" fmla="*/ 199335 w 214060"/>
                  <a:gd name="connsiteY10" fmla="*/ 0 h 14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4060" h="142707">
                    <a:moveTo>
                      <a:pt x="199335" y="0"/>
                    </a:moveTo>
                    <a:lnTo>
                      <a:pt x="14726" y="0"/>
                    </a:lnTo>
                    <a:cubicBezTo>
                      <a:pt x="8594" y="0"/>
                      <a:pt x="3461" y="4669"/>
                      <a:pt x="2880" y="10778"/>
                    </a:cubicBezTo>
                    <a:cubicBezTo>
                      <a:pt x="976" y="31217"/>
                      <a:pt x="0" y="51611"/>
                      <a:pt x="0" y="71354"/>
                    </a:cubicBezTo>
                    <a:cubicBezTo>
                      <a:pt x="0" y="91097"/>
                      <a:pt x="976" y="111490"/>
                      <a:pt x="2880" y="131930"/>
                    </a:cubicBezTo>
                    <a:cubicBezTo>
                      <a:pt x="3461" y="138039"/>
                      <a:pt x="8594" y="142708"/>
                      <a:pt x="14726" y="142708"/>
                    </a:cubicBezTo>
                    <a:lnTo>
                      <a:pt x="199335" y="142708"/>
                    </a:lnTo>
                    <a:cubicBezTo>
                      <a:pt x="205467" y="142708"/>
                      <a:pt x="210600" y="138039"/>
                      <a:pt x="211181" y="131930"/>
                    </a:cubicBezTo>
                    <a:cubicBezTo>
                      <a:pt x="213085" y="111490"/>
                      <a:pt x="214060" y="91097"/>
                      <a:pt x="214060" y="71354"/>
                    </a:cubicBezTo>
                    <a:cubicBezTo>
                      <a:pt x="214060" y="51611"/>
                      <a:pt x="213085" y="31217"/>
                      <a:pt x="211181" y="10778"/>
                    </a:cubicBezTo>
                    <a:cubicBezTo>
                      <a:pt x="210601" y="4668"/>
                      <a:pt x="205467" y="0"/>
                      <a:pt x="199335" y="0"/>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54" name="Forma libre 279">
                <a:extLst>
                  <a:ext uri="{FF2B5EF4-FFF2-40B4-BE49-F238E27FC236}">
                    <a16:creationId xmlns:a16="http://schemas.microsoft.com/office/drawing/2014/main" id="{06E18497-2191-17C6-F8FB-819745E0CD79}"/>
                  </a:ext>
                </a:extLst>
              </p:cNvPr>
              <p:cNvSpPr/>
              <p:nvPr/>
            </p:nvSpPr>
            <p:spPr>
              <a:xfrm>
                <a:off x="2991449" y="5657036"/>
                <a:ext cx="195487" cy="166491"/>
              </a:xfrm>
              <a:custGeom>
                <a:avLst/>
                <a:gdLst>
                  <a:gd name="connsiteX0" fmla="*/ 2767 w 195487"/>
                  <a:gd name="connsiteY0" fmla="*/ 162219 h 166491"/>
                  <a:gd name="connsiteX1" fmla="*/ 11896 w 195487"/>
                  <a:gd name="connsiteY1" fmla="*/ 166492 h 166491"/>
                  <a:gd name="connsiteX2" fmla="*/ 183591 w 195487"/>
                  <a:gd name="connsiteY2" fmla="*/ 166492 h 166491"/>
                  <a:gd name="connsiteX3" fmla="*/ 192720 w 195487"/>
                  <a:gd name="connsiteY3" fmla="*/ 162219 h 166491"/>
                  <a:gd name="connsiteX4" fmla="*/ 195299 w 195487"/>
                  <a:gd name="connsiteY4" fmla="*/ 152487 h 166491"/>
                  <a:gd name="connsiteX5" fmla="*/ 97743 w 195487"/>
                  <a:gd name="connsiteY5" fmla="*/ 0 h 166491"/>
                  <a:gd name="connsiteX6" fmla="*/ 189 w 195487"/>
                  <a:gd name="connsiteY6" fmla="*/ 152487 h 166491"/>
                  <a:gd name="connsiteX7" fmla="*/ 2767 w 195487"/>
                  <a:gd name="connsiteY7" fmla="*/ 162219 h 166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487" h="166491">
                    <a:moveTo>
                      <a:pt x="2767" y="162219"/>
                    </a:moveTo>
                    <a:cubicBezTo>
                      <a:pt x="5020" y="164937"/>
                      <a:pt x="8365" y="166492"/>
                      <a:pt x="11896" y="166492"/>
                    </a:cubicBezTo>
                    <a:lnTo>
                      <a:pt x="183591" y="166492"/>
                    </a:lnTo>
                    <a:cubicBezTo>
                      <a:pt x="187122" y="166492"/>
                      <a:pt x="190467" y="164936"/>
                      <a:pt x="192720" y="162219"/>
                    </a:cubicBezTo>
                    <a:cubicBezTo>
                      <a:pt x="194973" y="159524"/>
                      <a:pt x="195925" y="155947"/>
                      <a:pt x="195299" y="152487"/>
                    </a:cubicBezTo>
                    <a:cubicBezTo>
                      <a:pt x="178017" y="56999"/>
                      <a:pt x="141549" y="0"/>
                      <a:pt x="97743" y="0"/>
                    </a:cubicBezTo>
                    <a:cubicBezTo>
                      <a:pt x="53937" y="0"/>
                      <a:pt x="17470" y="56999"/>
                      <a:pt x="189" y="152487"/>
                    </a:cubicBezTo>
                    <a:cubicBezTo>
                      <a:pt x="-438" y="155947"/>
                      <a:pt x="514" y="159524"/>
                      <a:pt x="2767" y="162219"/>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55" name="Forma libre 280">
                <a:extLst>
                  <a:ext uri="{FF2B5EF4-FFF2-40B4-BE49-F238E27FC236}">
                    <a16:creationId xmlns:a16="http://schemas.microsoft.com/office/drawing/2014/main" id="{47C9548D-C23A-9FD2-03E8-D9A8493448ED}"/>
                  </a:ext>
                </a:extLst>
              </p:cNvPr>
              <p:cNvSpPr/>
              <p:nvPr/>
            </p:nvSpPr>
            <p:spPr>
              <a:xfrm>
                <a:off x="3231899" y="5942451"/>
                <a:ext cx="166493" cy="166493"/>
              </a:xfrm>
              <a:custGeom>
                <a:avLst/>
                <a:gdLst>
                  <a:gd name="connsiteX0" fmla="*/ 166493 w 166493"/>
                  <a:gd name="connsiteY0" fmla="*/ 83247 h 166493"/>
                  <a:gd name="connsiteX1" fmla="*/ 83247 w 166493"/>
                  <a:gd name="connsiteY1" fmla="*/ 166493 h 166493"/>
                  <a:gd name="connsiteX2" fmla="*/ 0 w 166493"/>
                  <a:gd name="connsiteY2" fmla="*/ 83247 h 166493"/>
                  <a:gd name="connsiteX3" fmla="*/ 83247 w 166493"/>
                  <a:gd name="connsiteY3" fmla="*/ 0 h 166493"/>
                  <a:gd name="connsiteX4" fmla="*/ 166493 w 166493"/>
                  <a:gd name="connsiteY4" fmla="*/ 83247 h 1664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493" h="166493">
                    <a:moveTo>
                      <a:pt x="166493" y="83247"/>
                    </a:moveTo>
                    <a:cubicBezTo>
                      <a:pt x="166493" y="129222"/>
                      <a:pt x="129222" y="166493"/>
                      <a:pt x="83247" y="166493"/>
                    </a:cubicBezTo>
                    <a:cubicBezTo>
                      <a:pt x="37271" y="166493"/>
                      <a:pt x="0" y="129222"/>
                      <a:pt x="0" y="83247"/>
                    </a:cubicBezTo>
                    <a:cubicBezTo>
                      <a:pt x="0" y="37271"/>
                      <a:pt x="37271" y="0"/>
                      <a:pt x="83247" y="0"/>
                    </a:cubicBezTo>
                    <a:cubicBezTo>
                      <a:pt x="129222" y="0"/>
                      <a:pt x="166493" y="37271"/>
                      <a:pt x="166493" y="83247"/>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56" name="Forma libre 281">
                <a:extLst>
                  <a:ext uri="{FF2B5EF4-FFF2-40B4-BE49-F238E27FC236}">
                    <a16:creationId xmlns:a16="http://schemas.microsoft.com/office/drawing/2014/main" id="{2F266FA8-A2EC-85B6-1F90-FB8A3A6FB714}"/>
                  </a:ext>
                </a:extLst>
              </p:cNvPr>
              <p:cNvSpPr/>
              <p:nvPr/>
            </p:nvSpPr>
            <p:spPr>
              <a:xfrm>
                <a:off x="2827562" y="5847312"/>
                <a:ext cx="133489" cy="142708"/>
              </a:xfrm>
              <a:custGeom>
                <a:avLst/>
                <a:gdLst>
                  <a:gd name="connsiteX0" fmla="*/ 130375 w 133489"/>
                  <a:gd name="connsiteY0" fmla="*/ 138852 h 142708"/>
                  <a:gd name="connsiteX1" fmla="*/ 133441 w 133489"/>
                  <a:gd name="connsiteY1" fmla="*/ 129770 h 142708"/>
                  <a:gd name="connsiteX2" fmla="*/ 130816 w 133489"/>
                  <a:gd name="connsiteY2" fmla="*/ 71354 h 142708"/>
                  <a:gd name="connsiteX3" fmla="*/ 133441 w 133489"/>
                  <a:gd name="connsiteY3" fmla="*/ 12937 h 142708"/>
                  <a:gd name="connsiteX4" fmla="*/ 130375 w 133489"/>
                  <a:gd name="connsiteY4" fmla="*/ 3855 h 142708"/>
                  <a:gd name="connsiteX5" fmla="*/ 121595 w 133489"/>
                  <a:gd name="connsiteY5" fmla="*/ 0 h 142708"/>
                  <a:gd name="connsiteX6" fmla="*/ 19325 w 133489"/>
                  <a:gd name="connsiteY6" fmla="*/ 0 h 142708"/>
                  <a:gd name="connsiteX7" fmla="*/ 7781 w 133489"/>
                  <a:gd name="connsiteY7" fmla="*/ 9059 h 142708"/>
                  <a:gd name="connsiteX8" fmla="*/ 0 w 133489"/>
                  <a:gd name="connsiteY8" fmla="*/ 71355 h 142708"/>
                  <a:gd name="connsiteX9" fmla="*/ 7781 w 133489"/>
                  <a:gd name="connsiteY9" fmla="*/ 133650 h 142708"/>
                  <a:gd name="connsiteX10" fmla="*/ 19325 w 133489"/>
                  <a:gd name="connsiteY10" fmla="*/ 142709 h 142708"/>
                  <a:gd name="connsiteX11" fmla="*/ 121594 w 133489"/>
                  <a:gd name="connsiteY11" fmla="*/ 142709 h 142708"/>
                  <a:gd name="connsiteX12" fmla="*/ 130375 w 133489"/>
                  <a:gd name="connsiteY12" fmla="*/ 138852 h 142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3489" h="142708">
                    <a:moveTo>
                      <a:pt x="130375" y="138852"/>
                    </a:moveTo>
                    <a:cubicBezTo>
                      <a:pt x="132628" y="136391"/>
                      <a:pt x="133743" y="133092"/>
                      <a:pt x="133441" y="129770"/>
                    </a:cubicBezTo>
                    <a:cubicBezTo>
                      <a:pt x="131698" y="110028"/>
                      <a:pt x="130816" y="90377"/>
                      <a:pt x="130816" y="71354"/>
                    </a:cubicBezTo>
                    <a:cubicBezTo>
                      <a:pt x="130816" y="52330"/>
                      <a:pt x="131699" y="32680"/>
                      <a:pt x="133441" y="12937"/>
                    </a:cubicBezTo>
                    <a:cubicBezTo>
                      <a:pt x="133743" y="9616"/>
                      <a:pt x="132628" y="6317"/>
                      <a:pt x="130375" y="3855"/>
                    </a:cubicBezTo>
                    <a:cubicBezTo>
                      <a:pt x="128121" y="1394"/>
                      <a:pt x="124940" y="0"/>
                      <a:pt x="121595" y="0"/>
                    </a:cubicBezTo>
                    <a:lnTo>
                      <a:pt x="19325" y="0"/>
                    </a:lnTo>
                    <a:cubicBezTo>
                      <a:pt x="13844" y="0"/>
                      <a:pt x="9082" y="3739"/>
                      <a:pt x="7781" y="9059"/>
                    </a:cubicBezTo>
                    <a:cubicBezTo>
                      <a:pt x="2624" y="30057"/>
                      <a:pt x="0" y="51008"/>
                      <a:pt x="0" y="71355"/>
                    </a:cubicBezTo>
                    <a:cubicBezTo>
                      <a:pt x="0" y="91702"/>
                      <a:pt x="2624" y="112653"/>
                      <a:pt x="7781" y="133650"/>
                    </a:cubicBezTo>
                    <a:cubicBezTo>
                      <a:pt x="9082" y="138969"/>
                      <a:pt x="13844" y="142709"/>
                      <a:pt x="19325" y="142709"/>
                    </a:cubicBezTo>
                    <a:lnTo>
                      <a:pt x="121594" y="142709"/>
                    </a:lnTo>
                    <a:cubicBezTo>
                      <a:pt x="124940" y="142709"/>
                      <a:pt x="128121" y="141315"/>
                      <a:pt x="130375" y="138852"/>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57" name="Forma libre 282">
                <a:extLst>
                  <a:ext uri="{FF2B5EF4-FFF2-40B4-BE49-F238E27FC236}">
                    <a16:creationId xmlns:a16="http://schemas.microsoft.com/office/drawing/2014/main" id="{B1531AA3-2AD4-A292-DA6F-1DE2B42AEC9F}"/>
                  </a:ext>
                </a:extLst>
              </p:cNvPr>
              <p:cNvSpPr/>
              <p:nvPr/>
            </p:nvSpPr>
            <p:spPr>
              <a:xfrm>
                <a:off x="3170995" y="5675310"/>
                <a:ext cx="155349" cy="148218"/>
              </a:xfrm>
              <a:custGeom>
                <a:avLst/>
                <a:gdLst>
                  <a:gd name="connsiteX0" fmla="*/ 40627 w 155349"/>
                  <a:gd name="connsiteY0" fmla="*/ 138277 h 148218"/>
                  <a:gd name="connsiteX1" fmla="*/ 52357 w 155349"/>
                  <a:gd name="connsiteY1" fmla="*/ 148218 h 148218"/>
                  <a:gd name="connsiteX2" fmla="*/ 143454 w 155349"/>
                  <a:gd name="connsiteY2" fmla="*/ 148218 h 148218"/>
                  <a:gd name="connsiteX3" fmla="*/ 153511 w 155349"/>
                  <a:gd name="connsiteY3" fmla="*/ 142690 h 148218"/>
                  <a:gd name="connsiteX4" fmla="*/ 154185 w 155349"/>
                  <a:gd name="connsiteY4" fmla="*/ 131216 h 148218"/>
                  <a:gd name="connsiteX5" fmla="*/ 16378 w 155349"/>
                  <a:gd name="connsiteY5" fmla="*/ 888 h 148218"/>
                  <a:gd name="connsiteX6" fmla="*/ 2953 w 155349"/>
                  <a:gd name="connsiteY6" fmla="*/ 4070 h 148218"/>
                  <a:gd name="connsiteX7" fmla="*/ 1559 w 155349"/>
                  <a:gd name="connsiteY7" fmla="*/ 17798 h 148218"/>
                  <a:gd name="connsiteX8" fmla="*/ 40627 w 155349"/>
                  <a:gd name="connsiteY8" fmla="*/ 138277 h 148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349" h="148218">
                    <a:moveTo>
                      <a:pt x="40627" y="138277"/>
                    </a:moveTo>
                    <a:cubicBezTo>
                      <a:pt x="41580" y="144014"/>
                      <a:pt x="46527" y="148218"/>
                      <a:pt x="52357" y="148218"/>
                    </a:cubicBezTo>
                    <a:lnTo>
                      <a:pt x="143454" y="148218"/>
                    </a:lnTo>
                    <a:cubicBezTo>
                      <a:pt x="147542" y="148218"/>
                      <a:pt x="151329" y="146128"/>
                      <a:pt x="153511" y="142690"/>
                    </a:cubicBezTo>
                    <a:cubicBezTo>
                      <a:pt x="155694" y="139230"/>
                      <a:pt x="155951" y="134910"/>
                      <a:pt x="154185" y="131216"/>
                    </a:cubicBezTo>
                    <a:cubicBezTo>
                      <a:pt x="125963" y="71777"/>
                      <a:pt x="77025" y="25508"/>
                      <a:pt x="16378" y="888"/>
                    </a:cubicBezTo>
                    <a:cubicBezTo>
                      <a:pt x="11663" y="-1040"/>
                      <a:pt x="6297" y="238"/>
                      <a:pt x="2953" y="4070"/>
                    </a:cubicBezTo>
                    <a:cubicBezTo>
                      <a:pt x="-392" y="7880"/>
                      <a:pt x="-950" y="13384"/>
                      <a:pt x="1559" y="17798"/>
                    </a:cubicBezTo>
                    <a:cubicBezTo>
                      <a:pt x="19189" y="48690"/>
                      <a:pt x="32707" y="90359"/>
                      <a:pt x="40627" y="138277"/>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58" name="Forma libre 283">
                <a:extLst>
                  <a:ext uri="{FF2B5EF4-FFF2-40B4-BE49-F238E27FC236}">
                    <a16:creationId xmlns:a16="http://schemas.microsoft.com/office/drawing/2014/main" id="{D6905254-9C7F-6696-59B8-FD4859BA919F}"/>
                  </a:ext>
                </a:extLst>
              </p:cNvPr>
              <p:cNvSpPr/>
              <p:nvPr/>
            </p:nvSpPr>
            <p:spPr>
              <a:xfrm>
                <a:off x="2851924" y="5675353"/>
                <a:ext cx="155419" cy="148174"/>
              </a:xfrm>
              <a:custGeom>
                <a:avLst/>
                <a:gdLst>
                  <a:gd name="connsiteX0" fmla="*/ 11895 w 155419"/>
                  <a:gd name="connsiteY0" fmla="*/ 148174 h 148174"/>
                  <a:gd name="connsiteX1" fmla="*/ 103109 w 155419"/>
                  <a:gd name="connsiteY1" fmla="*/ 148174 h 148174"/>
                  <a:gd name="connsiteX2" fmla="*/ 114839 w 155419"/>
                  <a:gd name="connsiteY2" fmla="*/ 138233 h 148174"/>
                  <a:gd name="connsiteX3" fmla="*/ 153860 w 155419"/>
                  <a:gd name="connsiteY3" fmla="*/ 17800 h 148174"/>
                  <a:gd name="connsiteX4" fmla="*/ 152467 w 155419"/>
                  <a:gd name="connsiteY4" fmla="*/ 4095 h 148174"/>
                  <a:gd name="connsiteX5" fmla="*/ 139065 w 155419"/>
                  <a:gd name="connsiteY5" fmla="*/ 913 h 148174"/>
                  <a:gd name="connsiteX6" fmla="*/ 1164 w 155419"/>
                  <a:gd name="connsiteY6" fmla="*/ 131172 h 148174"/>
                  <a:gd name="connsiteX7" fmla="*/ 1838 w 155419"/>
                  <a:gd name="connsiteY7" fmla="*/ 142623 h 148174"/>
                  <a:gd name="connsiteX8" fmla="*/ 11895 w 155419"/>
                  <a:gd name="connsiteY8" fmla="*/ 148174 h 148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419" h="148174">
                    <a:moveTo>
                      <a:pt x="11895" y="148174"/>
                    </a:moveTo>
                    <a:lnTo>
                      <a:pt x="103109" y="148174"/>
                    </a:lnTo>
                    <a:cubicBezTo>
                      <a:pt x="108939" y="148174"/>
                      <a:pt x="113887" y="143970"/>
                      <a:pt x="114839" y="138233"/>
                    </a:cubicBezTo>
                    <a:cubicBezTo>
                      <a:pt x="122759" y="90339"/>
                      <a:pt x="136254" y="48692"/>
                      <a:pt x="153860" y="17800"/>
                    </a:cubicBezTo>
                    <a:cubicBezTo>
                      <a:pt x="156369" y="13409"/>
                      <a:pt x="155811" y="7905"/>
                      <a:pt x="152467" y="4095"/>
                    </a:cubicBezTo>
                    <a:cubicBezTo>
                      <a:pt x="149122" y="240"/>
                      <a:pt x="143687" y="-1061"/>
                      <a:pt x="139065" y="913"/>
                    </a:cubicBezTo>
                    <a:cubicBezTo>
                      <a:pt x="78371" y="25513"/>
                      <a:pt x="29408" y="71781"/>
                      <a:pt x="1164" y="131172"/>
                    </a:cubicBezTo>
                    <a:cubicBezTo>
                      <a:pt x="-601" y="134866"/>
                      <a:pt x="-345" y="139186"/>
                      <a:pt x="1838" y="142623"/>
                    </a:cubicBezTo>
                    <a:cubicBezTo>
                      <a:pt x="4021" y="146084"/>
                      <a:pt x="7807" y="148174"/>
                      <a:pt x="11895" y="148174"/>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59" name="Forma libre 284">
                <a:extLst>
                  <a:ext uri="{FF2B5EF4-FFF2-40B4-BE49-F238E27FC236}">
                    <a16:creationId xmlns:a16="http://schemas.microsoft.com/office/drawing/2014/main" id="{DCB81B0A-4088-F72F-7CD3-87CD93E9C2B4}"/>
                  </a:ext>
                </a:extLst>
              </p:cNvPr>
              <p:cNvSpPr/>
              <p:nvPr/>
            </p:nvSpPr>
            <p:spPr>
              <a:xfrm>
                <a:off x="3217335" y="5847313"/>
                <a:ext cx="133009" cy="105915"/>
              </a:xfrm>
              <a:custGeom>
                <a:avLst/>
                <a:gdLst>
                  <a:gd name="connsiteX0" fmla="*/ 3115 w 133009"/>
                  <a:gd name="connsiteY0" fmla="*/ 3855 h 105915"/>
                  <a:gd name="connsiteX1" fmla="*/ 49 w 133009"/>
                  <a:gd name="connsiteY1" fmla="*/ 12937 h 105915"/>
                  <a:gd name="connsiteX2" fmla="*/ 2673 w 133009"/>
                  <a:gd name="connsiteY2" fmla="*/ 71354 h 105915"/>
                  <a:gd name="connsiteX3" fmla="*/ 2232 w 133009"/>
                  <a:gd name="connsiteY3" fmla="*/ 93629 h 105915"/>
                  <a:gd name="connsiteX4" fmla="*/ 9363 w 133009"/>
                  <a:gd name="connsiteY4" fmla="*/ 104917 h 105915"/>
                  <a:gd name="connsiteX5" fmla="*/ 14124 w 133009"/>
                  <a:gd name="connsiteY5" fmla="*/ 105916 h 105915"/>
                  <a:gd name="connsiteX6" fmla="*/ 22486 w 133009"/>
                  <a:gd name="connsiteY6" fmla="*/ 102479 h 105915"/>
                  <a:gd name="connsiteX7" fmla="*/ 118809 w 133009"/>
                  <a:gd name="connsiteY7" fmla="*/ 73468 h 105915"/>
                  <a:gd name="connsiteX8" fmla="*/ 128844 w 133009"/>
                  <a:gd name="connsiteY8" fmla="*/ 70843 h 105915"/>
                  <a:gd name="connsiteX9" fmla="*/ 133001 w 133009"/>
                  <a:gd name="connsiteY9" fmla="*/ 61367 h 105915"/>
                  <a:gd name="connsiteX10" fmla="*/ 125662 w 133009"/>
                  <a:gd name="connsiteY10" fmla="*/ 9082 h 105915"/>
                  <a:gd name="connsiteX11" fmla="*/ 114118 w 133009"/>
                  <a:gd name="connsiteY11" fmla="*/ 0 h 105915"/>
                  <a:gd name="connsiteX12" fmla="*/ 11895 w 133009"/>
                  <a:gd name="connsiteY12" fmla="*/ 0 h 105915"/>
                  <a:gd name="connsiteX13" fmla="*/ 3115 w 133009"/>
                  <a:gd name="connsiteY13" fmla="*/ 3855 h 10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009" h="105915">
                    <a:moveTo>
                      <a:pt x="3115" y="3855"/>
                    </a:moveTo>
                    <a:cubicBezTo>
                      <a:pt x="861" y="6317"/>
                      <a:pt x="-253" y="9616"/>
                      <a:pt x="49" y="12937"/>
                    </a:cubicBezTo>
                    <a:cubicBezTo>
                      <a:pt x="1791" y="32680"/>
                      <a:pt x="2673" y="52330"/>
                      <a:pt x="2673" y="71354"/>
                    </a:cubicBezTo>
                    <a:cubicBezTo>
                      <a:pt x="2673" y="78740"/>
                      <a:pt x="2487" y="86173"/>
                      <a:pt x="2232" y="93629"/>
                    </a:cubicBezTo>
                    <a:cubicBezTo>
                      <a:pt x="2069" y="98483"/>
                      <a:pt x="4903" y="102966"/>
                      <a:pt x="9363" y="104917"/>
                    </a:cubicBezTo>
                    <a:cubicBezTo>
                      <a:pt x="10896" y="105590"/>
                      <a:pt x="12521" y="105916"/>
                      <a:pt x="14124" y="105916"/>
                    </a:cubicBezTo>
                    <a:cubicBezTo>
                      <a:pt x="17190" y="105916"/>
                      <a:pt x="20233" y="104731"/>
                      <a:pt x="22486" y="102479"/>
                    </a:cubicBezTo>
                    <a:cubicBezTo>
                      <a:pt x="47664" y="77556"/>
                      <a:pt x="81715" y="66268"/>
                      <a:pt x="118809" y="73468"/>
                    </a:cubicBezTo>
                    <a:cubicBezTo>
                      <a:pt x="122433" y="74257"/>
                      <a:pt x="126056" y="73212"/>
                      <a:pt x="128844" y="70843"/>
                    </a:cubicBezTo>
                    <a:cubicBezTo>
                      <a:pt x="131607" y="68497"/>
                      <a:pt x="133140" y="64990"/>
                      <a:pt x="133001" y="61367"/>
                    </a:cubicBezTo>
                    <a:cubicBezTo>
                      <a:pt x="132328" y="43876"/>
                      <a:pt x="129865" y="26270"/>
                      <a:pt x="125662" y="9082"/>
                    </a:cubicBezTo>
                    <a:cubicBezTo>
                      <a:pt x="124360" y="3739"/>
                      <a:pt x="119599" y="0"/>
                      <a:pt x="114118" y="0"/>
                    </a:cubicBezTo>
                    <a:lnTo>
                      <a:pt x="11895" y="0"/>
                    </a:lnTo>
                    <a:cubicBezTo>
                      <a:pt x="8550" y="0"/>
                      <a:pt x="5368" y="1394"/>
                      <a:pt x="3115" y="3855"/>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60" name="Forma libre 285">
                <a:extLst>
                  <a:ext uri="{FF2B5EF4-FFF2-40B4-BE49-F238E27FC236}">
                    <a16:creationId xmlns:a16="http://schemas.microsoft.com/office/drawing/2014/main" id="{3207A89B-A34A-5533-2926-FE2B15BC7C3C}"/>
                  </a:ext>
                </a:extLst>
              </p:cNvPr>
              <p:cNvSpPr/>
              <p:nvPr/>
            </p:nvSpPr>
            <p:spPr>
              <a:xfrm>
                <a:off x="2851924" y="6013805"/>
                <a:ext cx="155419" cy="148142"/>
              </a:xfrm>
              <a:custGeom>
                <a:avLst/>
                <a:gdLst>
                  <a:gd name="connsiteX0" fmla="*/ 114838 w 155419"/>
                  <a:gd name="connsiteY0" fmla="*/ 9942 h 148142"/>
                  <a:gd name="connsiteX1" fmla="*/ 103108 w 155419"/>
                  <a:gd name="connsiteY1" fmla="*/ 0 h 148142"/>
                  <a:gd name="connsiteX2" fmla="*/ 11896 w 155419"/>
                  <a:gd name="connsiteY2" fmla="*/ 0 h 148142"/>
                  <a:gd name="connsiteX3" fmla="*/ 1838 w 155419"/>
                  <a:gd name="connsiteY3" fmla="*/ 5551 h 148142"/>
                  <a:gd name="connsiteX4" fmla="*/ 1165 w 155419"/>
                  <a:gd name="connsiteY4" fmla="*/ 17002 h 148142"/>
                  <a:gd name="connsiteX5" fmla="*/ 139065 w 155419"/>
                  <a:gd name="connsiteY5" fmla="*/ 147260 h 148142"/>
                  <a:gd name="connsiteX6" fmla="*/ 143525 w 155419"/>
                  <a:gd name="connsiteY6" fmla="*/ 148143 h 148142"/>
                  <a:gd name="connsiteX7" fmla="*/ 152467 w 155419"/>
                  <a:gd name="connsiteY7" fmla="*/ 144078 h 148142"/>
                  <a:gd name="connsiteX8" fmla="*/ 153861 w 155419"/>
                  <a:gd name="connsiteY8" fmla="*/ 130374 h 148142"/>
                  <a:gd name="connsiteX9" fmla="*/ 114838 w 155419"/>
                  <a:gd name="connsiteY9" fmla="*/ 9942 h 14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5419" h="148142">
                    <a:moveTo>
                      <a:pt x="114838" y="9942"/>
                    </a:moveTo>
                    <a:cubicBezTo>
                      <a:pt x="113886" y="4204"/>
                      <a:pt x="108939" y="0"/>
                      <a:pt x="103108" y="0"/>
                    </a:cubicBezTo>
                    <a:lnTo>
                      <a:pt x="11896" y="0"/>
                    </a:lnTo>
                    <a:cubicBezTo>
                      <a:pt x="7807" y="0"/>
                      <a:pt x="4021" y="2090"/>
                      <a:pt x="1838" y="5551"/>
                    </a:cubicBezTo>
                    <a:cubicBezTo>
                      <a:pt x="-345" y="8988"/>
                      <a:pt x="-601" y="13309"/>
                      <a:pt x="1165" y="17002"/>
                    </a:cubicBezTo>
                    <a:cubicBezTo>
                      <a:pt x="29409" y="76394"/>
                      <a:pt x="78372" y="122663"/>
                      <a:pt x="139065" y="147260"/>
                    </a:cubicBezTo>
                    <a:cubicBezTo>
                      <a:pt x="140505" y="147864"/>
                      <a:pt x="142015" y="148143"/>
                      <a:pt x="143525" y="148143"/>
                    </a:cubicBezTo>
                    <a:cubicBezTo>
                      <a:pt x="146869" y="148143"/>
                      <a:pt x="150167" y="146726"/>
                      <a:pt x="152467" y="144078"/>
                    </a:cubicBezTo>
                    <a:cubicBezTo>
                      <a:pt x="155812" y="140268"/>
                      <a:pt x="156369" y="134764"/>
                      <a:pt x="153861" y="130374"/>
                    </a:cubicBezTo>
                    <a:cubicBezTo>
                      <a:pt x="136254" y="99482"/>
                      <a:pt x="122758" y="57836"/>
                      <a:pt x="114838" y="9942"/>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61" name="Forma libre 286">
                <a:extLst>
                  <a:ext uri="{FF2B5EF4-FFF2-40B4-BE49-F238E27FC236}">
                    <a16:creationId xmlns:a16="http://schemas.microsoft.com/office/drawing/2014/main" id="{DC035CDB-4F26-6FAF-EC91-B83324E73CCE}"/>
                  </a:ext>
                </a:extLst>
              </p:cNvPr>
              <p:cNvSpPr/>
              <p:nvPr/>
            </p:nvSpPr>
            <p:spPr>
              <a:xfrm>
                <a:off x="3171418" y="6069868"/>
                <a:ext cx="60483" cy="91405"/>
              </a:xfrm>
              <a:custGeom>
                <a:avLst/>
                <a:gdLst>
                  <a:gd name="connsiteX0" fmla="*/ 49774 w 60483"/>
                  <a:gd name="connsiteY0" fmla="*/ 6185 h 91405"/>
                  <a:gd name="connsiteX1" fmla="*/ 38045 w 60483"/>
                  <a:gd name="connsiteY1" fmla="*/ 53 h 91405"/>
                  <a:gd name="connsiteX2" fmla="*/ 27918 w 60483"/>
                  <a:gd name="connsiteY2" fmla="*/ 8601 h 91405"/>
                  <a:gd name="connsiteX3" fmla="*/ 1531 w 60483"/>
                  <a:gd name="connsiteY3" fmla="*/ 73660 h 91405"/>
                  <a:gd name="connsiteX4" fmla="*/ 2972 w 60483"/>
                  <a:gd name="connsiteY4" fmla="*/ 87388 h 91405"/>
                  <a:gd name="connsiteX5" fmla="*/ 11891 w 60483"/>
                  <a:gd name="connsiteY5" fmla="*/ 91406 h 91405"/>
                  <a:gd name="connsiteX6" fmla="*/ 16398 w 60483"/>
                  <a:gd name="connsiteY6" fmla="*/ 90523 h 91405"/>
                  <a:gd name="connsiteX7" fmla="*/ 54838 w 60483"/>
                  <a:gd name="connsiteY7" fmla="*/ 71360 h 91405"/>
                  <a:gd name="connsiteX8" fmla="*/ 60483 w 60483"/>
                  <a:gd name="connsiteY8" fmla="*/ 61233 h 91405"/>
                  <a:gd name="connsiteX9" fmla="*/ 60483 w 60483"/>
                  <a:gd name="connsiteY9" fmla="*/ 26439 h 91405"/>
                  <a:gd name="connsiteX10" fmla="*/ 58114 w 60483"/>
                  <a:gd name="connsiteY10" fmla="*/ 19308 h 91405"/>
                  <a:gd name="connsiteX11" fmla="*/ 49774 w 60483"/>
                  <a:gd name="connsiteY11" fmla="*/ 6185 h 9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483" h="91405">
                    <a:moveTo>
                      <a:pt x="49774" y="6185"/>
                    </a:moveTo>
                    <a:cubicBezTo>
                      <a:pt x="47474" y="1957"/>
                      <a:pt x="43062" y="-389"/>
                      <a:pt x="38045" y="53"/>
                    </a:cubicBezTo>
                    <a:cubicBezTo>
                      <a:pt x="33236" y="587"/>
                      <a:pt x="29241" y="3955"/>
                      <a:pt x="27918" y="8601"/>
                    </a:cubicBezTo>
                    <a:cubicBezTo>
                      <a:pt x="20764" y="33500"/>
                      <a:pt x="11891" y="55403"/>
                      <a:pt x="1531" y="73660"/>
                    </a:cubicBezTo>
                    <a:cubicBezTo>
                      <a:pt x="-954" y="78073"/>
                      <a:pt x="-373" y="83578"/>
                      <a:pt x="2972" y="87388"/>
                    </a:cubicBezTo>
                    <a:cubicBezTo>
                      <a:pt x="5272" y="89989"/>
                      <a:pt x="8546" y="91406"/>
                      <a:pt x="11891" y="91406"/>
                    </a:cubicBezTo>
                    <a:cubicBezTo>
                      <a:pt x="13401" y="91406"/>
                      <a:pt x="14934" y="91127"/>
                      <a:pt x="16398" y="90523"/>
                    </a:cubicBezTo>
                    <a:cubicBezTo>
                      <a:pt x="31240" y="84414"/>
                      <a:pt x="43829" y="78143"/>
                      <a:pt x="54838" y="71360"/>
                    </a:cubicBezTo>
                    <a:cubicBezTo>
                      <a:pt x="58346" y="69177"/>
                      <a:pt x="60483" y="65367"/>
                      <a:pt x="60483" y="61233"/>
                    </a:cubicBezTo>
                    <a:lnTo>
                      <a:pt x="60483" y="26439"/>
                    </a:lnTo>
                    <a:cubicBezTo>
                      <a:pt x="60483" y="23884"/>
                      <a:pt x="59647" y="21375"/>
                      <a:pt x="58114" y="19308"/>
                    </a:cubicBezTo>
                    <a:cubicBezTo>
                      <a:pt x="55023" y="15174"/>
                      <a:pt x="52283" y="10738"/>
                      <a:pt x="49774" y="6185"/>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62" name="Forma libre 287">
                <a:extLst>
                  <a:ext uri="{FF2B5EF4-FFF2-40B4-BE49-F238E27FC236}">
                    <a16:creationId xmlns:a16="http://schemas.microsoft.com/office/drawing/2014/main" id="{CF5855EA-7CF2-5CDE-C806-DB22D259DEAE}"/>
                  </a:ext>
                </a:extLst>
              </p:cNvPr>
              <p:cNvSpPr/>
              <p:nvPr/>
            </p:nvSpPr>
            <p:spPr>
              <a:xfrm>
                <a:off x="3255685" y="6122681"/>
                <a:ext cx="118922" cy="105185"/>
              </a:xfrm>
              <a:custGeom>
                <a:avLst/>
                <a:gdLst>
                  <a:gd name="connsiteX0" fmla="*/ 113534 w 118922"/>
                  <a:gd name="connsiteY0" fmla="*/ 1941 h 105185"/>
                  <a:gd name="connsiteX1" fmla="*/ 102269 w 118922"/>
                  <a:gd name="connsiteY1" fmla="*/ 1012 h 105185"/>
                  <a:gd name="connsiteX2" fmla="*/ 16653 w 118922"/>
                  <a:gd name="connsiteY2" fmla="*/ 1012 h 105185"/>
                  <a:gd name="connsiteX3" fmla="*/ 5388 w 118922"/>
                  <a:gd name="connsiteY3" fmla="*/ 1941 h 105185"/>
                  <a:gd name="connsiteX4" fmla="*/ 0 w 118922"/>
                  <a:gd name="connsiteY4" fmla="*/ 11906 h 105185"/>
                  <a:gd name="connsiteX5" fmla="*/ 0 w 118922"/>
                  <a:gd name="connsiteY5" fmla="*/ 93294 h 105185"/>
                  <a:gd name="connsiteX6" fmla="*/ 7339 w 118922"/>
                  <a:gd name="connsiteY6" fmla="*/ 104280 h 105185"/>
                  <a:gd name="connsiteX7" fmla="*/ 20300 w 118922"/>
                  <a:gd name="connsiteY7" fmla="*/ 101702 h 105185"/>
                  <a:gd name="connsiteX8" fmla="*/ 59461 w 118922"/>
                  <a:gd name="connsiteY8" fmla="*/ 62541 h 105185"/>
                  <a:gd name="connsiteX9" fmla="*/ 98622 w 118922"/>
                  <a:gd name="connsiteY9" fmla="*/ 101702 h 105185"/>
                  <a:gd name="connsiteX10" fmla="*/ 107031 w 118922"/>
                  <a:gd name="connsiteY10" fmla="*/ 105186 h 105185"/>
                  <a:gd name="connsiteX11" fmla="*/ 111583 w 118922"/>
                  <a:gd name="connsiteY11" fmla="*/ 104279 h 105185"/>
                  <a:gd name="connsiteX12" fmla="*/ 118922 w 118922"/>
                  <a:gd name="connsiteY12" fmla="*/ 93293 h 105185"/>
                  <a:gd name="connsiteX13" fmla="*/ 118922 w 118922"/>
                  <a:gd name="connsiteY13" fmla="*/ 11905 h 105185"/>
                  <a:gd name="connsiteX14" fmla="*/ 113534 w 118922"/>
                  <a:gd name="connsiteY14" fmla="*/ 1941 h 105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922" h="105185">
                    <a:moveTo>
                      <a:pt x="113534" y="1941"/>
                    </a:moveTo>
                    <a:cubicBezTo>
                      <a:pt x="110213" y="-242"/>
                      <a:pt x="105916" y="-591"/>
                      <a:pt x="102269" y="1012"/>
                    </a:cubicBezTo>
                    <a:cubicBezTo>
                      <a:pt x="74861" y="12998"/>
                      <a:pt x="44062" y="12998"/>
                      <a:pt x="16653" y="1012"/>
                    </a:cubicBezTo>
                    <a:cubicBezTo>
                      <a:pt x="13006" y="-613"/>
                      <a:pt x="8733" y="-265"/>
                      <a:pt x="5388" y="1941"/>
                    </a:cubicBezTo>
                    <a:cubicBezTo>
                      <a:pt x="2020" y="4148"/>
                      <a:pt x="0" y="7887"/>
                      <a:pt x="0" y="11906"/>
                    </a:cubicBezTo>
                    <a:lnTo>
                      <a:pt x="0" y="93294"/>
                    </a:lnTo>
                    <a:cubicBezTo>
                      <a:pt x="0" y="98103"/>
                      <a:pt x="2903" y="102445"/>
                      <a:pt x="7339" y="104280"/>
                    </a:cubicBezTo>
                    <a:cubicBezTo>
                      <a:pt x="11752" y="106092"/>
                      <a:pt x="16886" y="105093"/>
                      <a:pt x="20300" y="101702"/>
                    </a:cubicBezTo>
                    <a:lnTo>
                      <a:pt x="59461" y="62541"/>
                    </a:lnTo>
                    <a:lnTo>
                      <a:pt x="98622" y="101702"/>
                    </a:lnTo>
                    <a:cubicBezTo>
                      <a:pt x="100899" y="103978"/>
                      <a:pt x="103941" y="105186"/>
                      <a:pt x="107031" y="105186"/>
                    </a:cubicBezTo>
                    <a:cubicBezTo>
                      <a:pt x="108564" y="105186"/>
                      <a:pt x="110120" y="104884"/>
                      <a:pt x="111583" y="104279"/>
                    </a:cubicBezTo>
                    <a:cubicBezTo>
                      <a:pt x="116019" y="102444"/>
                      <a:pt x="118922" y="98101"/>
                      <a:pt x="118922" y="93293"/>
                    </a:cubicBezTo>
                    <a:lnTo>
                      <a:pt x="118922" y="11905"/>
                    </a:lnTo>
                    <a:cubicBezTo>
                      <a:pt x="118923" y="7887"/>
                      <a:pt x="116902" y="4148"/>
                      <a:pt x="113534" y="1941"/>
                    </a:cubicBezTo>
                    <a:close/>
                  </a:path>
                </a:pathLst>
              </a:custGeom>
              <a:grpFill/>
              <a:ln w="10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grpSp>
        <p:grpSp>
          <p:nvGrpSpPr>
            <p:cNvPr id="141" name="Gráfico 75">
              <a:extLst>
                <a:ext uri="{FF2B5EF4-FFF2-40B4-BE49-F238E27FC236}">
                  <a16:creationId xmlns:a16="http://schemas.microsoft.com/office/drawing/2014/main" id="{511DE656-7919-9CD2-8F1B-21135760B1D5}"/>
                </a:ext>
              </a:extLst>
            </p:cNvPr>
            <p:cNvGrpSpPr/>
            <p:nvPr/>
          </p:nvGrpSpPr>
          <p:grpSpPr>
            <a:xfrm>
              <a:off x="9241333" y="1195448"/>
              <a:ext cx="45113" cy="43254"/>
              <a:chOff x="5171013" y="2936812"/>
              <a:chExt cx="571237" cy="571237"/>
            </a:xfrm>
            <a:solidFill>
              <a:schemeClr val="bg1"/>
            </a:solidFill>
          </p:grpSpPr>
          <p:sp>
            <p:nvSpPr>
              <p:cNvPr id="146" name="Forma libre 191">
                <a:extLst>
                  <a:ext uri="{FF2B5EF4-FFF2-40B4-BE49-F238E27FC236}">
                    <a16:creationId xmlns:a16="http://schemas.microsoft.com/office/drawing/2014/main" id="{ACA95177-3B1F-470B-04C8-2130FE5A9774}"/>
                  </a:ext>
                </a:extLst>
              </p:cNvPr>
              <p:cNvSpPr/>
              <p:nvPr/>
            </p:nvSpPr>
            <p:spPr>
              <a:xfrm>
                <a:off x="5534526" y="3196464"/>
                <a:ext cx="103862" cy="25966"/>
              </a:xfrm>
              <a:custGeom>
                <a:avLst/>
                <a:gdLst>
                  <a:gd name="connsiteX0" fmla="*/ 12983 w 103862"/>
                  <a:gd name="connsiteY0" fmla="*/ 25966 h 25966"/>
                  <a:gd name="connsiteX1" fmla="*/ 90879 w 103862"/>
                  <a:gd name="connsiteY1" fmla="*/ 25966 h 25966"/>
                  <a:gd name="connsiteX2" fmla="*/ 103862 w 103862"/>
                  <a:gd name="connsiteY2" fmla="*/ 12983 h 25966"/>
                  <a:gd name="connsiteX3" fmla="*/ 90879 w 103862"/>
                  <a:gd name="connsiteY3" fmla="*/ 0 h 25966"/>
                  <a:gd name="connsiteX4" fmla="*/ 12983 w 103862"/>
                  <a:gd name="connsiteY4" fmla="*/ 0 h 25966"/>
                  <a:gd name="connsiteX5" fmla="*/ 0 w 103862"/>
                  <a:gd name="connsiteY5" fmla="*/ 12983 h 25966"/>
                  <a:gd name="connsiteX6" fmla="*/ 12983 w 103862"/>
                  <a:gd name="connsiteY6" fmla="*/ 25966 h 2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862" h="25966">
                    <a:moveTo>
                      <a:pt x="12983" y="25966"/>
                    </a:moveTo>
                    <a:lnTo>
                      <a:pt x="90879" y="25966"/>
                    </a:lnTo>
                    <a:cubicBezTo>
                      <a:pt x="98055" y="25966"/>
                      <a:pt x="103862" y="20159"/>
                      <a:pt x="103862" y="12983"/>
                    </a:cubicBezTo>
                    <a:cubicBezTo>
                      <a:pt x="103862" y="5807"/>
                      <a:pt x="98055" y="0"/>
                      <a:pt x="90879" y="0"/>
                    </a:cubicBezTo>
                    <a:lnTo>
                      <a:pt x="12983" y="0"/>
                    </a:lnTo>
                    <a:cubicBezTo>
                      <a:pt x="5807" y="0"/>
                      <a:pt x="0" y="5807"/>
                      <a:pt x="0" y="12983"/>
                    </a:cubicBezTo>
                    <a:cubicBezTo>
                      <a:pt x="1" y="20159"/>
                      <a:pt x="5807" y="25966"/>
                      <a:pt x="12983" y="25966"/>
                    </a:cubicBezTo>
                    <a:close/>
                  </a:path>
                </a:pathLst>
              </a:custGeom>
              <a:grpFill/>
              <a:ln w="11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47" name="Forma libre 192">
                <a:extLst>
                  <a:ext uri="{FF2B5EF4-FFF2-40B4-BE49-F238E27FC236}">
                    <a16:creationId xmlns:a16="http://schemas.microsoft.com/office/drawing/2014/main" id="{DDDD977E-453C-C897-18CB-7A37D41639BB}"/>
                  </a:ext>
                </a:extLst>
              </p:cNvPr>
              <p:cNvSpPr/>
              <p:nvPr/>
            </p:nvSpPr>
            <p:spPr>
              <a:xfrm>
                <a:off x="5482596" y="3274360"/>
                <a:ext cx="155793" cy="25966"/>
              </a:xfrm>
              <a:custGeom>
                <a:avLst/>
                <a:gdLst>
                  <a:gd name="connsiteX0" fmla="*/ 12983 w 155793"/>
                  <a:gd name="connsiteY0" fmla="*/ 25966 h 25966"/>
                  <a:gd name="connsiteX1" fmla="*/ 142810 w 155793"/>
                  <a:gd name="connsiteY1" fmla="*/ 25966 h 25966"/>
                  <a:gd name="connsiteX2" fmla="*/ 155793 w 155793"/>
                  <a:gd name="connsiteY2" fmla="*/ 12983 h 25966"/>
                  <a:gd name="connsiteX3" fmla="*/ 142810 w 155793"/>
                  <a:gd name="connsiteY3" fmla="*/ 0 h 25966"/>
                  <a:gd name="connsiteX4" fmla="*/ 12983 w 155793"/>
                  <a:gd name="connsiteY4" fmla="*/ 0 h 25966"/>
                  <a:gd name="connsiteX5" fmla="*/ 0 w 155793"/>
                  <a:gd name="connsiteY5" fmla="*/ 12983 h 25966"/>
                  <a:gd name="connsiteX6" fmla="*/ 12983 w 155793"/>
                  <a:gd name="connsiteY6" fmla="*/ 25966 h 2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793" h="25966">
                    <a:moveTo>
                      <a:pt x="12983" y="25966"/>
                    </a:moveTo>
                    <a:lnTo>
                      <a:pt x="142810" y="25966"/>
                    </a:lnTo>
                    <a:cubicBezTo>
                      <a:pt x="149986" y="25966"/>
                      <a:pt x="155793" y="20159"/>
                      <a:pt x="155793" y="12983"/>
                    </a:cubicBezTo>
                    <a:cubicBezTo>
                      <a:pt x="155793" y="5807"/>
                      <a:pt x="149986" y="0"/>
                      <a:pt x="142810" y="0"/>
                    </a:cubicBezTo>
                    <a:lnTo>
                      <a:pt x="12983" y="0"/>
                    </a:lnTo>
                    <a:cubicBezTo>
                      <a:pt x="5807" y="0"/>
                      <a:pt x="0" y="5807"/>
                      <a:pt x="0" y="12983"/>
                    </a:cubicBezTo>
                    <a:cubicBezTo>
                      <a:pt x="0" y="20159"/>
                      <a:pt x="5807" y="25966"/>
                      <a:pt x="12983" y="25966"/>
                    </a:cubicBezTo>
                    <a:close/>
                  </a:path>
                </a:pathLst>
              </a:custGeom>
              <a:grpFill/>
              <a:ln w="11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48" name="Forma libre 193">
                <a:extLst>
                  <a:ext uri="{FF2B5EF4-FFF2-40B4-BE49-F238E27FC236}">
                    <a16:creationId xmlns:a16="http://schemas.microsoft.com/office/drawing/2014/main" id="{56B2B2ED-B4FF-CB00-4A5A-69B46E66F77F}"/>
                  </a:ext>
                </a:extLst>
              </p:cNvPr>
              <p:cNvSpPr/>
              <p:nvPr/>
            </p:nvSpPr>
            <p:spPr>
              <a:xfrm>
                <a:off x="5482596" y="3352256"/>
                <a:ext cx="155793" cy="25966"/>
              </a:xfrm>
              <a:custGeom>
                <a:avLst/>
                <a:gdLst>
                  <a:gd name="connsiteX0" fmla="*/ 12983 w 155793"/>
                  <a:gd name="connsiteY0" fmla="*/ 25966 h 25966"/>
                  <a:gd name="connsiteX1" fmla="*/ 142810 w 155793"/>
                  <a:gd name="connsiteY1" fmla="*/ 25966 h 25966"/>
                  <a:gd name="connsiteX2" fmla="*/ 155793 w 155793"/>
                  <a:gd name="connsiteY2" fmla="*/ 12983 h 25966"/>
                  <a:gd name="connsiteX3" fmla="*/ 142810 w 155793"/>
                  <a:gd name="connsiteY3" fmla="*/ 0 h 25966"/>
                  <a:gd name="connsiteX4" fmla="*/ 12983 w 155793"/>
                  <a:gd name="connsiteY4" fmla="*/ 0 h 25966"/>
                  <a:gd name="connsiteX5" fmla="*/ 0 w 155793"/>
                  <a:gd name="connsiteY5" fmla="*/ 12983 h 25966"/>
                  <a:gd name="connsiteX6" fmla="*/ 12983 w 155793"/>
                  <a:gd name="connsiteY6" fmla="*/ 25966 h 2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793" h="25966">
                    <a:moveTo>
                      <a:pt x="12983" y="25966"/>
                    </a:moveTo>
                    <a:lnTo>
                      <a:pt x="142810" y="25966"/>
                    </a:lnTo>
                    <a:cubicBezTo>
                      <a:pt x="149986" y="25966"/>
                      <a:pt x="155793" y="20159"/>
                      <a:pt x="155793" y="12983"/>
                    </a:cubicBezTo>
                    <a:cubicBezTo>
                      <a:pt x="155793" y="5807"/>
                      <a:pt x="149986" y="0"/>
                      <a:pt x="142810" y="0"/>
                    </a:cubicBezTo>
                    <a:lnTo>
                      <a:pt x="12983" y="0"/>
                    </a:lnTo>
                    <a:cubicBezTo>
                      <a:pt x="5807" y="0"/>
                      <a:pt x="0" y="5807"/>
                      <a:pt x="0" y="12983"/>
                    </a:cubicBezTo>
                    <a:cubicBezTo>
                      <a:pt x="0" y="20159"/>
                      <a:pt x="5807" y="25966"/>
                      <a:pt x="12983" y="25966"/>
                    </a:cubicBezTo>
                    <a:close/>
                  </a:path>
                </a:pathLst>
              </a:custGeom>
              <a:grpFill/>
              <a:ln w="11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49" name="Forma libre 194">
                <a:extLst>
                  <a:ext uri="{FF2B5EF4-FFF2-40B4-BE49-F238E27FC236}">
                    <a16:creationId xmlns:a16="http://schemas.microsoft.com/office/drawing/2014/main" id="{63841F9B-12B2-FEC0-6C3A-51499DA4BB4C}"/>
                  </a:ext>
                </a:extLst>
              </p:cNvPr>
              <p:cNvSpPr/>
              <p:nvPr/>
            </p:nvSpPr>
            <p:spPr>
              <a:xfrm>
                <a:off x="5261890" y="3118568"/>
                <a:ext cx="181757" cy="181757"/>
              </a:xfrm>
              <a:custGeom>
                <a:avLst/>
                <a:gdLst>
                  <a:gd name="connsiteX0" fmla="*/ 181758 w 181757"/>
                  <a:gd name="connsiteY0" fmla="*/ 90879 h 181757"/>
                  <a:gd name="connsiteX1" fmla="*/ 90879 w 181757"/>
                  <a:gd name="connsiteY1" fmla="*/ 181758 h 181757"/>
                  <a:gd name="connsiteX2" fmla="*/ 0 w 181757"/>
                  <a:gd name="connsiteY2" fmla="*/ 90879 h 181757"/>
                  <a:gd name="connsiteX3" fmla="*/ 90879 w 181757"/>
                  <a:gd name="connsiteY3" fmla="*/ 0 h 181757"/>
                  <a:gd name="connsiteX4" fmla="*/ 181758 w 181757"/>
                  <a:gd name="connsiteY4" fmla="*/ 90879 h 181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757" h="181757">
                    <a:moveTo>
                      <a:pt x="181758" y="90879"/>
                    </a:moveTo>
                    <a:cubicBezTo>
                      <a:pt x="181758" y="141070"/>
                      <a:pt x="141070" y="181758"/>
                      <a:pt x="90879" y="181758"/>
                    </a:cubicBezTo>
                    <a:cubicBezTo>
                      <a:pt x="40688" y="181758"/>
                      <a:pt x="0" y="141070"/>
                      <a:pt x="0" y="90879"/>
                    </a:cubicBezTo>
                    <a:cubicBezTo>
                      <a:pt x="0" y="40688"/>
                      <a:pt x="40688" y="0"/>
                      <a:pt x="90879" y="0"/>
                    </a:cubicBezTo>
                    <a:cubicBezTo>
                      <a:pt x="141070" y="0"/>
                      <a:pt x="181758" y="40688"/>
                      <a:pt x="181758" y="90879"/>
                    </a:cubicBezTo>
                    <a:close/>
                  </a:path>
                </a:pathLst>
              </a:custGeom>
              <a:grpFill/>
              <a:ln w="11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50" name="Forma libre 195">
                <a:extLst>
                  <a:ext uri="{FF2B5EF4-FFF2-40B4-BE49-F238E27FC236}">
                    <a16:creationId xmlns:a16="http://schemas.microsoft.com/office/drawing/2014/main" id="{9052C913-C844-E3F4-0E8F-D8FB6F297F18}"/>
                  </a:ext>
                </a:extLst>
              </p:cNvPr>
              <p:cNvSpPr/>
              <p:nvPr/>
            </p:nvSpPr>
            <p:spPr>
              <a:xfrm>
                <a:off x="5287856" y="3315323"/>
                <a:ext cx="129825" cy="114834"/>
              </a:xfrm>
              <a:custGeom>
                <a:avLst/>
                <a:gdLst>
                  <a:gd name="connsiteX0" fmla="*/ 123943 w 129825"/>
                  <a:gd name="connsiteY0" fmla="*/ 2132 h 114834"/>
                  <a:gd name="connsiteX1" fmla="*/ 111646 w 129825"/>
                  <a:gd name="connsiteY1" fmla="*/ 1104 h 114834"/>
                  <a:gd name="connsiteX2" fmla="*/ 18180 w 129825"/>
                  <a:gd name="connsiteY2" fmla="*/ 1104 h 114834"/>
                  <a:gd name="connsiteX3" fmla="*/ 5882 w 129825"/>
                  <a:gd name="connsiteY3" fmla="*/ 2132 h 114834"/>
                  <a:gd name="connsiteX4" fmla="*/ 0 w 129825"/>
                  <a:gd name="connsiteY4" fmla="*/ 12997 h 114834"/>
                  <a:gd name="connsiteX5" fmla="*/ 0 w 129825"/>
                  <a:gd name="connsiteY5" fmla="*/ 101847 h 114834"/>
                  <a:gd name="connsiteX6" fmla="*/ 8012 w 129825"/>
                  <a:gd name="connsiteY6" fmla="*/ 113840 h 114834"/>
                  <a:gd name="connsiteX7" fmla="*/ 22161 w 129825"/>
                  <a:gd name="connsiteY7" fmla="*/ 111025 h 114834"/>
                  <a:gd name="connsiteX8" fmla="*/ 64913 w 129825"/>
                  <a:gd name="connsiteY8" fmla="*/ 68274 h 114834"/>
                  <a:gd name="connsiteX9" fmla="*/ 107664 w 129825"/>
                  <a:gd name="connsiteY9" fmla="*/ 111025 h 114834"/>
                  <a:gd name="connsiteX10" fmla="*/ 116844 w 129825"/>
                  <a:gd name="connsiteY10" fmla="*/ 114829 h 114834"/>
                  <a:gd name="connsiteX11" fmla="*/ 121813 w 129825"/>
                  <a:gd name="connsiteY11" fmla="*/ 113839 h 114834"/>
                  <a:gd name="connsiteX12" fmla="*/ 129826 w 129825"/>
                  <a:gd name="connsiteY12" fmla="*/ 101846 h 114834"/>
                  <a:gd name="connsiteX13" fmla="*/ 129826 w 129825"/>
                  <a:gd name="connsiteY13" fmla="*/ 12996 h 114834"/>
                  <a:gd name="connsiteX14" fmla="*/ 123943 w 129825"/>
                  <a:gd name="connsiteY14" fmla="*/ 2132 h 114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9825" h="114834">
                    <a:moveTo>
                      <a:pt x="123943" y="2132"/>
                    </a:moveTo>
                    <a:cubicBezTo>
                      <a:pt x="120292" y="-265"/>
                      <a:pt x="115677" y="-645"/>
                      <a:pt x="111646" y="1104"/>
                    </a:cubicBezTo>
                    <a:cubicBezTo>
                      <a:pt x="81674" y="14188"/>
                      <a:pt x="48152" y="14188"/>
                      <a:pt x="18180" y="1104"/>
                    </a:cubicBezTo>
                    <a:cubicBezTo>
                      <a:pt x="14123" y="-670"/>
                      <a:pt x="9508" y="-291"/>
                      <a:pt x="5882" y="2132"/>
                    </a:cubicBezTo>
                    <a:cubicBezTo>
                      <a:pt x="2205" y="4528"/>
                      <a:pt x="0" y="8610"/>
                      <a:pt x="0" y="12997"/>
                    </a:cubicBezTo>
                    <a:lnTo>
                      <a:pt x="0" y="101847"/>
                    </a:lnTo>
                    <a:cubicBezTo>
                      <a:pt x="0" y="107096"/>
                      <a:pt x="3169" y="111837"/>
                      <a:pt x="8012" y="113840"/>
                    </a:cubicBezTo>
                    <a:cubicBezTo>
                      <a:pt x="12830" y="115856"/>
                      <a:pt x="18435" y="114753"/>
                      <a:pt x="22161" y="111025"/>
                    </a:cubicBezTo>
                    <a:lnTo>
                      <a:pt x="64913" y="68274"/>
                    </a:lnTo>
                    <a:lnTo>
                      <a:pt x="107664" y="111025"/>
                    </a:lnTo>
                    <a:cubicBezTo>
                      <a:pt x="110150" y="113511"/>
                      <a:pt x="113471" y="114829"/>
                      <a:pt x="116844" y="114829"/>
                    </a:cubicBezTo>
                    <a:cubicBezTo>
                      <a:pt x="118517" y="114829"/>
                      <a:pt x="120217" y="114512"/>
                      <a:pt x="121813" y="113839"/>
                    </a:cubicBezTo>
                    <a:cubicBezTo>
                      <a:pt x="126656" y="111836"/>
                      <a:pt x="129826" y="107094"/>
                      <a:pt x="129826" y="101846"/>
                    </a:cubicBezTo>
                    <a:lnTo>
                      <a:pt x="129826" y="12996"/>
                    </a:lnTo>
                    <a:cubicBezTo>
                      <a:pt x="129827" y="8609"/>
                      <a:pt x="127620" y="4527"/>
                      <a:pt x="123943" y="2132"/>
                    </a:cubicBezTo>
                    <a:close/>
                  </a:path>
                </a:pathLst>
              </a:custGeom>
              <a:grpFill/>
              <a:ln w="11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51" name="Forma libre 196">
                <a:extLst>
                  <a:ext uri="{FF2B5EF4-FFF2-40B4-BE49-F238E27FC236}">
                    <a16:creationId xmlns:a16="http://schemas.microsoft.com/office/drawing/2014/main" id="{7010BE52-A385-AFA7-9685-E3EAC9DCC260}"/>
                  </a:ext>
                </a:extLst>
              </p:cNvPr>
              <p:cNvSpPr/>
              <p:nvPr/>
            </p:nvSpPr>
            <p:spPr>
              <a:xfrm>
                <a:off x="5171013" y="2936812"/>
                <a:ext cx="571237" cy="571237"/>
              </a:xfrm>
              <a:custGeom>
                <a:avLst/>
                <a:gdLst>
                  <a:gd name="connsiteX0" fmla="*/ 519307 w 571237"/>
                  <a:gd name="connsiteY0" fmla="*/ 0 h 571237"/>
                  <a:gd name="connsiteX1" fmla="*/ 51931 w 571237"/>
                  <a:gd name="connsiteY1" fmla="*/ 0 h 571237"/>
                  <a:gd name="connsiteX2" fmla="*/ 0 w 571237"/>
                  <a:gd name="connsiteY2" fmla="*/ 51931 h 571237"/>
                  <a:gd name="connsiteX3" fmla="*/ 0 w 571237"/>
                  <a:gd name="connsiteY3" fmla="*/ 519307 h 571237"/>
                  <a:gd name="connsiteX4" fmla="*/ 51931 w 571237"/>
                  <a:gd name="connsiteY4" fmla="*/ 571238 h 571237"/>
                  <a:gd name="connsiteX5" fmla="*/ 519307 w 571237"/>
                  <a:gd name="connsiteY5" fmla="*/ 571238 h 571237"/>
                  <a:gd name="connsiteX6" fmla="*/ 571238 w 571237"/>
                  <a:gd name="connsiteY6" fmla="*/ 519307 h 571237"/>
                  <a:gd name="connsiteX7" fmla="*/ 571238 w 571237"/>
                  <a:gd name="connsiteY7" fmla="*/ 51931 h 571237"/>
                  <a:gd name="connsiteX8" fmla="*/ 519307 w 571237"/>
                  <a:gd name="connsiteY8" fmla="*/ 0 h 571237"/>
                  <a:gd name="connsiteX9" fmla="*/ 168775 w 571237"/>
                  <a:gd name="connsiteY9" fmla="*/ 51931 h 571237"/>
                  <a:gd name="connsiteX10" fmla="*/ 181758 w 571237"/>
                  <a:gd name="connsiteY10" fmla="*/ 64914 h 571237"/>
                  <a:gd name="connsiteX11" fmla="*/ 168775 w 571237"/>
                  <a:gd name="connsiteY11" fmla="*/ 77897 h 571237"/>
                  <a:gd name="connsiteX12" fmla="*/ 155792 w 571237"/>
                  <a:gd name="connsiteY12" fmla="*/ 64913 h 571237"/>
                  <a:gd name="connsiteX13" fmla="*/ 168775 w 571237"/>
                  <a:gd name="connsiteY13" fmla="*/ 51931 h 571237"/>
                  <a:gd name="connsiteX14" fmla="*/ 116844 w 571237"/>
                  <a:gd name="connsiteY14" fmla="*/ 51931 h 571237"/>
                  <a:gd name="connsiteX15" fmla="*/ 129827 w 571237"/>
                  <a:gd name="connsiteY15" fmla="*/ 64914 h 571237"/>
                  <a:gd name="connsiteX16" fmla="*/ 116844 w 571237"/>
                  <a:gd name="connsiteY16" fmla="*/ 77896 h 571237"/>
                  <a:gd name="connsiteX17" fmla="*/ 103861 w 571237"/>
                  <a:gd name="connsiteY17" fmla="*/ 64913 h 571237"/>
                  <a:gd name="connsiteX18" fmla="*/ 116844 w 571237"/>
                  <a:gd name="connsiteY18" fmla="*/ 51931 h 571237"/>
                  <a:gd name="connsiteX19" fmla="*/ 64913 w 571237"/>
                  <a:gd name="connsiteY19" fmla="*/ 51931 h 571237"/>
                  <a:gd name="connsiteX20" fmla="*/ 77896 w 571237"/>
                  <a:gd name="connsiteY20" fmla="*/ 64913 h 571237"/>
                  <a:gd name="connsiteX21" fmla="*/ 64913 w 571237"/>
                  <a:gd name="connsiteY21" fmla="*/ 77896 h 571237"/>
                  <a:gd name="connsiteX22" fmla="*/ 51930 w 571237"/>
                  <a:gd name="connsiteY22" fmla="*/ 64913 h 571237"/>
                  <a:gd name="connsiteX23" fmla="*/ 64913 w 571237"/>
                  <a:gd name="connsiteY23" fmla="*/ 51931 h 571237"/>
                  <a:gd name="connsiteX24" fmla="*/ 519307 w 571237"/>
                  <a:gd name="connsiteY24" fmla="*/ 519307 h 571237"/>
                  <a:gd name="connsiteX25" fmla="*/ 51931 w 571237"/>
                  <a:gd name="connsiteY25" fmla="*/ 519307 h 571237"/>
                  <a:gd name="connsiteX26" fmla="*/ 51931 w 571237"/>
                  <a:gd name="connsiteY26" fmla="*/ 129827 h 571237"/>
                  <a:gd name="connsiteX27" fmla="*/ 519307 w 571237"/>
                  <a:gd name="connsiteY27" fmla="*/ 129827 h 571237"/>
                  <a:gd name="connsiteX28" fmla="*/ 519307 w 571237"/>
                  <a:gd name="connsiteY28" fmla="*/ 519307 h 571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71237" h="571237">
                    <a:moveTo>
                      <a:pt x="519307" y="0"/>
                    </a:moveTo>
                    <a:lnTo>
                      <a:pt x="51931" y="0"/>
                    </a:lnTo>
                    <a:cubicBezTo>
                      <a:pt x="23303" y="0"/>
                      <a:pt x="0" y="23290"/>
                      <a:pt x="0" y="51931"/>
                    </a:cubicBezTo>
                    <a:lnTo>
                      <a:pt x="0" y="519307"/>
                    </a:lnTo>
                    <a:cubicBezTo>
                      <a:pt x="0" y="547947"/>
                      <a:pt x="23303" y="571238"/>
                      <a:pt x="51931" y="571238"/>
                    </a:cubicBezTo>
                    <a:lnTo>
                      <a:pt x="519307" y="571238"/>
                    </a:lnTo>
                    <a:cubicBezTo>
                      <a:pt x="547934" y="571238"/>
                      <a:pt x="571238" y="547948"/>
                      <a:pt x="571238" y="519307"/>
                    </a:cubicBezTo>
                    <a:lnTo>
                      <a:pt x="571238" y="51931"/>
                    </a:lnTo>
                    <a:cubicBezTo>
                      <a:pt x="571236" y="23290"/>
                      <a:pt x="547934" y="0"/>
                      <a:pt x="519307" y="0"/>
                    </a:cubicBezTo>
                    <a:close/>
                    <a:moveTo>
                      <a:pt x="168775" y="51931"/>
                    </a:moveTo>
                    <a:cubicBezTo>
                      <a:pt x="175945" y="51931"/>
                      <a:pt x="181758" y="57743"/>
                      <a:pt x="181758" y="64914"/>
                    </a:cubicBezTo>
                    <a:cubicBezTo>
                      <a:pt x="181758" y="72084"/>
                      <a:pt x="175945" y="77897"/>
                      <a:pt x="168775" y="77897"/>
                    </a:cubicBezTo>
                    <a:cubicBezTo>
                      <a:pt x="161605" y="77897"/>
                      <a:pt x="155792" y="72083"/>
                      <a:pt x="155792" y="64913"/>
                    </a:cubicBezTo>
                    <a:cubicBezTo>
                      <a:pt x="155792" y="57742"/>
                      <a:pt x="161605" y="51931"/>
                      <a:pt x="168775" y="51931"/>
                    </a:cubicBezTo>
                    <a:close/>
                    <a:moveTo>
                      <a:pt x="116844" y="51931"/>
                    </a:moveTo>
                    <a:cubicBezTo>
                      <a:pt x="124014" y="51931"/>
                      <a:pt x="129827" y="57743"/>
                      <a:pt x="129827" y="64914"/>
                    </a:cubicBezTo>
                    <a:cubicBezTo>
                      <a:pt x="129827" y="72083"/>
                      <a:pt x="124014" y="77896"/>
                      <a:pt x="116844" y="77896"/>
                    </a:cubicBezTo>
                    <a:cubicBezTo>
                      <a:pt x="109674" y="77896"/>
                      <a:pt x="103861" y="72083"/>
                      <a:pt x="103861" y="64913"/>
                    </a:cubicBezTo>
                    <a:cubicBezTo>
                      <a:pt x="103861" y="57742"/>
                      <a:pt x="109674" y="51931"/>
                      <a:pt x="116844" y="51931"/>
                    </a:cubicBezTo>
                    <a:close/>
                    <a:moveTo>
                      <a:pt x="64913" y="51931"/>
                    </a:moveTo>
                    <a:cubicBezTo>
                      <a:pt x="72083" y="51931"/>
                      <a:pt x="77896" y="57742"/>
                      <a:pt x="77896" y="64913"/>
                    </a:cubicBezTo>
                    <a:cubicBezTo>
                      <a:pt x="77896" y="72083"/>
                      <a:pt x="72083" y="77896"/>
                      <a:pt x="64913" y="77896"/>
                    </a:cubicBezTo>
                    <a:cubicBezTo>
                      <a:pt x="57743" y="77896"/>
                      <a:pt x="51930" y="72083"/>
                      <a:pt x="51930" y="64913"/>
                    </a:cubicBezTo>
                    <a:cubicBezTo>
                      <a:pt x="51931" y="57742"/>
                      <a:pt x="57744" y="51931"/>
                      <a:pt x="64913" y="51931"/>
                    </a:cubicBezTo>
                    <a:close/>
                    <a:moveTo>
                      <a:pt x="519307" y="519307"/>
                    </a:moveTo>
                    <a:lnTo>
                      <a:pt x="51931" y="519307"/>
                    </a:lnTo>
                    <a:lnTo>
                      <a:pt x="51931" y="129827"/>
                    </a:lnTo>
                    <a:lnTo>
                      <a:pt x="519307" y="129827"/>
                    </a:lnTo>
                    <a:lnTo>
                      <a:pt x="519307" y="519307"/>
                    </a:lnTo>
                    <a:close/>
                  </a:path>
                </a:pathLst>
              </a:custGeom>
              <a:grpFill/>
              <a:ln w="11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grpSp>
        <p:grpSp>
          <p:nvGrpSpPr>
            <p:cNvPr id="142" name="Gráfico 40">
              <a:extLst>
                <a:ext uri="{FF2B5EF4-FFF2-40B4-BE49-F238E27FC236}">
                  <a16:creationId xmlns:a16="http://schemas.microsoft.com/office/drawing/2014/main" id="{EC5EAB9B-99DB-FA8D-E363-1125666B732E}"/>
                </a:ext>
              </a:extLst>
            </p:cNvPr>
            <p:cNvGrpSpPr/>
            <p:nvPr/>
          </p:nvGrpSpPr>
          <p:grpSpPr>
            <a:xfrm>
              <a:off x="9247297" y="1272428"/>
              <a:ext cx="33164" cy="42367"/>
              <a:chOff x="6390418" y="264676"/>
              <a:chExt cx="449651" cy="599145"/>
            </a:xfrm>
            <a:solidFill>
              <a:schemeClr val="bg1"/>
            </a:solidFill>
          </p:grpSpPr>
          <p:sp>
            <p:nvSpPr>
              <p:cNvPr id="144" name="Forma libre 302">
                <a:extLst>
                  <a:ext uri="{FF2B5EF4-FFF2-40B4-BE49-F238E27FC236}">
                    <a16:creationId xmlns:a16="http://schemas.microsoft.com/office/drawing/2014/main" id="{859D32A6-1DA4-63F5-9171-32E9F86933D7}"/>
                  </a:ext>
                </a:extLst>
              </p:cNvPr>
              <p:cNvSpPr/>
              <p:nvPr/>
            </p:nvSpPr>
            <p:spPr>
              <a:xfrm>
                <a:off x="6390418" y="264676"/>
                <a:ext cx="449651" cy="599145"/>
              </a:xfrm>
              <a:custGeom>
                <a:avLst/>
                <a:gdLst>
                  <a:gd name="connsiteX0" fmla="*/ 445694 w 449650"/>
                  <a:gd name="connsiteY0" fmla="*/ 129089 h 599144"/>
                  <a:gd name="connsiteX1" fmla="*/ 321145 w 449650"/>
                  <a:gd name="connsiteY1" fmla="*/ 4541 h 599144"/>
                  <a:gd name="connsiteX2" fmla="*/ 312323 w 449650"/>
                  <a:gd name="connsiteY2" fmla="*/ 876 h 599144"/>
                  <a:gd name="connsiteX3" fmla="*/ 50708 w 449650"/>
                  <a:gd name="connsiteY3" fmla="*/ 876 h 599144"/>
                  <a:gd name="connsiteX4" fmla="*/ 876 w 449650"/>
                  <a:gd name="connsiteY4" fmla="*/ 50708 h 599144"/>
                  <a:gd name="connsiteX5" fmla="*/ 876 w 449650"/>
                  <a:gd name="connsiteY5" fmla="*/ 549022 h 599144"/>
                  <a:gd name="connsiteX6" fmla="*/ 50708 w 449650"/>
                  <a:gd name="connsiteY6" fmla="*/ 598853 h 599144"/>
                  <a:gd name="connsiteX7" fmla="*/ 399528 w 449650"/>
                  <a:gd name="connsiteY7" fmla="*/ 598853 h 599144"/>
                  <a:gd name="connsiteX8" fmla="*/ 449359 w 449650"/>
                  <a:gd name="connsiteY8" fmla="*/ 549021 h 599144"/>
                  <a:gd name="connsiteX9" fmla="*/ 449359 w 449650"/>
                  <a:gd name="connsiteY9" fmla="*/ 137912 h 599144"/>
                  <a:gd name="connsiteX10" fmla="*/ 445694 w 449650"/>
                  <a:gd name="connsiteY10" fmla="*/ 129089 h 599144"/>
                  <a:gd name="connsiteX11" fmla="*/ 88081 w 449650"/>
                  <a:gd name="connsiteY11" fmla="*/ 125455 h 599144"/>
                  <a:gd name="connsiteX12" fmla="*/ 237576 w 449650"/>
                  <a:gd name="connsiteY12" fmla="*/ 125455 h 599144"/>
                  <a:gd name="connsiteX13" fmla="*/ 250034 w 449650"/>
                  <a:gd name="connsiteY13" fmla="*/ 137913 h 599144"/>
                  <a:gd name="connsiteX14" fmla="*/ 237576 w 449650"/>
                  <a:gd name="connsiteY14" fmla="*/ 150371 h 599144"/>
                  <a:gd name="connsiteX15" fmla="*/ 88081 w 449650"/>
                  <a:gd name="connsiteY15" fmla="*/ 150371 h 599144"/>
                  <a:gd name="connsiteX16" fmla="*/ 75623 w 449650"/>
                  <a:gd name="connsiteY16" fmla="*/ 137913 h 599144"/>
                  <a:gd name="connsiteX17" fmla="*/ 88081 w 449650"/>
                  <a:gd name="connsiteY17" fmla="*/ 125455 h 599144"/>
                  <a:gd name="connsiteX18" fmla="*/ 271226 w 449650"/>
                  <a:gd name="connsiteY18" fmla="*/ 470698 h 599144"/>
                  <a:gd name="connsiteX19" fmla="*/ 200202 w 449650"/>
                  <a:gd name="connsiteY19" fmla="*/ 524106 h 599144"/>
                  <a:gd name="connsiteX20" fmla="*/ 173437 w 449650"/>
                  <a:gd name="connsiteY20" fmla="*/ 487316 h 599144"/>
                  <a:gd name="connsiteX21" fmla="*/ 137912 w 449650"/>
                  <a:gd name="connsiteY21" fmla="*/ 524106 h 599144"/>
                  <a:gd name="connsiteX22" fmla="*/ 109127 w 449650"/>
                  <a:gd name="connsiteY22" fmla="*/ 509714 h 599144"/>
                  <a:gd name="connsiteX23" fmla="*/ 95550 w 449650"/>
                  <a:gd name="connsiteY23" fmla="*/ 521612 h 599144"/>
                  <a:gd name="connsiteX24" fmla="*/ 88080 w 449650"/>
                  <a:gd name="connsiteY24" fmla="*/ 524106 h 599144"/>
                  <a:gd name="connsiteX25" fmla="*/ 78104 w 449650"/>
                  <a:gd name="connsiteY25" fmla="*/ 519118 h 599144"/>
                  <a:gd name="connsiteX26" fmla="*/ 80610 w 449650"/>
                  <a:gd name="connsiteY26" fmla="*/ 501684 h 599144"/>
                  <a:gd name="connsiteX27" fmla="*/ 92509 w 449650"/>
                  <a:gd name="connsiteY27" fmla="*/ 491197 h 599144"/>
                  <a:gd name="connsiteX28" fmla="*/ 75623 w 449650"/>
                  <a:gd name="connsiteY28" fmla="*/ 449359 h 599144"/>
                  <a:gd name="connsiteX29" fmla="*/ 112997 w 449650"/>
                  <a:gd name="connsiteY29" fmla="*/ 399527 h 599144"/>
                  <a:gd name="connsiteX30" fmla="*/ 150370 w 449650"/>
                  <a:gd name="connsiteY30" fmla="*/ 436900 h 599144"/>
                  <a:gd name="connsiteX31" fmla="*/ 125624 w 449650"/>
                  <a:gd name="connsiteY31" fmla="*/ 491014 h 599144"/>
                  <a:gd name="connsiteX32" fmla="*/ 138033 w 449650"/>
                  <a:gd name="connsiteY32" fmla="*/ 499189 h 599144"/>
                  <a:gd name="connsiteX33" fmla="*/ 151999 w 449650"/>
                  <a:gd name="connsiteY33" fmla="*/ 474456 h 599144"/>
                  <a:gd name="connsiteX34" fmla="*/ 175286 w 449650"/>
                  <a:gd name="connsiteY34" fmla="*/ 449358 h 599144"/>
                  <a:gd name="connsiteX35" fmla="*/ 197087 w 449650"/>
                  <a:gd name="connsiteY35" fmla="*/ 479383 h 599144"/>
                  <a:gd name="connsiteX36" fmla="*/ 203194 w 449650"/>
                  <a:gd name="connsiteY36" fmla="*/ 497461 h 599144"/>
                  <a:gd name="connsiteX37" fmla="*/ 253756 w 449650"/>
                  <a:gd name="connsiteY37" fmla="*/ 452934 h 599144"/>
                  <a:gd name="connsiteX38" fmla="*/ 271372 w 449650"/>
                  <a:gd name="connsiteY38" fmla="*/ 453080 h 599144"/>
                  <a:gd name="connsiteX39" fmla="*/ 271226 w 449650"/>
                  <a:gd name="connsiteY39" fmla="*/ 470698 h 599144"/>
                  <a:gd name="connsiteX40" fmla="*/ 362153 w 449650"/>
                  <a:gd name="connsiteY40" fmla="*/ 374612 h 599144"/>
                  <a:gd name="connsiteX41" fmla="*/ 187744 w 449650"/>
                  <a:gd name="connsiteY41" fmla="*/ 374612 h 599144"/>
                  <a:gd name="connsiteX42" fmla="*/ 175286 w 449650"/>
                  <a:gd name="connsiteY42" fmla="*/ 362153 h 599144"/>
                  <a:gd name="connsiteX43" fmla="*/ 187744 w 449650"/>
                  <a:gd name="connsiteY43" fmla="*/ 349695 h 599144"/>
                  <a:gd name="connsiteX44" fmla="*/ 362153 w 449650"/>
                  <a:gd name="connsiteY44" fmla="*/ 349695 h 599144"/>
                  <a:gd name="connsiteX45" fmla="*/ 374612 w 449650"/>
                  <a:gd name="connsiteY45" fmla="*/ 362153 h 599144"/>
                  <a:gd name="connsiteX46" fmla="*/ 362153 w 449650"/>
                  <a:gd name="connsiteY46" fmla="*/ 374612 h 599144"/>
                  <a:gd name="connsiteX47" fmla="*/ 362153 w 449650"/>
                  <a:gd name="connsiteY47" fmla="*/ 299864 h 599144"/>
                  <a:gd name="connsiteX48" fmla="*/ 88081 w 449650"/>
                  <a:gd name="connsiteY48" fmla="*/ 299864 h 599144"/>
                  <a:gd name="connsiteX49" fmla="*/ 75623 w 449650"/>
                  <a:gd name="connsiteY49" fmla="*/ 287406 h 599144"/>
                  <a:gd name="connsiteX50" fmla="*/ 88081 w 449650"/>
                  <a:gd name="connsiteY50" fmla="*/ 274948 h 599144"/>
                  <a:gd name="connsiteX51" fmla="*/ 362155 w 449650"/>
                  <a:gd name="connsiteY51" fmla="*/ 274948 h 599144"/>
                  <a:gd name="connsiteX52" fmla="*/ 374613 w 449650"/>
                  <a:gd name="connsiteY52" fmla="*/ 287406 h 599144"/>
                  <a:gd name="connsiteX53" fmla="*/ 362153 w 449650"/>
                  <a:gd name="connsiteY53" fmla="*/ 299864 h 599144"/>
                  <a:gd name="connsiteX54" fmla="*/ 362153 w 449650"/>
                  <a:gd name="connsiteY54" fmla="*/ 225117 h 599144"/>
                  <a:gd name="connsiteX55" fmla="*/ 88081 w 449650"/>
                  <a:gd name="connsiteY55" fmla="*/ 225117 h 599144"/>
                  <a:gd name="connsiteX56" fmla="*/ 75623 w 449650"/>
                  <a:gd name="connsiteY56" fmla="*/ 212659 h 599144"/>
                  <a:gd name="connsiteX57" fmla="*/ 88081 w 449650"/>
                  <a:gd name="connsiteY57" fmla="*/ 200201 h 599144"/>
                  <a:gd name="connsiteX58" fmla="*/ 362155 w 449650"/>
                  <a:gd name="connsiteY58" fmla="*/ 200201 h 599144"/>
                  <a:gd name="connsiteX59" fmla="*/ 374613 w 449650"/>
                  <a:gd name="connsiteY59" fmla="*/ 212659 h 599144"/>
                  <a:gd name="connsiteX60" fmla="*/ 362153 w 449650"/>
                  <a:gd name="connsiteY60" fmla="*/ 225117 h 599144"/>
                  <a:gd name="connsiteX61" fmla="*/ 349696 w 449650"/>
                  <a:gd name="connsiteY61" fmla="*/ 125455 h 599144"/>
                  <a:gd name="connsiteX62" fmla="*/ 324781 w 449650"/>
                  <a:gd name="connsiteY62" fmla="*/ 100540 h 599144"/>
                  <a:gd name="connsiteX63" fmla="*/ 324781 w 449650"/>
                  <a:gd name="connsiteY63" fmla="*/ 43408 h 599144"/>
                  <a:gd name="connsiteX64" fmla="*/ 406828 w 449650"/>
                  <a:gd name="connsiteY64" fmla="*/ 125455 h 599144"/>
                  <a:gd name="connsiteX65" fmla="*/ 349696 w 449650"/>
                  <a:gd name="connsiteY65" fmla="*/ 125455 h 599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449650" h="599144">
                    <a:moveTo>
                      <a:pt x="445694" y="129089"/>
                    </a:moveTo>
                    <a:lnTo>
                      <a:pt x="321145" y="4541"/>
                    </a:lnTo>
                    <a:cubicBezTo>
                      <a:pt x="318890" y="2279"/>
                      <a:pt x="315773" y="876"/>
                      <a:pt x="312323" y="876"/>
                    </a:cubicBezTo>
                    <a:lnTo>
                      <a:pt x="50708" y="876"/>
                    </a:lnTo>
                    <a:cubicBezTo>
                      <a:pt x="23237" y="876"/>
                      <a:pt x="876" y="23224"/>
                      <a:pt x="876" y="50708"/>
                    </a:cubicBezTo>
                    <a:lnTo>
                      <a:pt x="876" y="549022"/>
                    </a:lnTo>
                    <a:cubicBezTo>
                      <a:pt x="876" y="576505"/>
                      <a:pt x="23237" y="598853"/>
                      <a:pt x="50708" y="598853"/>
                    </a:cubicBezTo>
                    <a:lnTo>
                      <a:pt x="399528" y="598853"/>
                    </a:lnTo>
                    <a:cubicBezTo>
                      <a:pt x="426998" y="598853"/>
                      <a:pt x="449359" y="576505"/>
                      <a:pt x="449359" y="549021"/>
                    </a:cubicBezTo>
                    <a:lnTo>
                      <a:pt x="449359" y="137912"/>
                    </a:lnTo>
                    <a:cubicBezTo>
                      <a:pt x="449359" y="134462"/>
                      <a:pt x="447956" y="131345"/>
                      <a:pt x="445694" y="129089"/>
                    </a:cubicBezTo>
                    <a:close/>
                    <a:moveTo>
                      <a:pt x="88081" y="125455"/>
                    </a:moveTo>
                    <a:lnTo>
                      <a:pt x="237576" y="125455"/>
                    </a:lnTo>
                    <a:cubicBezTo>
                      <a:pt x="244462" y="125455"/>
                      <a:pt x="250034" y="131027"/>
                      <a:pt x="250034" y="137913"/>
                    </a:cubicBezTo>
                    <a:cubicBezTo>
                      <a:pt x="250034" y="144799"/>
                      <a:pt x="244462" y="150371"/>
                      <a:pt x="237576" y="150371"/>
                    </a:cubicBezTo>
                    <a:lnTo>
                      <a:pt x="88081" y="150371"/>
                    </a:lnTo>
                    <a:cubicBezTo>
                      <a:pt x="81195" y="150371"/>
                      <a:pt x="75623" y="144799"/>
                      <a:pt x="75623" y="137913"/>
                    </a:cubicBezTo>
                    <a:cubicBezTo>
                      <a:pt x="75623" y="131027"/>
                      <a:pt x="81195" y="125455"/>
                      <a:pt x="88081" y="125455"/>
                    </a:cubicBezTo>
                    <a:close/>
                    <a:moveTo>
                      <a:pt x="271226" y="470698"/>
                    </a:moveTo>
                    <a:cubicBezTo>
                      <a:pt x="216991" y="524106"/>
                      <a:pt x="204362" y="524106"/>
                      <a:pt x="200202" y="524106"/>
                    </a:cubicBezTo>
                    <a:cubicBezTo>
                      <a:pt x="184727" y="524106"/>
                      <a:pt x="179179" y="506344"/>
                      <a:pt x="173437" y="487316"/>
                    </a:cubicBezTo>
                    <a:cubicBezTo>
                      <a:pt x="164750" y="504945"/>
                      <a:pt x="154750" y="524106"/>
                      <a:pt x="137912" y="524106"/>
                    </a:cubicBezTo>
                    <a:cubicBezTo>
                      <a:pt x="129249" y="524106"/>
                      <a:pt x="118884" y="518401"/>
                      <a:pt x="109127" y="509714"/>
                    </a:cubicBezTo>
                    <a:cubicBezTo>
                      <a:pt x="104480" y="514336"/>
                      <a:pt x="99856" y="518388"/>
                      <a:pt x="95550" y="521612"/>
                    </a:cubicBezTo>
                    <a:cubicBezTo>
                      <a:pt x="93311" y="523292"/>
                      <a:pt x="90683" y="524106"/>
                      <a:pt x="88080" y="524106"/>
                    </a:cubicBezTo>
                    <a:cubicBezTo>
                      <a:pt x="84309" y="524106"/>
                      <a:pt x="80561" y="522390"/>
                      <a:pt x="78104" y="519118"/>
                    </a:cubicBezTo>
                    <a:cubicBezTo>
                      <a:pt x="73991" y="513619"/>
                      <a:pt x="75110" y="505808"/>
                      <a:pt x="80610" y="501684"/>
                    </a:cubicBezTo>
                    <a:cubicBezTo>
                      <a:pt x="84552" y="498715"/>
                      <a:pt x="88567" y="495139"/>
                      <a:pt x="92509" y="491197"/>
                    </a:cubicBezTo>
                    <a:cubicBezTo>
                      <a:pt x="82606" y="477535"/>
                      <a:pt x="75623" y="461963"/>
                      <a:pt x="75623" y="449359"/>
                    </a:cubicBezTo>
                    <a:cubicBezTo>
                      <a:pt x="75623" y="420927"/>
                      <a:pt x="98301" y="399527"/>
                      <a:pt x="112997" y="399527"/>
                    </a:cubicBezTo>
                    <a:cubicBezTo>
                      <a:pt x="127450" y="399527"/>
                      <a:pt x="150370" y="409674"/>
                      <a:pt x="150370" y="436900"/>
                    </a:cubicBezTo>
                    <a:cubicBezTo>
                      <a:pt x="150370" y="452764"/>
                      <a:pt x="139347" y="473288"/>
                      <a:pt x="125624" y="491014"/>
                    </a:cubicBezTo>
                    <a:cubicBezTo>
                      <a:pt x="130709" y="495759"/>
                      <a:pt x="135333" y="498909"/>
                      <a:pt x="138033" y="499189"/>
                    </a:cubicBezTo>
                    <a:cubicBezTo>
                      <a:pt x="140783" y="497255"/>
                      <a:pt x="148350" y="481853"/>
                      <a:pt x="151999" y="474456"/>
                    </a:cubicBezTo>
                    <a:cubicBezTo>
                      <a:pt x="159445" y="459346"/>
                      <a:pt x="164360" y="449358"/>
                      <a:pt x="175286" y="449358"/>
                    </a:cubicBezTo>
                    <a:cubicBezTo>
                      <a:pt x="188060" y="449358"/>
                      <a:pt x="192025" y="462606"/>
                      <a:pt x="197087" y="479383"/>
                    </a:cubicBezTo>
                    <a:cubicBezTo>
                      <a:pt x="198572" y="484358"/>
                      <a:pt x="201029" y="492558"/>
                      <a:pt x="203194" y="497461"/>
                    </a:cubicBezTo>
                    <a:cubicBezTo>
                      <a:pt x="212343" y="491280"/>
                      <a:pt x="235434" y="470963"/>
                      <a:pt x="253756" y="452934"/>
                    </a:cubicBezTo>
                    <a:cubicBezTo>
                      <a:pt x="258671" y="448128"/>
                      <a:pt x="266554" y="448152"/>
                      <a:pt x="271372" y="453080"/>
                    </a:cubicBezTo>
                    <a:cubicBezTo>
                      <a:pt x="276189" y="457984"/>
                      <a:pt x="276142" y="465867"/>
                      <a:pt x="271226" y="470698"/>
                    </a:cubicBezTo>
                    <a:close/>
                    <a:moveTo>
                      <a:pt x="362153" y="374612"/>
                    </a:moveTo>
                    <a:lnTo>
                      <a:pt x="187744" y="374612"/>
                    </a:lnTo>
                    <a:cubicBezTo>
                      <a:pt x="180858" y="374612"/>
                      <a:pt x="175286" y="369039"/>
                      <a:pt x="175286" y="362153"/>
                    </a:cubicBezTo>
                    <a:cubicBezTo>
                      <a:pt x="175286" y="355267"/>
                      <a:pt x="180858" y="349695"/>
                      <a:pt x="187744" y="349695"/>
                    </a:cubicBezTo>
                    <a:lnTo>
                      <a:pt x="362153" y="349695"/>
                    </a:lnTo>
                    <a:cubicBezTo>
                      <a:pt x="369039" y="349695"/>
                      <a:pt x="374612" y="355267"/>
                      <a:pt x="374612" y="362153"/>
                    </a:cubicBezTo>
                    <a:cubicBezTo>
                      <a:pt x="374612" y="369039"/>
                      <a:pt x="369039" y="374612"/>
                      <a:pt x="362153" y="374612"/>
                    </a:cubicBezTo>
                    <a:close/>
                    <a:moveTo>
                      <a:pt x="362153" y="299864"/>
                    </a:moveTo>
                    <a:lnTo>
                      <a:pt x="88081" y="299864"/>
                    </a:lnTo>
                    <a:cubicBezTo>
                      <a:pt x="81195" y="299864"/>
                      <a:pt x="75623" y="294292"/>
                      <a:pt x="75623" y="287406"/>
                    </a:cubicBezTo>
                    <a:cubicBezTo>
                      <a:pt x="75623" y="280520"/>
                      <a:pt x="81195" y="274948"/>
                      <a:pt x="88081" y="274948"/>
                    </a:cubicBezTo>
                    <a:lnTo>
                      <a:pt x="362155" y="274948"/>
                    </a:lnTo>
                    <a:cubicBezTo>
                      <a:pt x="369041" y="274948"/>
                      <a:pt x="374613" y="280520"/>
                      <a:pt x="374613" y="287406"/>
                    </a:cubicBezTo>
                    <a:cubicBezTo>
                      <a:pt x="374612" y="294292"/>
                      <a:pt x="369039" y="299864"/>
                      <a:pt x="362153" y="299864"/>
                    </a:cubicBezTo>
                    <a:close/>
                    <a:moveTo>
                      <a:pt x="362153" y="225117"/>
                    </a:moveTo>
                    <a:lnTo>
                      <a:pt x="88081" y="225117"/>
                    </a:lnTo>
                    <a:cubicBezTo>
                      <a:pt x="81195" y="225117"/>
                      <a:pt x="75623" y="219545"/>
                      <a:pt x="75623" y="212659"/>
                    </a:cubicBezTo>
                    <a:cubicBezTo>
                      <a:pt x="75623" y="205773"/>
                      <a:pt x="81195" y="200201"/>
                      <a:pt x="88081" y="200201"/>
                    </a:cubicBezTo>
                    <a:lnTo>
                      <a:pt x="362155" y="200201"/>
                    </a:lnTo>
                    <a:cubicBezTo>
                      <a:pt x="369041" y="200201"/>
                      <a:pt x="374613" y="205773"/>
                      <a:pt x="374613" y="212659"/>
                    </a:cubicBezTo>
                    <a:cubicBezTo>
                      <a:pt x="374612" y="219545"/>
                      <a:pt x="369039" y="225117"/>
                      <a:pt x="362153" y="225117"/>
                    </a:cubicBezTo>
                    <a:close/>
                    <a:moveTo>
                      <a:pt x="349696" y="125455"/>
                    </a:moveTo>
                    <a:cubicBezTo>
                      <a:pt x="335949" y="125455"/>
                      <a:pt x="324781" y="114274"/>
                      <a:pt x="324781" y="100540"/>
                    </a:cubicBezTo>
                    <a:lnTo>
                      <a:pt x="324781" y="43408"/>
                    </a:lnTo>
                    <a:lnTo>
                      <a:pt x="406828" y="125455"/>
                    </a:lnTo>
                    <a:lnTo>
                      <a:pt x="349696" y="12545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145" name="Forma libre 303">
                <a:extLst>
                  <a:ext uri="{FF2B5EF4-FFF2-40B4-BE49-F238E27FC236}">
                    <a16:creationId xmlns:a16="http://schemas.microsoft.com/office/drawing/2014/main" id="{D0BE3D6B-9A77-C1AB-B33F-519A353A18D3}"/>
                  </a:ext>
                </a:extLst>
              </p:cNvPr>
              <p:cNvSpPr/>
              <p:nvPr/>
            </p:nvSpPr>
            <p:spPr>
              <a:xfrm>
                <a:off x="6490081" y="688243"/>
                <a:ext cx="25694" cy="47885"/>
              </a:xfrm>
              <a:custGeom>
                <a:avLst/>
                <a:gdLst>
                  <a:gd name="connsiteX0" fmla="*/ 13334 w 25694"/>
                  <a:gd name="connsiteY0" fmla="*/ 876 h 47884"/>
                  <a:gd name="connsiteX1" fmla="*/ 876 w 25694"/>
                  <a:gd name="connsiteY1" fmla="*/ 25791 h 47884"/>
                  <a:gd name="connsiteX2" fmla="*/ 9538 w 25694"/>
                  <a:gd name="connsiteY2" fmla="*/ 47885 h 47884"/>
                  <a:gd name="connsiteX3" fmla="*/ 25792 w 25694"/>
                  <a:gd name="connsiteY3" fmla="*/ 13334 h 47884"/>
                  <a:gd name="connsiteX4" fmla="*/ 13334 w 25694"/>
                  <a:gd name="connsiteY4" fmla="*/ 876 h 47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94" h="47884">
                    <a:moveTo>
                      <a:pt x="13334" y="876"/>
                    </a:moveTo>
                    <a:cubicBezTo>
                      <a:pt x="12020" y="1703"/>
                      <a:pt x="876" y="10597"/>
                      <a:pt x="876" y="25791"/>
                    </a:cubicBezTo>
                    <a:cubicBezTo>
                      <a:pt x="876" y="32166"/>
                      <a:pt x="4477" y="40172"/>
                      <a:pt x="9538" y="47885"/>
                    </a:cubicBezTo>
                    <a:cubicBezTo>
                      <a:pt x="19077" y="34685"/>
                      <a:pt x="25792" y="21278"/>
                      <a:pt x="25792" y="13334"/>
                    </a:cubicBezTo>
                    <a:cubicBezTo>
                      <a:pt x="25792" y="1472"/>
                      <a:pt x="15403" y="876"/>
                      <a:pt x="13334" y="87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000000"/>
                  </a:solidFill>
                  <a:effectLst/>
                  <a:uLnTx/>
                  <a:uFillTx/>
                  <a:latin typeface="Arial" panose="020B0604020202020204"/>
                  <a:ea typeface="+mn-ea"/>
                  <a:cs typeface="Arial"/>
                  <a:sym typeface="Arial"/>
                </a:endParaRPr>
              </a:p>
            </p:txBody>
          </p:sp>
        </p:grpSp>
        <p:sp>
          <p:nvSpPr>
            <p:cNvPr id="143" name="Content Placeholder 18">
              <a:extLst>
                <a:ext uri="{FF2B5EF4-FFF2-40B4-BE49-F238E27FC236}">
                  <a16:creationId xmlns:a16="http://schemas.microsoft.com/office/drawing/2014/main" id="{CFD6DA83-0DA0-1528-FF1D-A38A67DDEFD4}"/>
                </a:ext>
              </a:extLst>
            </p:cNvPr>
            <p:cNvSpPr txBox="1">
              <a:spLocks/>
            </p:cNvSpPr>
            <p:nvPr/>
          </p:nvSpPr>
          <p:spPr>
            <a:xfrm>
              <a:off x="9188862" y="956372"/>
              <a:ext cx="465404" cy="123111"/>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tx2">
                      <a:lumMod val="100000"/>
                      <a:alpha val="0"/>
                    </a:schemeClr>
                  </a:solidFill>
                  <a:prstDash val="solid"/>
                  <a:round/>
                  <a:headEnd type="none" w="med" len="med"/>
                  <a:tailEnd type="none" w="med" len="med"/>
                </a14:hiddenLine>
              </a:ext>
            </a:extLst>
          </p:spPr>
          <p:txBody>
            <a:bodyPr wrap="square" lIns="0" tIns="0" rIns="0" bIns="0">
              <a:spAutoFit/>
            </a:bodyPr>
            <a:lstStyle>
              <a:lvl1pPr marL="180000" indent="-180000" algn="l" defTabSz="914400" rtl="0" eaLnBrk="1" latinLnBrk="0" hangingPunct="1">
                <a:lnSpc>
                  <a:spcPct val="90000"/>
                </a:lnSpc>
                <a:spcBef>
                  <a:spcPts val="1000"/>
                </a:spcBef>
                <a:buFont typeface="Wingdings" panose="05000000000000000000" pitchFamily="2" charset="2"/>
                <a:buChar char="§"/>
                <a:defRPr sz="1600" kern="1200" baseline="0">
                  <a:solidFill>
                    <a:schemeClr val="tx1"/>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146D"/>
                </a:buClr>
                <a:buSzTx/>
                <a:buFont typeface="Wingdings" panose="05000000000000000000" pitchFamily="2" charset="2"/>
                <a:buNone/>
                <a:tabLst/>
                <a:defRPr/>
              </a:pPr>
              <a:r>
                <a:rPr kumimoji="0" lang="en-GB" sz="400" b="0" i="0" u="none" strike="noStrike" kern="1200" cap="none" spc="0" normalizeH="0" baseline="0" noProof="0">
                  <a:ln>
                    <a:noFill/>
                  </a:ln>
                  <a:solidFill>
                    <a:schemeClr val="accent1"/>
                  </a:solidFill>
                  <a:effectLst/>
                  <a:uLnTx/>
                  <a:uFillTx/>
                  <a:latin typeface="Arial" panose="020B0604020202020204"/>
                  <a:ea typeface="+mn-ea"/>
                  <a:cs typeface="Arial"/>
                  <a:sym typeface="Arial"/>
                </a:rPr>
                <a:t>BATTERY PASS</a:t>
              </a:r>
            </a:p>
            <a:p>
              <a:pPr marL="0" marR="0" lvl="0" indent="0" algn="l" defTabSz="914400" rtl="0" eaLnBrk="1" fontAlgn="auto" latinLnBrk="0" hangingPunct="1">
                <a:lnSpc>
                  <a:spcPct val="100000"/>
                </a:lnSpc>
                <a:spcBef>
                  <a:spcPts val="0"/>
                </a:spcBef>
                <a:spcAft>
                  <a:spcPts val="0"/>
                </a:spcAft>
                <a:buClr>
                  <a:srgbClr val="00146D"/>
                </a:buClr>
                <a:buSzTx/>
                <a:buFont typeface="Wingdings" panose="05000000000000000000" pitchFamily="2" charset="2"/>
                <a:buNone/>
                <a:tabLst/>
                <a:defRPr/>
              </a:pPr>
              <a:r>
                <a:rPr kumimoji="0" lang="en-GB" sz="400" b="0" i="1" u="none" strike="noStrike" kern="1200" cap="none" spc="0" normalizeH="0" baseline="0" noProof="0">
                  <a:ln>
                    <a:noFill/>
                  </a:ln>
                  <a:solidFill>
                    <a:schemeClr val="accent1"/>
                  </a:solidFill>
                  <a:effectLst/>
                  <a:uLnTx/>
                  <a:uFillTx/>
                  <a:latin typeface="Arial" panose="020B0604020202020204"/>
                  <a:ea typeface="+mn-ea"/>
                  <a:cs typeface="Arial"/>
                  <a:sym typeface="Arial"/>
                </a:rPr>
                <a:t>N</a:t>
              </a:r>
              <a:r>
                <a:rPr kumimoji="0" lang="en-GB" sz="400" b="0" i="1" u="none" strike="noStrike" kern="1200" cap="none" spc="0" normalizeH="0" baseline="30000" noProof="0">
                  <a:ln>
                    <a:noFill/>
                  </a:ln>
                  <a:solidFill>
                    <a:schemeClr val="accent1"/>
                  </a:solidFill>
                  <a:effectLst/>
                  <a:uLnTx/>
                  <a:uFillTx/>
                  <a:latin typeface="Arial" panose="020B0604020202020204"/>
                  <a:ea typeface="+mn-ea"/>
                  <a:cs typeface="Arial"/>
                  <a:sym typeface="Arial"/>
                </a:rPr>
                <a:t>o</a:t>
              </a:r>
              <a:r>
                <a:rPr kumimoji="0" lang="en-GB" sz="400" b="0" i="1" u="none" strike="noStrike" kern="1200" cap="none" spc="0" normalizeH="0" baseline="0" noProof="0">
                  <a:ln>
                    <a:noFill/>
                  </a:ln>
                  <a:solidFill>
                    <a:schemeClr val="accent1"/>
                  </a:solidFill>
                  <a:effectLst/>
                  <a:uLnTx/>
                  <a:uFillTx/>
                  <a:latin typeface="Arial" panose="020B0604020202020204"/>
                  <a:ea typeface="+mn-ea"/>
                  <a:cs typeface="Arial"/>
                  <a:sym typeface="Arial"/>
                </a:rPr>
                <a:t>- SZ41621956</a:t>
              </a:r>
            </a:p>
          </p:txBody>
        </p:sp>
      </p:grpSp>
      <p:sp>
        <p:nvSpPr>
          <p:cNvPr id="172" name="Fußzeilenplatzhalter 3">
            <a:extLst>
              <a:ext uri="{FF2B5EF4-FFF2-40B4-BE49-F238E27FC236}">
                <a16:creationId xmlns:a16="http://schemas.microsoft.com/office/drawing/2014/main" id="{1E1324A8-8DC8-EA44-5893-C6BEABF58661}"/>
              </a:ext>
            </a:extLst>
          </p:cNvPr>
          <p:cNvSpPr txBox="1">
            <a:spLocks/>
          </p:cNvSpPr>
          <p:nvPr/>
        </p:nvSpPr>
        <p:spPr>
          <a:xfrm>
            <a:off x="1368178" y="6516000"/>
            <a:ext cx="5616000" cy="167933"/>
          </a:xfrm>
          <a:prstGeom prst="rect">
            <a:avLst/>
          </a:prstGeom>
        </p:spPr>
        <p:txBody>
          <a:bodyPr lIns="0" tIns="0" rIns="0" bIns="0"/>
          <a:ls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900">
                <a:latin typeface="Arial" panose="020B0604020202020204"/>
                <a:cs typeface="Arial"/>
              </a:rPr>
              <a:t>|  </a:t>
            </a:r>
            <a:r>
              <a:rPr lang="en-US" sz="900">
                <a:latin typeface="+mj-lt"/>
                <a:cs typeface="Calibri" panose="020F0502020204030204" pitchFamily="34" charset="0"/>
                <a:sym typeface="Calibri" panose="020F0502020204030204" pitchFamily="34" charset="0"/>
              </a:rPr>
              <a:t>Source: </a:t>
            </a:r>
            <a:r>
              <a:rPr lang="en-US" sz="900">
                <a:latin typeface="+mj-lt"/>
                <a:cs typeface="Calibri" panose="020F0502020204030204" pitchFamily="34" charset="0"/>
                <a:sym typeface="Calibri" panose="020F0502020204030204" pitchFamily="34" charset="0"/>
                <a:hlinkClick r:id="rId24">
                  <a:extLst>
                    <a:ext uri="{A12FA001-AC4F-418D-AE19-62706E023703}">
                      <ahyp:hlinkClr xmlns:ahyp="http://schemas.microsoft.com/office/drawing/2018/hyperlinkcolor" val="tx"/>
                    </a:ext>
                  </a:extLst>
                </a:hlinkClick>
              </a:rPr>
              <a:t>https://thebatterypass.eu</a:t>
            </a:r>
            <a:r>
              <a:rPr lang="en-US" sz="900">
                <a:latin typeface="+mj-lt"/>
                <a:cs typeface="Calibri" panose="020F0502020204030204" pitchFamily="34" charset="0"/>
                <a:sym typeface="Calibri" panose="020F0502020204030204" pitchFamily="34" charset="0"/>
              </a:rPr>
              <a:t> </a:t>
            </a:r>
          </a:p>
        </p:txBody>
      </p:sp>
      <p:pic>
        <p:nvPicPr>
          <p:cNvPr id="173" name="object 8">
            <a:extLst>
              <a:ext uri="{FF2B5EF4-FFF2-40B4-BE49-F238E27FC236}">
                <a16:creationId xmlns:a16="http://schemas.microsoft.com/office/drawing/2014/main" id="{845BC88F-9E50-B008-D63C-5F63FFC62E7A}"/>
              </a:ext>
            </a:extLst>
          </p:cNvPr>
          <p:cNvPicPr/>
          <p:nvPr/>
        </p:nvPicPr>
        <p:blipFill>
          <a:blip r:embed="rId25" cstate="print"/>
          <a:stretch>
            <a:fillRect/>
          </a:stretch>
        </p:blipFill>
        <p:spPr>
          <a:xfrm>
            <a:off x="226800" y="6013170"/>
            <a:ext cx="863921" cy="283182"/>
          </a:xfrm>
          <a:prstGeom prst="rect">
            <a:avLst/>
          </a:prstGeom>
        </p:spPr>
      </p:pic>
    </p:spTree>
    <p:extLst>
      <p:ext uri="{BB962C8B-B14F-4D97-AF65-F5344CB8AC3E}">
        <p14:creationId xmlns:p14="http://schemas.microsoft.com/office/powerpoint/2010/main" val="28852399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C1700A-0942-10AD-2711-F411846245D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9EAA951-36F3-7266-1BD4-8702289C8091}"/>
              </a:ext>
            </a:extLst>
          </p:cNvPr>
          <p:cNvSpPr>
            <a:spLocks noGrp="1"/>
          </p:cNvSpPr>
          <p:nvPr>
            <p:ph type="title"/>
          </p:nvPr>
        </p:nvSpPr>
        <p:spPr/>
        <p:txBody>
          <a:bodyPr/>
          <a:lstStyle/>
          <a:p>
            <a:r>
              <a:rPr lang="en-GB"/>
              <a:t>Lessons Learned from the Battery Pass</a:t>
            </a:r>
            <a:endParaRPr lang="en-CH" b="0"/>
          </a:p>
        </p:txBody>
      </p:sp>
      <p:sp>
        <p:nvSpPr>
          <p:cNvPr id="4" name="Date Placeholder 3">
            <a:extLst>
              <a:ext uri="{FF2B5EF4-FFF2-40B4-BE49-F238E27FC236}">
                <a16:creationId xmlns:a16="http://schemas.microsoft.com/office/drawing/2014/main" id="{9C132820-03CE-6632-9DBC-0681CFF897D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368FC967-E25B-4DC7-87C0-1C454DF70C3D}"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5" name="Slide Number Placeholder 4">
            <a:extLst>
              <a:ext uri="{FF2B5EF4-FFF2-40B4-BE49-F238E27FC236}">
                <a16:creationId xmlns:a16="http://schemas.microsoft.com/office/drawing/2014/main" id="{5B261903-A2C3-F409-D28E-CA9F877F3BAF}"/>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26</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cxnSp>
        <p:nvCxnSpPr>
          <p:cNvPr id="7" name="Gerader Verbinder 34">
            <a:extLst>
              <a:ext uri="{FF2B5EF4-FFF2-40B4-BE49-F238E27FC236}">
                <a16:creationId xmlns:a16="http://schemas.microsoft.com/office/drawing/2014/main" id="{3F077D56-CA91-9070-030D-432EEE73107B}"/>
              </a:ext>
            </a:extLst>
          </p:cNvPr>
          <p:cNvCxnSpPr>
            <a:cxnSpLocks/>
          </p:cNvCxnSpPr>
          <p:nvPr/>
        </p:nvCxnSpPr>
        <p:spPr>
          <a:xfrm>
            <a:off x="336478" y="3436307"/>
            <a:ext cx="11448000" cy="0"/>
          </a:xfrm>
          <a:prstGeom prst="line">
            <a:avLst/>
          </a:pr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92" name="Gerader Verbinder 34">
            <a:extLst>
              <a:ext uri="{FF2B5EF4-FFF2-40B4-BE49-F238E27FC236}">
                <a16:creationId xmlns:a16="http://schemas.microsoft.com/office/drawing/2014/main" id="{4DA7F970-F1D3-DC6D-2D7B-F0E89BF0DC1C}"/>
              </a:ext>
            </a:extLst>
          </p:cNvPr>
          <p:cNvCxnSpPr>
            <a:cxnSpLocks/>
          </p:cNvCxnSpPr>
          <p:nvPr/>
        </p:nvCxnSpPr>
        <p:spPr>
          <a:xfrm>
            <a:off x="303872" y="4662112"/>
            <a:ext cx="11448000" cy="0"/>
          </a:xfrm>
          <a:prstGeom prst="line">
            <a:avLst/>
          </a:pr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93" name="Gerader Verbinder 34">
            <a:extLst>
              <a:ext uri="{FF2B5EF4-FFF2-40B4-BE49-F238E27FC236}">
                <a16:creationId xmlns:a16="http://schemas.microsoft.com/office/drawing/2014/main" id="{BC33476F-C1F6-1C6D-9C7B-60E54918C28B}"/>
              </a:ext>
            </a:extLst>
          </p:cNvPr>
          <p:cNvCxnSpPr>
            <a:cxnSpLocks/>
          </p:cNvCxnSpPr>
          <p:nvPr/>
        </p:nvCxnSpPr>
        <p:spPr>
          <a:xfrm>
            <a:off x="306894" y="2292206"/>
            <a:ext cx="11448000" cy="0"/>
          </a:xfrm>
          <a:prstGeom prst="line">
            <a:avLst/>
          </a:pr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581E0C4B-E8D9-F589-D399-99ECA26549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5785" y="1157519"/>
            <a:ext cx="856103" cy="856103"/>
          </a:xfrm>
          <a:prstGeom prst="rect">
            <a:avLst/>
          </a:prstGeom>
        </p:spPr>
      </p:pic>
      <p:pic>
        <p:nvPicPr>
          <p:cNvPr id="6" name="Graphic 5">
            <a:extLst>
              <a:ext uri="{FF2B5EF4-FFF2-40B4-BE49-F238E27FC236}">
                <a16:creationId xmlns:a16="http://schemas.microsoft.com/office/drawing/2014/main" id="{91EDFEE8-43CC-8539-81AB-E6B0BF720CF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5785" y="2392394"/>
            <a:ext cx="856103" cy="856103"/>
          </a:xfrm>
          <a:prstGeom prst="rect">
            <a:avLst/>
          </a:prstGeom>
        </p:spPr>
      </p:pic>
      <p:pic>
        <p:nvPicPr>
          <p:cNvPr id="114" name="Graphic 113">
            <a:extLst>
              <a:ext uri="{FF2B5EF4-FFF2-40B4-BE49-F238E27FC236}">
                <a16:creationId xmlns:a16="http://schemas.microsoft.com/office/drawing/2014/main" id="{B8A8536D-DF63-137C-1CB8-87C79343F0A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45785" y="3627269"/>
            <a:ext cx="856102" cy="856102"/>
          </a:xfrm>
          <a:prstGeom prst="rect">
            <a:avLst/>
          </a:prstGeom>
        </p:spPr>
      </p:pic>
      <p:pic>
        <p:nvPicPr>
          <p:cNvPr id="115" name="Graphic 114">
            <a:extLst>
              <a:ext uri="{FF2B5EF4-FFF2-40B4-BE49-F238E27FC236}">
                <a16:creationId xmlns:a16="http://schemas.microsoft.com/office/drawing/2014/main" id="{5A56D3C7-F4A6-9D26-9CFC-FCFD9545139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45785" y="4862144"/>
            <a:ext cx="856102" cy="856102"/>
          </a:xfrm>
          <a:prstGeom prst="rect">
            <a:avLst/>
          </a:prstGeom>
        </p:spPr>
      </p:pic>
      <p:sp>
        <p:nvSpPr>
          <p:cNvPr id="130" name="TextBox 129">
            <a:extLst>
              <a:ext uri="{FF2B5EF4-FFF2-40B4-BE49-F238E27FC236}">
                <a16:creationId xmlns:a16="http://schemas.microsoft.com/office/drawing/2014/main" id="{08396086-777C-A251-559F-06372AE2E168}"/>
              </a:ext>
            </a:extLst>
          </p:cNvPr>
          <p:cNvSpPr txBox="1"/>
          <p:nvPr/>
        </p:nvSpPr>
        <p:spPr>
          <a:xfrm>
            <a:off x="1638165" y="1447071"/>
            <a:ext cx="1744101" cy="276999"/>
          </a:xfrm>
          <a:prstGeom prst="rect">
            <a:avLst/>
          </a:prstGeom>
          <a:noFill/>
        </p:spPr>
        <p:txBody>
          <a:bodyPr wrap="square" lIns="0" tIns="0" rIns="0" bIns="0" rtlCol="0">
            <a:spAutoFit/>
          </a:bodyPr>
          <a:lstStyle/>
          <a:p>
            <a:r>
              <a:rPr kumimoji="0" lang="en-GB" sz="1800" b="1" i="0" u="none" strike="noStrike" kern="1200" cap="none" spc="0" normalizeH="0" baseline="0" noProof="0">
                <a:ln>
                  <a:noFill/>
                </a:ln>
                <a:solidFill>
                  <a:schemeClr val="accent1"/>
                </a:solidFill>
                <a:effectLst/>
                <a:uLnTx/>
                <a:uFillTx/>
                <a:latin typeface="Arial" panose="020B0604020202020204"/>
                <a:ea typeface="+mn-ea"/>
                <a:cs typeface="Arial"/>
                <a:sym typeface="Arial"/>
              </a:rPr>
              <a:t>Data Access</a:t>
            </a:r>
            <a:endParaRPr kumimoji="0" lang="en-GB" sz="1800" b="0" i="0" u="none" strike="noStrike" kern="1200" cap="none" spc="0" normalizeH="0" baseline="30000" noProof="0">
              <a:ln>
                <a:noFill/>
              </a:ln>
              <a:solidFill>
                <a:schemeClr val="accent1"/>
              </a:solidFill>
              <a:effectLst/>
              <a:uLnTx/>
              <a:uFillTx/>
              <a:latin typeface="Arial" panose="020B0604020202020204"/>
              <a:ea typeface="+mn-ea"/>
              <a:cs typeface="Arial"/>
              <a:sym typeface="Arial"/>
            </a:endParaRPr>
          </a:p>
        </p:txBody>
      </p:sp>
      <p:sp>
        <p:nvSpPr>
          <p:cNvPr id="131" name="TextBox 130">
            <a:extLst>
              <a:ext uri="{FF2B5EF4-FFF2-40B4-BE49-F238E27FC236}">
                <a16:creationId xmlns:a16="http://schemas.microsoft.com/office/drawing/2014/main" id="{07D0BBFA-79F5-A41B-6B3B-5EF8B7679E85}"/>
              </a:ext>
            </a:extLst>
          </p:cNvPr>
          <p:cNvSpPr txBox="1"/>
          <p:nvPr/>
        </p:nvSpPr>
        <p:spPr>
          <a:xfrm>
            <a:off x="1638165" y="2681946"/>
            <a:ext cx="2285705"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accent1"/>
                </a:solidFill>
                <a:effectLst/>
                <a:uLnTx/>
                <a:uFillTx/>
                <a:latin typeface="Arial" panose="020B0604020202020204"/>
                <a:ea typeface="+mn-ea"/>
                <a:cs typeface="Arial"/>
                <a:sym typeface="Arial"/>
              </a:rPr>
              <a:t>Data </a:t>
            </a:r>
            <a:r>
              <a:rPr kumimoji="0" lang="en-US" sz="1800" b="1" i="0" u="none" strike="noStrike" kern="1200" cap="none" spc="0" normalizeH="0" baseline="0" noProof="0" err="1">
                <a:ln>
                  <a:noFill/>
                </a:ln>
                <a:solidFill>
                  <a:schemeClr val="accent1"/>
                </a:solidFill>
                <a:effectLst/>
                <a:uLnTx/>
                <a:uFillTx/>
                <a:latin typeface="Arial" panose="020B0604020202020204"/>
                <a:ea typeface="+mn-ea"/>
                <a:cs typeface="Arial"/>
                <a:sym typeface="Arial"/>
              </a:rPr>
              <a:t>Pr</a:t>
            </a:r>
            <a:r>
              <a:rPr lang="en-US" b="1" err="1">
                <a:solidFill>
                  <a:schemeClr val="accent1"/>
                </a:solidFill>
                <a:latin typeface="Arial" panose="020B0604020202020204"/>
                <a:cs typeface="Arial"/>
                <a:sym typeface="Arial"/>
              </a:rPr>
              <a:t>ocessing</a:t>
            </a:r>
            <a:endParaRPr kumimoji="0" lang="en-US" sz="1800" b="0" i="0" u="none" strike="noStrike" kern="1200" cap="none" spc="0" normalizeH="0" baseline="30000" noProof="0">
              <a:ln>
                <a:noFill/>
              </a:ln>
              <a:solidFill>
                <a:schemeClr val="accent1"/>
              </a:solidFill>
              <a:effectLst/>
              <a:uLnTx/>
              <a:uFillTx/>
              <a:latin typeface="Arial" panose="020B0604020202020204"/>
              <a:ea typeface="+mn-ea"/>
              <a:cs typeface="Arial"/>
              <a:sym typeface="Arial"/>
            </a:endParaRPr>
          </a:p>
        </p:txBody>
      </p:sp>
      <p:sp>
        <p:nvSpPr>
          <p:cNvPr id="132" name="TextBox 131">
            <a:extLst>
              <a:ext uri="{FF2B5EF4-FFF2-40B4-BE49-F238E27FC236}">
                <a16:creationId xmlns:a16="http://schemas.microsoft.com/office/drawing/2014/main" id="{09513E05-3B84-8F2A-7C67-D6565ADCEEDF}"/>
              </a:ext>
            </a:extLst>
          </p:cNvPr>
          <p:cNvSpPr txBox="1"/>
          <p:nvPr/>
        </p:nvSpPr>
        <p:spPr>
          <a:xfrm>
            <a:off x="1634615" y="3916821"/>
            <a:ext cx="2285705"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chemeClr val="accent1"/>
                </a:solidFill>
                <a:effectLst/>
                <a:uLnTx/>
                <a:uFillTx/>
                <a:latin typeface="Arial" panose="020B0604020202020204"/>
                <a:ea typeface="+mn-ea"/>
                <a:cs typeface="Arial"/>
                <a:sym typeface="Arial"/>
              </a:rPr>
              <a:t>Data Exchange</a:t>
            </a:r>
            <a:endParaRPr kumimoji="0" lang="en-GB" sz="1800" b="0" i="0" u="none" strike="noStrike" kern="1200" cap="none" spc="0" normalizeH="0" baseline="0" noProof="0">
              <a:ln>
                <a:noFill/>
              </a:ln>
              <a:solidFill>
                <a:schemeClr val="accent1"/>
              </a:solidFill>
              <a:effectLst/>
              <a:uLnTx/>
              <a:uFillTx/>
              <a:latin typeface="Arial" panose="020B0604020202020204"/>
              <a:ea typeface="+mn-ea"/>
              <a:cs typeface="Arial"/>
              <a:sym typeface="Arial"/>
            </a:endParaRPr>
          </a:p>
        </p:txBody>
      </p:sp>
      <p:sp>
        <p:nvSpPr>
          <p:cNvPr id="91" name="TextBox 90">
            <a:extLst>
              <a:ext uri="{FF2B5EF4-FFF2-40B4-BE49-F238E27FC236}">
                <a16:creationId xmlns:a16="http://schemas.microsoft.com/office/drawing/2014/main" id="{B26DCE39-DF51-08CF-CC93-CF7DB873F2D7}"/>
              </a:ext>
            </a:extLst>
          </p:cNvPr>
          <p:cNvSpPr txBox="1"/>
          <p:nvPr/>
        </p:nvSpPr>
        <p:spPr>
          <a:xfrm>
            <a:off x="1634614" y="5151696"/>
            <a:ext cx="2285705"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chemeClr val="accent1"/>
                </a:solidFill>
                <a:effectLst/>
                <a:uLnTx/>
                <a:uFillTx/>
                <a:latin typeface="Arial" panose="020B0604020202020204"/>
                <a:ea typeface="+mn-ea"/>
                <a:cs typeface="Arial"/>
                <a:sym typeface="Arial"/>
              </a:rPr>
              <a:t>Data Collection </a:t>
            </a:r>
            <a:endParaRPr kumimoji="0" lang="en-GB" sz="1800" b="0" i="0" u="none" strike="noStrike" kern="1200" cap="none" spc="0" normalizeH="0" baseline="0" noProof="0">
              <a:ln>
                <a:noFill/>
              </a:ln>
              <a:solidFill>
                <a:schemeClr val="accent1"/>
              </a:solidFill>
              <a:effectLst/>
              <a:uLnTx/>
              <a:uFillTx/>
              <a:latin typeface="Arial" panose="020B0604020202020204"/>
              <a:ea typeface="+mn-ea"/>
              <a:cs typeface="Arial"/>
              <a:sym typeface="Arial"/>
            </a:endParaRPr>
          </a:p>
        </p:txBody>
      </p:sp>
      <p:sp>
        <p:nvSpPr>
          <p:cNvPr id="94" name="TextBox 93">
            <a:extLst>
              <a:ext uri="{FF2B5EF4-FFF2-40B4-BE49-F238E27FC236}">
                <a16:creationId xmlns:a16="http://schemas.microsoft.com/office/drawing/2014/main" id="{9D69E8F4-ACE6-E801-19CF-5ECBD2D82282}"/>
              </a:ext>
            </a:extLst>
          </p:cNvPr>
          <p:cNvSpPr txBox="1"/>
          <p:nvPr/>
        </p:nvSpPr>
        <p:spPr>
          <a:xfrm>
            <a:off x="5175462" y="5151696"/>
            <a:ext cx="6420668" cy="276999"/>
          </a:xfrm>
          <a:prstGeom prst="rect">
            <a:avLst/>
          </a:prstGeom>
          <a:noFill/>
        </p:spPr>
        <p:txBody>
          <a:bodyPr wrap="none" lIns="0" tIns="0" rIns="0" bIns="0" rtlCol="0">
            <a:spAutoFit/>
          </a:bodyPr>
          <a:lstStyle/>
          <a:p>
            <a:r>
              <a:rPr lang="en-US">
                <a:solidFill>
                  <a:schemeClr val="tx1">
                    <a:lumMod val="65000"/>
                    <a:lumOff val="35000"/>
                  </a:schemeClr>
                </a:solidFill>
              </a:rPr>
              <a:t>Availability, Automation, Harmonization, Sovereignty, Validation</a:t>
            </a:r>
          </a:p>
        </p:txBody>
      </p:sp>
      <p:sp>
        <p:nvSpPr>
          <p:cNvPr id="98" name="TextBox 97">
            <a:extLst>
              <a:ext uri="{FF2B5EF4-FFF2-40B4-BE49-F238E27FC236}">
                <a16:creationId xmlns:a16="http://schemas.microsoft.com/office/drawing/2014/main" id="{F5833486-ED27-C079-6F91-BAD271B07F3A}"/>
              </a:ext>
            </a:extLst>
          </p:cNvPr>
          <p:cNvSpPr txBox="1"/>
          <p:nvPr/>
        </p:nvSpPr>
        <p:spPr>
          <a:xfrm>
            <a:off x="5175462" y="3916821"/>
            <a:ext cx="3172343" cy="276999"/>
          </a:xfrm>
          <a:prstGeom prst="rect">
            <a:avLst/>
          </a:prstGeom>
          <a:noFill/>
        </p:spPr>
        <p:txBody>
          <a:bodyPr wrap="none" lIns="0" tIns="0" rIns="0" bIns="0" rtlCol="0">
            <a:spAutoFit/>
          </a:bodyPr>
          <a:lstStyle/>
          <a:p>
            <a:r>
              <a:rPr lang="en-US">
                <a:solidFill>
                  <a:schemeClr val="tx1">
                    <a:lumMod val="65000"/>
                    <a:lumOff val="35000"/>
                  </a:schemeClr>
                </a:solidFill>
              </a:rPr>
              <a:t>Interoperability (“What”, “How”)</a:t>
            </a:r>
          </a:p>
        </p:txBody>
      </p:sp>
      <p:sp>
        <p:nvSpPr>
          <p:cNvPr id="99" name="TextBox 98">
            <a:extLst>
              <a:ext uri="{FF2B5EF4-FFF2-40B4-BE49-F238E27FC236}">
                <a16:creationId xmlns:a16="http://schemas.microsoft.com/office/drawing/2014/main" id="{738AE246-751B-0835-B194-CDFBF4709684}"/>
              </a:ext>
            </a:extLst>
          </p:cNvPr>
          <p:cNvSpPr txBox="1"/>
          <p:nvPr/>
        </p:nvSpPr>
        <p:spPr>
          <a:xfrm>
            <a:off x="5175462" y="2687865"/>
            <a:ext cx="2731517" cy="276999"/>
          </a:xfrm>
          <a:prstGeom prst="rect">
            <a:avLst/>
          </a:prstGeom>
          <a:noFill/>
        </p:spPr>
        <p:txBody>
          <a:bodyPr wrap="none" lIns="0" tIns="0" rIns="0" bIns="0" rtlCol="0">
            <a:spAutoFit/>
          </a:bodyPr>
          <a:lstStyle/>
          <a:p>
            <a:r>
              <a:rPr lang="en-US">
                <a:solidFill>
                  <a:schemeClr val="tx1">
                    <a:lumMod val="65000"/>
                    <a:lumOff val="35000"/>
                  </a:schemeClr>
                </a:solidFill>
              </a:rPr>
              <a:t>Audit, Rulesets, Standards</a:t>
            </a:r>
          </a:p>
        </p:txBody>
      </p:sp>
      <p:sp>
        <p:nvSpPr>
          <p:cNvPr id="100" name="TextBox 99">
            <a:extLst>
              <a:ext uri="{FF2B5EF4-FFF2-40B4-BE49-F238E27FC236}">
                <a16:creationId xmlns:a16="http://schemas.microsoft.com/office/drawing/2014/main" id="{8D3765BF-5915-6623-D83C-093F6E7DAC33}"/>
              </a:ext>
            </a:extLst>
          </p:cNvPr>
          <p:cNvSpPr txBox="1"/>
          <p:nvPr/>
        </p:nvSpPr>
        <p:spPr>
          <a:xfrm>
            <a:off x="5175462" y="1447071"/>
            <a:ext cx="4911601" cy="276999"/>
          </a:xfrm>
          <a:prstGeom prst="rect">
            <a:avLst/>
          </a:prstGeom>
          <a:noFill/>
        </p:spPr>
        <p:txBody>
          <a:bodyPr wrap="none" lIns="0" tIns="0" rIns="0" bIns="0" rtlCol="0">
            <a:spAutoFit/>
          </a:bodyPr>
          <a:lstStyle/>
          <a:p>
            <a:r>
              <a:rPr lang="en-US">
                <a:solidFill>
                  <a:schemeClr val="tx1">
                    <a:lumMod val="65000"/>
                    <a:lumOff val="35000"/>
                  </a:schemeClr>
                </a:solidFill>
              </a:rPr>
              <a:t>Lifecycle Management, Roles &amp; Responsibilities</a:t>
            </a:r>
          </a:p>
        </p:txBody>
      </p:sp>
      <p:sp>
        <p:nvSpPr>
          <p:cNvPr id="8" name="Fußzeilenplatzhalter 3">
            <a:extLst>
              <a:ext uri="{FF2B5EF4-FFF2-40B4-BE49-F238E27FC236}">
                <a16:creationId xmlns:a16="http://schemas.microsoft.com/office/drawing/2014/main" id="{2BAFAF64-A6D5-20F8-1429-3B89D4781F4C}"/>
              </a:ext>
            </a:extLst>
          </p:cNvPr>
          <p:cNvSpPr txBox="1">
            <a:spLocks/>
          </p:cNvSpPr>
          <p:nvPr/>
        </p:nvSpPr>
        <p:spPr>
          <a:xfrm>
            <a:off x="1368178" y="6516000"/>
            <a:ext cx="5616000" cy="167933"/>
          </a:xfrm>
          <a:prstGeom prst="rect">
            <a:avLst/>
          </a:prstGeom>
        </p:spPr>
        <p:txBody>
          <a:bodyPr lIns="0" tIns="0" rIns="0" bIns="0"/>
          <a:ls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900">
                <a:latin typeface="Arial" panose="020B0604020202020204"/>
                <a:cs typeface="Arial"/>
              </a:rPr>
              <a:t>|  </a:t>
            </a:r>
            <a:r>
              <a:rPr lang="en-US" sz="900">
                <a:latin typeface="+mj-lt"/>
                <a:cs typeface="Calibri" panose="020F0502020204030204" pitchFamily="34" charset="0"/>
                <a:sym typeface="Calibri" panose="020F0502020204030204" pitchFamily="34" charset="0"/>
              </a:rPr>
              <a:t>Source: </a:t>
            </a:r>
            <a:r>
              <a:rPr lang="en-US" sz="900">
                <a:latin typeface="+mj-lt"/>
                <a:cs typeface="Calibri" panose="020F0502020204030204" pitchFamily="34" charset="0"/>
                <a:sym typeface="Calibri" panose="020F0502020204030204" pitchFamily="34" charset="0"/>
                <a:hlinkClick r:id="rId11">
                  <a:extLst>
                    <a:ext uri="{A12FA001-AC4F-418D-AE19-62706E023703}">
                      <ahyp:hlinkClr xmlns:ahyp="http://schemas.microsoft.com/office/drawing/2018/hyperlinkcolor" val="tx"/>
                    </a:ext>
                  </a:extLst>
                </a:hlinkClick>
              </a:rPr>
              <a:t>https://thebatterypass.eu</a:t>
            </a:r>
            <a:r>
              <a:rPr lang="en-US" sz="900">
                <a:latin typeface="+mj-lt"/>
                <a:cs typeface="Calibri" panose="020F0502020204030204" pitchFamily="34" charset="0"/>
                <a:sym typeface="Calibri" panose="020F0502020204030204" pitchFamily="34" charset="0"/>
              </a:rPr>
              <a:t> </a:t>
            </a:r>
          </a:p>
        </p:txBody>
      </p:sp>
      <p:pic>
        <p:nvPicPr>
          <p:cNvPr id="9" name="object 8">
            <a:extLst>
              <a:ext uri="{FF2B5EF4-FFF2-40B4-BE49-F238E27FC236}">
                <a16:creationId xmlns:a16="http://schemas.microsoft.com/office/drawing/2014/main" id="{BBF8FE40-082C-433A-5732-456375F5FDCC}"/>
              </a:ext>
            </a:extLst>
          </p:cNvPr>
          <p:cNvPicPr/>
          <p:nvPr/>
        </p:nvPicPr>
        <p:blipFill>
          <a:blip r:embed="rId12" cstate="print"/>
          <a:stretch>
            <a:fillRect/>
          </a:stretch>
        </p:blipFill>
        <p:spPr>
          <a:xfrm>
            <a:off x="226800" y="6013170"/>
            <a:ext cx="863921" cy="283182"/>
          </a:xfrm>
          <a:prstGeom prst="rect">
            <a:avLst/>
          </a:prstGeom>
        </p:spPr>
      </p:pic>
    </p:spTree>
    <p:extLst>
      <p:ext uri="{BB962C8B-B14F-4D97-AF65-F5344CB8AC3E}">
        <p14:creationId xmlns:p14="http://schemas.microsoft.com/office/powerpoint/2010/main" val="24317173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8F645F-2909-C5DF-2647-3CAA61A8D0BE}"/>
              </a:ext>
            </a:extLst>
          </p:cNvPr>
          <p:cNvSpPr>
            <a:spLocks noGrp="1"/>
          </p:cNvSpPr>
          <p:nvPr>
            <p:ph type="title"/>
          </p:nvPr>
        </p:nvSpPr>
        <p:spPr/>
        <p:txBody>
          <a:bodyPr/>
          <a:lstStyle/>
          <a:p>
            <a:r>
              <a:rPr lang="en-US"/>
              <a:t>DPP-Reality In the Process Industry. ID Link</a:t>
            </a:r>
          </a:p>
        </p:txBody>
      </p:sp>
      <p:sp>
        <p:nvSpPr>
          <p:cNvPr id="4" name="Date Placeholder 3">
            <a:extLst>
              <a:ext uri="{FF2B5EF4-FFF2-40B4-BE49-F238E27FC236}">
                <a16:creationId xmlns:a16="http://schemas.microsoft.com/office/drawing/2014/main" id="{B9414E97-3D49-ECC1-D3EE-56E18DE175E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368FC967-E25B-4DC7-87C0-1C454DF70C3D}"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5" name="Slide Number Placeholder 4">
            <a:extLst>
              <a:ext uri="{FF2B5EF4-FFF2-40B4-BE49-F238E27FC236}">
                <a16:creationId xmlns:a16="http://schemas.microsoft.com/office/drawing/2014/main" id="{9F4FAC74-5A7A-F182-016A-E573DF546E1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27</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pic>
        <p:nvPicPr>
          <p:cNvPr id="6" name="Picture 5">
            <a:extLst>
              <a:ext uri="{FF2B5EF4-FFF2-40B4-BE49-F238E27FC236}">
                <a16:creationId xmlns:a16="http://schemas.microsoft.com/office/drawing/2014/main" id="{156631EA-3BF8-2157-AA51-E364C327E7F7}"/>
              </a:ext>
            </a:extLst>
          </p:cNvPr>
          <p:cNvPicPr>
            <a:picLocks noChangeAspect="1"/>
          </p:cNvPicPr>
          <p:nvPr/>
        </p:nvPicPr>
        <p:blipFill>
          <a:blip r:embed="rId2"/>
          <a:stretch>
            <a:fillRect/>
          </a:stretch>
        </p:blipFill>
        <p:spPr>
          <a:xfrm>
            <a:off x="6680760" y="1167024"/>
            <a:ext cx="2600713" cy="4845908"/>
          </a:xfrm>
          <a:prstGeom prst="rect">
            <a:avLst/>
          </a:prstGeom>
        </p:spPr>
      </p:pic>
      <p:pic>
        <p:nvPicPr>
          <p:cNvPr id="8" name="Graphic 7">
            <a:extLst>
              <a:ext uri="{FF2B5EF4-FFF2-40B4-BE49-F238E27FC236}">
                <a16:creationId xmlns:a16="http://schemas.microsoft.com/office/drawing/2014/main" id="{E7CFE962-B3B2-66D4-0108-256F12B38E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315166" y="2364907"/>
            <a:ext cx="2128186" cy="2128186"/>
          </a:xfrm>
          <a:prstGeom prst="rect">
            <a:avLst/>
          </a:prstGeom>
        </p:spPr>
      </p:pic>
      <p:pic>
        <p:nvPicPr>
          <p:cNvPr id="9" name="object 10">
            <a:extLst>
              <a:ext uri="{FF2B5EF4-FFF2-40B4-BE49-F238E27FC236}">
                <a16:creationId xmlns:a16="http://schemas.microsoft.com/office/drawing/2014/main" id="{731E138E-4957-4442-891D-D96B30D29ED6}"/>
              </a:ext>
            </a:extLst>
          </p:cNvPr>
          <p:cNvPicPr/>
          <p:nvPr/>
        </p:nvPicPr>
        <p:blipFill>
          <a:blip r:embed="rId5" cstate="print"/>
          <a:stretch>
            <a:fillRect/>
          </a:stretch>
        </p:blipFill>
        <p:spPr>
          <a:xfrm>
            <a:off x="226800" y="6012933"/>
            <a:ext cx="2228880" cy="283420"/>
          </a:xfrm>
          <a:prstGeom prst="rect">
            <a:avLst/>
          </a:prstGeom>
        </p:spPr>
      </p:pic>
      <p:sp>
        <p:nvSpPr>
          <p:cNvPr id="10" name="Fußzeilenplatzhalter 3">
            <a:extLst>
              <a:ext uri="{FF2B5EF4-FFF2-40B4-BE49-F238E27FC236}">
                <a16:creationId xmlns:a16="http://schemas.microsoft.com/office/drawing/2014/main" id="{145AF813-075D-EAF1-AA45-504D3803D234}"/>
              </a:ext>
            </a:extLst>
          </p:cNvPr>
          <p:cNvSpPr txBox="1">
            <a:spLocks/>
          </p:cNvSpPr>
          <p:nvPr/>
        </p:nvSpPr>
        <p:spPr>
          <a:xfrm>
            <a:off x="1368178" y="6516000"/>
            <a:ext cx="5616000" cy="167933"/>
          </a:xfrm>
          <a:prstGeom prst="rect">
            <a:avLst/>
          </a:prstGeom>
        </p:spPr>
        <p:txBody>
          <a:bodyPr lIns="0" tIns="0" rIns="0" bIns="0"/>
          <a:ls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900">
                <a:latin typeface="Arial" panose="020B0604020202020204"/>
                <a:cs typeface="Arial"/>
              </a:rPr>
              <a:t>|  </a:t>
            </a:r>
            <a:r>
              <a:rPr lang="en-US" sz="900">
                <a:latin typeface="+mj-lt"/>
                <a:cs typeface="Calibri" panose="020F0502020204030204" pitchFamily="34" charset="0"/>
                <a:sym typeface="Calibri" panose="020F0502020204030204" pitchFamily="34" charset="0"/>
              </a:rPr>
              <a:t>Source: </a:t>
            </a:r>
            <a:r>
              <a:rPr lang="en-US" sz="900">
                <a:latin typeface="+mj-lt"/>
                <a:cs typeface="Calibri" panose="020F0502020204030204" pitchFamily="34" charset="0"/>
                <a:sym typeface="Calibri" panose="020F0502020204030204" pitchFamily="34" charset="0"/>
                <a:hlinkClick r:id="rId6">
                  <a:extLst>
                    <a:ext uri="{A12FA001-AC4F-418D-AE19-62706E023703}">
                      <ahyp:hlinkClr xmlns:ahyp="http://schemas.microsoft.com/office/drawing/2018/hyperlinkcolor" val="tx"/>
                    </a:ext>
                  </a:extLst>
                </a:hlinkClick>
              </a:rPr>
              <a:t>https://www.digitaldatachain.com</a:t>
            </a:r>
            <a:r>
              <a:rPr lang="en-US" sz="900">
                <a:latin typeface="+mj-lt"/>
                <a:cs typeface="Calibri" panose="020F0502020204030204" pitchFamily="34" charset="0"/>
                <a:sym typeface="Calibri" panose="020F0502020204030204" pitchFamily="34" charset="0"/>
              </a:rPr>
              <a:t> </a:t>
            </a:r>
          </a:p>
        </p:txBody>
      </p:sp>
    </p:spTree>
    <p:extLst>
      <p:ext uri="{BB962C8B-B14F-4D97-AF65-F5344CB8AC3E}">
        <p14:creationId xmlns:p14="http://schemas.microsoft.com/office/powerpoint/2010/main" val="31377361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99866-9680-9AF6-B8E0-19366C4260EB}"/>
              </a:ext>
            </a:extLst>
          </p:cNvPr>
          <p:cNvSpPr>
            <a:spLocks noGrp="1"/>
          </p:cNvSpPr>
          <p:nvPr>
            <p:ph type="title"/>
          </p:nvPr>
        </p:nvSpPr>
        <p:spPr/>
        <p:txBody>
          <a:bodyPr/>
          <a:lstStyle/>
          <a:p>
            <a:r>
              <a:rPr lang="en-US"/>
              <a:t>DPP-Reality In the Process Industry. ID Link</a:t>
            </a:r>
          </a:p>
        </p:txBody>
      </p:sp>
      <p:sp>
        <p:nvSpPr>
          <p:cNvPr id="4" name="Date Placeholder 3">
            <a:extLst>
              <a:ext uri="{FF2B5EF4-FFF2-40B4-BE49-F238E27FC236}">
                <a16:creationId xmlns:a16="http://schemas.microsoft.com/office/drawing/2014/main" id="{AC1B4CF1-559D-724D-ABF6-358D79B24628}"/>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368FC967-E25B-4DC7-87C0-1C454DF70C3D}"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5" name="Slide Number Placeholder 4">
            <a:extLst>
              <a:ext uri="{FF2B5EF4-FFF2-40B4-BE49-F238E27FC236}">
                <a16:creationId xmlns:a16="http://schemas.microsoft.com/office/drawing/2014/main" id="{4B35B1BC-B61C-DBE4-B44B-611EFB8B698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28</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
        <p:nvSpPr>
          <p:cNvPr id="6" name="Rounded Rectangle 5">
            <a:extLst>
              <a:ext uri="{FF2B5EF4-FFF2-40B4-BE49-F238E27FC236}">
                <a16:creationId xmlns:a16="http://schemas.microsoft.com/office/drawing/2014/main" id="{D4711F6F-7700-3CF3-2035-28CFEF68DD06}"/>
              </a:ext>
            </a:extLst>
          </p:cNvPr>
          <p:cNvSpPr/>
          <p:nvPr/>
        </p:nvSpPr>
        <p:spPr>
          <a:xfrm>
            <a:off x="7624572" y="1006602"/>
            <a:ext cx="3596004" cy="2192022"/>
          </a:xfrm>
          <a:prstGeom prst="roundRect">
            <a:avLst>
              <a:gd name="adj" fmla="val 6426"/>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a:extLst>
              <a:ext uri="{FF2B5EF4-FFF2-40B4-BE49-F238E27FC236}">
                <a16:creationId xmlns:a16="http://schemas.microsoft.com/office/drawing/2014/main" id="{A84528BA-0618-7111-D2EA-7B52C91C71DE}"/>
              </a:ext>
            </a:extLst>
          </p:cNvPr>
          <p:cNvSpPr/>
          <p:nvPr/>
        </p:nvSpPr>
        <p:spPr>
          <a:xfrm>
            <a:off x="7624572" y="3595114"/>
            <a:ext cx="3596004" cy="2192022"/>
          </a:xfrm>
          <a:prstGeom prst="roundRect">
            <a:avLst>
              <a:gd name="adj" fmla="val 6426"/>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FF608FE3-6E0A-E3F0-E6A9-CD4D82F7C821}"/>
              </a:ext>
            </a:extLst>
          </p:cNvPr>
          <p:cNvGrpSpPr/>
          <p:nvPr/>
        </p:nvGrpSpPr>
        <p:grpSpPr>
          <a:xfrm>
            <a:off x="997077" y="1506556"/>
            <a:ext cx="2078355" cy="4411726"/>
            <a:chOff x="997077" y="1597659"/>
            <a:chExt cx="2078355" cy="4411726"/>
          </a:xfrm>
        </p:grpSpPr>
        <p:sp>
          <p:nvSpPr>
            <p:cNvPr id="9" name="object 13">
              <a:extLst>
                <a:ext uri="{FF2B5EF4-FFF2-40B4-BE49-F238E27FC236}">
                  <a16:creationId xmlns:a16="http://schemas.microsoft.com/office/drawing/2014/main" id="{80C4E05B-3FA7-04AE-75CD-25E7FCBC1F66}"/>
                </a:ext>
              </a:extLst>
            </p:cNvPr>
            <p:cNvSpPr/>
            <p:nvPr/>
          </p:nvSpPr>
          <p:spPr>
            <a:xfrm>
              <a:off x="1889379" y="1597659"/>
              <a:ext cx="302260" cy="1226820"/>
            </a:xfrm>
            <a:custGeom>
              <a:avLst/>
              <a:gdLst/>
              <a:ahLst/>
              <a:cxnLst/>
              <a:rect l="l" t="t" r="r" b="b"/>
              <a:pathLst>
                <a:path w="302260" h="1226820">
                  <a:moveTo>
                    <a:pt x="276351" y="0"/>
                  </a:moveTo>
                  <a:lnTo>
                    <a:pt x="25400" y="0"/>
                  </a:lnTo>
                  <a:lnTo>
                    <a:pt x="15537" y="2004"/>
                  </a:lnTo>
                  <a:lnTo>
                    <a:pt x="7461" y="7461"/>
                  </a:lnTo>
                  <a:lnTo>
                    <a:pt x="2004" y="15537"/>
                  </a:lnTo>
                  <a:lnTo>
                    <a:pt x="0" y="25400"/>
                  </a:lnTo>
                  <a:lnTo>
                    <a:pt x="0" y="1201420"/>
                  </a:lnTo>
                  <a:lnTo>
                    <a:pt x="2004" y="1211282"/>
                  </a:lnTo>
                  <a:lnTo>
                    <a:pt x="7461" y="1219358"/>
                  </a:lnTo>
                  <a:lnTo>
                    <a:pt x="15537" y="1224815"/>
                  </a:lnTo>
                  <a:lnTo>
                    <a:pt x="25400" y="1226820"/>
                  </a:lnTo>
                  <a:lnTo>
                    <a:pt x="276351" y="1226820"/>
                  </a:lnTo>
                  <a:lnTo>
                    <a:pt x="286214" y="1224815"/>
                  </a:lnTo>
                  <a:lnTo>
                    <a:pt x="294290" y="1219358"/>
                  </a:lnTo>
                  <a:lnTo>
                    <a:pt x="299747" y="1211282"/>
                  </a:lnTo>
                  <a:lnTo>
                    <a:pt x="301751" y="1201420"/>
                  </a:lnTo>
                  <a:lnTo>
                    <a:pt x="301751" y="25400"/>
                  </a:lnTo>
                  <a:lnTo>
                    <a:pt x="299747" y="15537"/>
                  </a:lnTo>
                  <a:lnTo>
                    <a:pt x="294290" y="7461"/>
                  </a:lnTo>
                  <a:lnTo>
                    <a:pt x="286214" y="2004"/>
                  </a:lnTo>
                  <a:lnTo>
                    <a:pt x="276351" y="0"/>
                  </a:lnTo>
                  <a:close/>
                </a:path>
              </a:pathLst>
            </a:custGeom>
            <a:solidFill>
              <a:srgbClr val="F1F1F1"/>
            </a:solidFill>
          </p:spPr>
          <p:txBody>
            <a:bodyPr wrap="square" lIns="0" tIns="0" rIns="0" bIns="0" rtlCol="0"/>
            <a:lstStyle/>
            <a:p>
              <a:endParaRPr/>
            </a:p>
          </p:txBody>
        </p:sp>
        <p:sp>
          <p:nvSpPr>
            <p:cNvPr id="10" name="object 14">
              <a:extLst>
                <a:ext uri="{FF2B5EF4-FFF2-40B4-BE49-F238E27FC236}">
                  <a16:creationId xmlns:a16="http://schemas.microsoft.com/office/drawing/2014/main" id="{AF58EE80-7AD7-0281-E5DE-A224B2A5B1BC}"/>
                </a:ext>
              </a:extLst>
            </p:cNvPr>
            <p:cNvSpPr/>
            <p:nvPr/>
          </p:nvSpPr>
          <p:spPr>
            <a:xfrm>
              <a:off x="1889379" y="1597659"/>
              <a:ext cx="302260" cy="1226820"/>
            </a:xfrm>
            <a:custGeom>
              <a:avLst/>
              <a:gdLst/>
              <a:ahLst/>
              <a:cxnLst/>
              <a:rect l="l" t="t" r="r" b="b"/>
              <a:pathLst>
                <a:path w="302260" h="1226820">
                  <a:moveTo>
                    <a:pt x="276351" y="0"/>
                  </a:moveTo>
                  <a:lnTo>
                    <a:pt x="286214" y="2004"/>
                  </a:lnTo>
                  <a:lnTo>
                    <a:pt x="294290" y="7461"/>
                  </a:lnTo>
                  <a:lnTo>
                    <a:pt x="299747" y="15537"/>
                  </a:lnTo>
                  <a:lnTo>
                    <a:pt x="301751" y="25400"/>
                  </a:lnTo>
                  <a:lnTo>
                    <a:pt x="301751" y="1201420"/>
                  </a:lnTo>
                  <a:lnTo>
                    <a:pt x="299747" y="1211282"/>
                  </a:lnTo>
                  <a:lnTo>
                    <a:pt x="294290" y="1219358"/>
                  </a:lnTo>
                  <a:lnTo>
                    <a:pt x="286214" y="1224815"/>
                  </a:lnTo>
                  <a:lnTo>
                    <a:pt x="276351" y="1226820"/>
                  </a:lnTo>
                  <a:lnTo>
                    <a:pt x="25400" y="1226820"/>
                  </a:lnTo>
                  <a:lnTo>
                    <a:pt x="15537" y="1224815"/>
                  </a:lnTo>
                  <a:lnTo>
                    <a:pt x="7461" y="1219358"/>
                  </a:lnTo>
                  <a:lnTo>
                    <a:pt x="2004" y="1211282"/>
                  </a:lnTo>
                  <a:lnTo>
                    <a:pt x="0" y="1201420"/>
                  </a:lnTo>
                  <a:lnTo>
                    <a:pt x="0" y="25400"/>
                  </a:lnTo>
                  <a:lnTo>
                    <a:pt x="2004" y="15537"/>
                  </a:lnTo>
                  <a:lnTo>
                    <a:pt x="7461" y="7461"/>
                  </a:lnTo>
                  <a:lnTo>
                    <a:pt x="15537" y="2004"/>
                  </a:lnTo>
                  <a:lnTo>
                    <a:pt x="25400" y="0"/>
                  </a:lnTo>
                  <a:lnTo>
                    <a:pt x="276351" y="0"/>
                  </a:lnTo>
                  <a:close/>
                </a:path>
              </a:pathLst>
            </a:custGeom>
            <a:ln w="25400">
              <a:solidFill>
                <a:srgbClr val="000000"/>
              </a:solidFill>
            </a:ln>
          </p:spPr>
          <p:txBody>
            <a:bodyPr wrap="square" lIns="0" tIns="0" rIns="0" bIns="0" rtlCol="0"/>
            <a:lstStyle/>
            <a:p>
              <a:endParaRPr/>
            </a:p>
          </p:txBody>
        </p:sp>
        <p:sp>
          <p:nvSpPr>
            <p:cNvPr id="11" name="object 15">
              <a:extLst>
                <a:ext uri="{FF2B5EF4-FFF2-40B4-BE49-F238E27FC236}">
                  <a16:creationId xmlns:a16="http://schemas.microsoft.com/office/drawing/2014/main" id="{C4AA1EAE-5413-B91A-55DB-FAF34A5DA20E}"/>
                </a:ext>
              </a:extLst>
            </p:cNvPr>
            <p:cNvSpPr/>
            <p:nvPr/>
          </p:nvSpPr>
          <p:spPr>
            <a:xfrm>
              <a:off x="1518285" y="2238501"/>
              <a:ext cx="1047115" cy="2782570"/>
            </a:xfrm>
            <a:custGeom>
              <a:avLst/>
              <a:gdLst/>
              <a:ahLst/>
              <a:cxnLst/>
              <a:rect l="l" t="t" r="r" b="b"/>
              <a:pathLst>
                <a:path w="1047114" h="2782570">
                  <a:moveTo>
                    <a:pt x="958850" y="0"/>
                  </a:moveTo>
                  <a:lnTo>
                    <a:pt x="88137" y="0"/>
                  </a:lnTo>
                  <a:lnTo>
                    <a:pt x="53846" y="6931"/>
                  </a:lnTo>
                  <a:lnTo>
                    <a:pt x="25828" y="25828"/>
                  </a:lnTo>
                  <a:lnTo>
                    <a:pt x="6931" y="53846"/>
                  </a:lnTo>
                  <a:lnTo>
                    <a:pt x="0" y="88137"/>
                  </a:lnTo>
                  <a:lnTo>
                    <a:pt x="0" y="2693924"/>
                  </a:lnTo>
                  <a:lnTo>
                    <a:pt x="6931" y="2728215"/>
                  </a:lnTo>
                  <a:lnTo>
                    <a:pt x="25828" y="2756233"/>
                  </a:lnTo>
                  <a:lnTo>
                    <a:pt x="53846" y="2775130"/>
                  </a:lnTo>
                  <a:lnTo>
                    <a:pt x="88137" y="2782062"/>
                  </a:lnTo>
                  <a:lnTo>
                    <a:pt x="958850" y="2782062"/>
                  </a:lnTo>
                  <a:lnTo>
                    <a:pt x="993141" y="2775130"/>
                  </a:lnTo>
                  <a:lnTo>
                    <a:pt x="1021159" y="2756233"/>
                  </a:lnTo>
                  <a:lnTo>
                    <a:pt x="1040056" y="2728215"/>
                  </a:lnTo>
                  <a:lnTo>
                    <a:pt x="1046988" y="2693924"/>
                  </a:lnTo>
                  <a:lnTo>
                    <a:pt x="1046988" y="88137"/>
                  </a:lnTo>
                  <a:lnTo>
                    <a:pt x="1040056" y="53846"/>
                  </a:lnTo>
                  <a:lnTo>
                    <a:pt x="1021159" y="25828"/>
                  </a:lnTo>
                  <a:lnTo>
                    <a:pt x="993141" y="6931"/>
                  </a:lnTo>
                  <a:lnTo>
                    <a:pt x="958850" y="0"/>
                  </a:lnTo>
                  <a:close/>
                </a:path>
              </a:pathLst>
            </a:custGeom>
            <a:solidFill>
              <a:srgbClr val="F1F1F1"/>
            </a:solidFill>
          </p:spPr>
          <p:txBody>
            <a:bodyPr wrap="square" lIns="0" tIns="0" rIns="0" bIns="0" rtlCol="0"/>
            <a:lstStyle/>
            <a:p>
              <a:endParaRPr/>
            </a:p>
          </p:txBody>
        </p:sp>
        <p:sp>
          <p:nvSpPr>
            <p:cNvPr id="12" name="object 16">
              <a:extLst>
                <a:ext uri="{FF2B5EF4-FFF2-40B4-BE49-F238E27FC236}">
                  <a16:creationId xmlns:a16="http://schemas.microsoft.com/office/drawing/2014/main" id="{5261C60F-993D-E05D-33D5-07690770F7CA}"/>
                </a:ext>
              </a:extLst>
            </p:cNvPr>
            <p:cNvSpPr/>
            <p:nvPr/>
          </p:nvSpPr>
          <p:spPr>
            <a:xfrm>
              <a:off x="1518285" y="2238501"/>
              <a:ext cx="1047115" cy="2782570"/>
            </a:xfrm>
            <a:custGeom>
              <a:avLst/>
              <a:gdLst/>
              <a:ahLst/>
              <a:cxnLst/>
              <a:rect l="l" t="t" r="r" b="b"/>
              <a:pathLst>
                <a:path w="1047114" h="2782570">
                  <a:moveTo>
                    <a:pt x="958850" y="0"/>
                  </a:moveTo>
                  <a:lnTo>
                    <a:pt x="993141" y="6931"/>
                  </a:lnTo>
                  <a:lnTo>
                    <a:pt x="1021159" y="25828"/>
                  </a:lnTo>
                  <a:lnTo>
                    <a:pt x="1040056" y="53846"/>
                  </a:lnTo>
                  <a:lnTo>
                    <a:pt x="1046988" y="88137"/>
                  </a:lnTo>
                  <a:lnTo>
                    <a:pt x="1046988" y="2693924"/>
                  </a:lnTo>
                  <a:lnTo>
                    <a:pt x="1040056" y="2728215"/>
                  </a:lnTo>
                  <a:lnTo>
                    <a:pt x="1021159" y="2756233"/>
                  </a:lnTo>
                  <a:lnTo>
                    <a:pt x="993141" y="2775130"/>
                  </a:lnTo>
                  <a:lnTo>
                    <a:pt x="958850" y="2782062"/>
                  </a:lnTo>
                  <a:lnTo>
                    <a:pt x="88137" y="2782062"/>
                  </a:lnTo>
                  <a:lnTo>
                    <a:pt x="53846" y="2775130"/>
                  </a:lnTo>
                  <a:lnTo>
                    <a:pt x="25828" y="2756233"/>
                  </a:lnTo>
                  <a:lnTo>
                    <a:pt x="6931" y="2728215"/>
                  </a:lnTo>
                  <a:lnTo>
                    <a:pt x="0" y="2693924"/>
                  </a:lnTo>
                  <a:lnTo>
                    <a:pt x="0" y="88137"/>
                  </a:lnTo>
                  <a:lnTo>
                    <a:pt x="6931" y="53846"/>
                  </a:lnTo>
                  <a:lnTo>
                    <a:pt x="25828" y="25828"/>
                  </a:lnTo>
                  <a:lnTo>
                    <a:pt x="53846" y="6931"/>
                  </a:lnTo>
                  <a:lnTo>
                    <a:pt x="88137" y="0"/>
                  </a:lnTo>
                  <a:lnTo>
                    <a:pt x="958850" y="0"/>
                  </a:lnTo>
                  <a:close/>
                </a:path>
              </a:pathLst>
            </a:custGeom>
            <a:ln w="25400">
              <a:solidFill>
                <a:srgbClr val="000000"/>
              </a:solidFill>
            </a:ln>
          </p:spPr>
          <p:txBody>
            <a:bodyPr wrap="square" lIns="0" tIns="0" rIns="0" bIns="0" rtlCol="0"/>
            <a:lstStyle/>
            <a:p>
              <a:endParaRPr/>
            </a:p>
          </p:txBody>
        </p:sp>
        <p:sp>
          <p:nvSpPr>
            <p:cNvPr id="13" name="object 17">
              <a:extLst>
                <a:ext uri="{FF2B5EF4-FFF2-40B4-BE49-F238E27FC236}">
                  <a16:creationId xmlns:a16="http://schemas.microsoft.com/office/drawing/2014/main" id="{1B2EF369-0622-E673-07E3-CAEE539716C2}"/>
                </a:ext>
              </a:extLst>
            </p:cNvPr>
            <p:cNvSpPr/>
            <p:nvPr/>
          </p:nvSpPr>
          <p:spPr>
            <a:xfrm>
              <a:off x="1300353" y="2640837"/>
              <a:ext cx="1477645" cy="2782570"/>
            </a:xfrm>
            <a:custGeom>
              <a:avLst/>
              <a:gdLst/>
              <a:ahLst/>
              <a:cxnLst/>
              <a:rect l="l" t="t" r="r" b="b"/>
              <a:pathLst>
                <a:path w="1477645" h="2782570">
                  <a:moveTo>
                    <a:pt x="1353058" y="0"/>
                  </a:moveTo>
                  <a:lnTo>
                    <a:pt x="124459" y="0"/>
                  </a:lnTo>
                  <a:lnTo>
                    <a:pt x="76027" y="9784"/>
                  </a:lnTo>
                  <a:lnTo>
                    <a:pt x="36464" y="36464"/>
                  </a:lnTo>
                  <a:lnTo>
                    <a:pt x="9784" y="76027"/>
                  </a:lnTo>
                  <a:lnTo>
                    <a:pt x="0" y="124460"/>
                  </a:lnTo>
                  <a:lnTo>
                    <a:pt x="0" y="2657602"/>
                  </a:lnTo>
                  <a:lnTo>
                    <a:pt x="9784" y="2706034"/>
                  </a:lnTo>
                  <a:lnTo>
                    <a:pt x="36464" y="2745597"/>
                  </a:lnTo>
                  <a:lnTo>
                    <a:pt x="76027" y="2772277"/>
                  </a:lnTo>
                  <a:lnTo>
                    <a:pt x="124459" y="2782061"/>
                  </a:lnTo>
                  <a:lnTo>
                    <a:pt x="1353058" y="2782061"/>
                  </a:lnTo>
                  <a:lnTo>
                    <a:pt x="1401490" y="2772277"/>
                  </a:lnTo>
                  <a:lnTo>
                    <a:pt x="1441053" y="2745597"/>
                  </a:lnTo>
                  <a:lnTo>
                    <a:pt x="1467733" y="2706034"/>
                  </a:lnTo>
                  <a:lnTo>
                    <a:pt x="1477517" y="2657602"/>
                  </a:lnTo>
                  <a:lnTo>
                    <a:pt x="1477517" y="124460"/>
                  </a:lnTo>
                  <a:lnTo>
                    <a:pt x="1467733" y="76027"/>
                  </a:lnTo>
                  <a:lnTo>
                    <a:pt x="1441053" y="36464"/>
                  </a:lnTo>
                  <a:lnTo>
                    <a:pt x="1401490" y="9784"/>
                  </a:lnTo>
                  <a:lnTo>
                    <a:pt x="1353058" y="0"/>
                  </a:lnTo>
                  <a:close/>
                </a:path>
              </a:pathLst>
            </a:custGeom>
            <a:solidFill>
              <a:srgbClr val="F1F1F1"/>
            </a:solidFill>
          </p:spPr>
          <p:txBody>
            <a:bodyPr wrap="square" lIns="0" tIns="0" rIns="0" bIns="0" rtlCol="0"/>
            <a:lstStyle/>
            <a:p>
              <a:endParaRPr/>
            </a:p>
          </p:txBody>
        </p:sp>
        <p:sp>
          <p:nvSpPr>
            <p:cNvPr id="14" name="object 18">
              <a:extLst>
                <a:ext uri="{FF2B5EF4-FFF2-40B4-BE49-F238E27FC236}">
                  <a16:creationId xmlns:a16="http://schemas.microsoft.com/office/drawing/2014/main" id="{37D06F5A-1992-F556-7639-C63243B912DA}"/>
                </a:ext>
              </a:extLst>
            </p:cNvPr>
            <p:cNvSpPr/>
            <p:nvPr/>
          </p:nvSpPr>
          <p:spPr>
            <a:xfrm>
              <a:off x="1300353" y="2640837"/>
              <a:ext cx="1477645" cy="2782570"/>
            </a:xfrm>
            <a:custGeom>
              <a:avLst/>
              <a:gdLst/>
              <a:ahLst/>
              <a:cxnLst/>
              <a:rect l="l" t="t" r="r" b="b"/>
              <a:pathLst>
                <a:path w="1477645" h="2782570">
                  <a:moveTo>
                    <a:pt x="1353058" y="0"/>
                  </a:moveTo>
                  <a:lnTo>
                    <a:pt x="1401490" y="9784"/>
                  </a:lnTo>
                  <a:lnTo>
                    <a:pt x="1441053" y="36464"/>
                  </a:lnTo>
                  <a:lnTo>
                    <a:pt x="1467733" y="76027"/>
                  </a:lnTo>
                  <a:lnTo>
                    <a:pt x="1477517" y="124460"/>
                  </a:lnTo>
                  <a:lnTo>
                    <a:pt x="1477517" y="2657602"/>
                  </a:lnTo>
                  <a:lnTo>
                    <a:pt x="1467733" y="2706034"/>
                  </a:lnTo>
                  <a:lnTo>
                    <a:pt x="1441053" y="2745597"/>
                  </a:lnTo>
                  <a:lnTo>
                    <a:pt x="1401490" y="2772277"/>
                  </a:lnTo>
                  <a:lnTo>
                    <a:pt x="1353058" y="2782061"/>
                  </a:lnTo>
                  <a:lnTo>
                    <a:pt x="124459" y="2782061"/>
                  </a:lnTo>
                  <a:lnTo>
                    <a:pt x="76027" y="2772277"/>
                  </a:lnTo>
                  <a:lnTo>
                    <a:pt x="36464" y="2745597"/>
                  </a:lnTo>
                  <a:lnTo>
                    <a:pt x="9784" y="2706034"/>
                  </a:lnTo>
                  <a:lnTo>
                    <a:pt x="0" y="2657602"/>
                  </a:lnTo>
                  <a:lnTo>
                    <a:pt x="0" y="124460"/>
                  </a:lnTo>
                  <a:lnTo>
                    <a:pt x="9784" y="76027"/>
                  </a:lnTo>
                  <a:lnTo>
                    <a:pt x="36464" y="36464"/>
                  </a:lnTo>
                  <a:lnTo>
                    <a:pt x="76027" y="9784"/>
                  </a:lnTo>
                  <a:lnTo>
                    <a:pt x="124459" y="0"/>
                  </a:lnTo>
                  <a:lnTo>
                    <a:pt x="1353058" y="0"/>
                  </a:lnTo>
                  <a:close/>
                </a:path>
              </a:pathLst>
            </a:custGeom>
            <a:ln w="25400">
              <a:solidFill>
                <a:srgbClr val="000000"/>
              </a:solidFill>
            </a:ln>
          </p:spPr>
          <p:txBody>
            <a:bodyPr wrap="square" lIns="0" tIns="0" rIns="0" bIns="0" rtlCol="0"/>
            <a:lstStyle/>
            <a:p>
              <a:endParaRPr/>
            </a:p>
          </p:txBody>
        </p:sp>
        <p:sp>
          <p:nvSpPr>
            <p:cNvPr id="15" name="object 19">
              <a:extLst>
                <a:ext uri="{FF2B5EF4-FFF2-40B4-BE49-F238E27FC236}">
                  <a16:creationId xmlns:a16="http://schemas.microsoft.com/office/drawing/2014/main" id="{A92EECAD-D7EB-4F10-ED21-6D4647506994}"/>
                </a:ext>
              </a:extLst>
            </p:cNvPr>
            <p:cNvSpPr/>
            <p:nvPr/>
          </p:nvSpPr>
          <p:spPr>
            <a:xfrm>
              <a:off x="1161669" y="3226815"/>
              <a:ext cx="1756410" cy="2782570"/>
            </a:xfrm>
            <a:custGeom>
              <a:avLst/>
              <a:gdLst/>
              <a:ahLst/>
              <a:cxnLst/>
              <a:rect l="l" t="t" r="r" b="b"/>
              <a:pathLst>
                <a:path w="1756410" h="2782570">
                  <a:moveTo>
                    <a:pt x="1342898" y="0"/>
                  </a:moveTo>
                  <a:lnTo>
                    <a:pt x="413512" y="0"/>
                  </a:lnTo>
                  <a:lnTo>
                    <a:pt x="365293" y="2782"/>
                  </a:lnTo>
                  <a:lnTo>
                    <a:pt x="318707" y="10922"/>
                  </a:lnTo>
                  <a:lnTo>
                    <a:pt x="274063" y="24110"/>
                  </a:lnTo>
                  <a:lnTo>
                    <a:pt x="231673" y="42035"/>
                  </a:lnTo>
                  <a:lnTo>
                    <a:pt x="191846" y="64386"/>
                  </a:lnTo>
                  <a:lnTo>
                    <a:pt x="154894" y="90853"/>
                  </a:lnTo>
                  <a:lnTo>
                    <a:pt x="121126" y="121126"/>
                  </a:lnTo>
                  <a:lnTo>
                    <a:pt x="90853" y="154894"/>
                  </a:lnTo>
                  <a:lnTo>
                    <a:pt x="64386" y="191846"/>
                  </a:lnTo>
                  <a:lnTo>
                    <a:pt x="42035" y="231673"/>
                  </a:lnTo>
                  <a:lnTo>
                    <a:pt x="24110" y="274063"/>
                  </a:lnTo>
                  <a:lnTo>
                    <a:pt x="10922" y="318707"/>
                  </a:lnTo>
                  <a:lnTo>
                    <a:pt x="2782" y="365293"/>
                  </a:lnTo>
                  <a:lnTo>
                    <a:pt x="0" y="413512"/>
                  </a:lnTo>
                  <a:lnTo>
                    <a:pt x="0" y="2368550"/>
                  </a:lnTo>
                  <a:lnTo>
                    <a:pt x="2782" y="2416768"/>
                  </a:lnTo>
                  <a:lnTo>
                    <a:pt x="10922" y="2463354"/>
                  </a:lnTo>
                  <a:lnTo>
                    <a:pt x="24110" y="2507998"/>
                  </a:lnTo>
                  <a:lnTo>
                    <a:pt x="42035" y="2550388"/>
                  </a:lnTo>
                  <a:lnTo>
                    <a:pt x="64386" y="2590215"/>
                  </a:lnTo>
                  <a:lnTo>
                    <a:pt x="90853" y="2627167"/>
                  </a:lnTo>
                  <a:lnTo>
                    <a:pt x="121126" y="2660935"/>
                  </a:lnTo>
                  <a:lnTo>
                    <a:pt x="154894" y="2691208"/>
                  </a:lnTo>
                  <a:lnTo>
                    <a:pt x="191846" y="2717675"/>
                  </a:lnTo>
                  <a:lnTo>
                    <a:pt x="231673" y="2740026"/>
                  </a:lnTo>
                  <a:lnTo>
                    <a:pt x="274063" y="2757951"/>
                  </a:lnTo>
                  <a:lnTo>
                    <a:pt x="318707" y="2771139"/>
                  </a:lnTo>
                  <a:lnTo>
                    <a:pt x="365293" y="2779279"/>
                  </a:lnTo>
                  <a:lnTo>
                    <a:pt x="413512" y="2782062"/>
                  </a:lnTo>
                  <a:lnTo>
                    <a:pt x="1342898" y="2782062"/>
                  </a:lnTo>
                  <a:lnTo>
                    <a:pt x="1391116" y="2779279"/>
                  </a:lnTo>
                  <a:lnTo>
                    <a:pt x="1437702" y="2771139"/>
                  </a:lnTo>
                  <a:lnTo>
                    <a:pt x="1482346" y="2757951"/>
                  </a:lnTo>
                  <a:lnTo>
                    <a:pt x="1524736" y="2740026"/>
                  </a:lnTo>
                  <a:lnTo>
                    <a:pt x="1564563" y="2717675"/>
                  </a:lnTo>
                  <a:lnTo>
                    <a:pt x="1601515" y="2691208"/>
                  </a:lnTo>
                  <a:lnTo>
                    <a:pt x="1635283" y="2660935"/>
                  </a:lnTo>
                  <a:lnTo>
                    <a:pt x="1665556" y="2627167"/>
                  </a:lnTo>
                  <a:lnTo>
                    <a:pt x="1692023" y="2590215"/>
                  </a:lnTo>
                  <a:lnTo>
                    <a:pt x="1714374" y="2550388"/>
                  </a:lnTo>
                  <a:lnTo>
                    <a:pt x="1732299" y="2507998"/>
                  </a:lnTo>
                  <a:lnTo>
                    <a:pt x="1745487" y="2463354"/>
                  </a:lnTo>
                  <a:lnTo>
                    <a:pt x="1753627" y="2416768"/>
                  </a:lnTo>
                  <a:lnTo>
                    <a:pt x="1756410" y="2368550"/>
                  </a:lnTo>
                  <a:lnTo>
                    <a:pt x="1756410" y="413512"/>
                  </a:lnTo>
                  <a:lnTo>
                    <a:pt x="1753627" y="365293"/>
                  </a:lnTo>
                  <a:lnTo>
                    <a:pt x="1745487" y="318707"/>
                  </a:lnTo>
                  <a:lnTo>
                    <a:pt x="1732299" y="274063"/>
                  </a:lnTo>
                  <a:lnTo>
                    <a:pt x="1714374" y="231673"/>
                  </a:lnTo>
                  <a:lnTo>
                    <a:pt x="1692023" y="191846"/>
                  </a:lnTo>
                  <a:lnTo>
                    <a:pt x="1665556" y="154894"/>
                  </a:lnTo>
                  <a:lnTo>
                    <a:pt x="1635283" y="121126"/>
                  </a:lnTo>
                  <a:lnTo>
                    <a:pt x="1601515" y="90853"/>
                  </a:lnTo>
                  <a:lnTo>
                    <a:pt x="1564563" y="64386"/>
                  </a:lnTo>
                  <a:lnTo>
                    <a:pt x="1524736" y="42035"/>
                  </a:lnTo>
                  <a:lnTo>
                    <a:pt x="1482346" y="24110"/>
                  </a:lnTo>
                  <a:lnTo>
                    <a:pt x="1437702" y="10922"/>
                  </a:lnTo>
                  <a:lnTo>
                    <a:pt x="1391116" y="2782"/>
                  </a:lnTo>
                  <a:lnTo>
                    <a:pt x="1342898" y="0"/>
                  </a:lnTo>
                  <a:close/>
                </a:path>
              </a:pathLst>
            </a:custGeom>
            <a:solidFill>
              <a:srgbClr val="F1F1F1"/>
            </a:solidFill>
          </p:spPr>
          <p:txBody>
            <a:bodyPr wrap="square" lIns="0" tIns="0" rIns="0" bIns="0" rtlCol="0"/>
            <a:lstStyle/>
            <a:p>
              <a:endParaRPr/>
            </a:p>
          </p:txBody>
        </p:sp>
        <p:sp>
          <p:nvSpPr>
            <p:cNvPr id="16" name="object 20">
              <a:extLst>
                <a:ext uri="{FF2B5EF4-FFF2-40B4-BE49-F238E27FC236}">
                  <a16:creationId xmlns:a16="http://schemas.microsoft.com/office/drawing/2014/main" id="{53500C22-4C6B-4D09-60F0-D4E0794201BA}"/>
                </a:ext>
              </a:extLst>
            </p:cNvPr>
            <p:cNvSpPr/>
            <p:nvPr/>
          </p:nvSpPr>
          <p:spPr>
            <a:xfrm>
              <a:off x="1161669" y="3226815"/>
              <a:ext cx="1756410" cy="2782570"/>
            </a:xfrm>
            <a:custGeom>
              <a:avLst/>
              <a:gdLst/>
              <a:ahLst/>
              <a:cxnLst/>
              <a:rect l="l" t="t" r="r" b="b"/>
              <a:pathLst>
                <a:path w="1756410" h="2782570">
                  <a:moveTo>
                    <a:pt x="1342898" y="0"/>
                  </a:moveTo>
                  <a:lnTo>
                    <a:pt x="1391116" y="2782"/>
                  </a:lnTo>
                  <a:lnTo>
                    <a:pt x="1437702" y="10922"/>
                  </a:lnTo>
                  <a:lnTo>
                    <a:pt x="1482346" y="24110"/>
                  </a:lnTo>
                  <a:lnTo>
                    <a:pt x="1524736" y="42035"/>
                  </a:lnTo>
                  <a:lnTo>
                    <a:pt x="1564563" y="64386"/>
                  </a:lnTo>
                  <a:lnTo>
                    <a:pt x="1601515" y="90853"/>
                  </a:lnTo>
                  <a:lnTo>
                    <a:pt x="1635283" y="121126"/>
                  </a:lnTo>
                  <a:lnTo>
                    <a:pt x="1665556" y="154894"/>
                  </a:lnTo>
                  <a:lnTo>
                    <a:pt x="1692023" y="191846"/>
                  </a:lnTo>
                  <a:lnTo>
                    <a:pt x="1714374" y="231673"/>
                  </a:lnTo>
                  <a:lnTo>
                    <a:pt x="1732299" y="274063"/>
                  </a:lnTo>
                  <a:lnTo>
                    <a:pt x="1745487" y="318707"/>
                  </a:lnTo>
                  <a:lnTo>
                    <a:pt x="1753627" y="365293"/>
                  </a:lnTo>
                  <a:lnTo>
                    <a:pt x="1756410" y="413512"/>
                  </a:lnTo>
                  <a:lnTo>
                    <a:pt x="1756410" y="2368550"/>
                  </a:lnTo>
                  <a:lnTo>
                    <a:pt x="1753627" y="2416768"/>
                  </a:lnTo>
                  <a:lnTo>
                    <a:pt x="1745487" y="2463354"/>
                  </a:lnTo>
                  <a:lnTo>
                    <a:pt x="1732299" y="2507998"/>
                  </a:lnTo>
                  <a:lnTo>
                    <a:pt x="1714374" y="2550388"/>
                  </a:lnTo>
                  <a:lnTo>
                    <a:pt x="1692023" y="2590215"/>
                  </a:lnTo>
                  <a:lnTo>
                    <a:pt x="1665556" y="2627167"/>
                  </a:lnTo>
                  <a:lnTo>
                    <a:pt x="1635283" y="2660935"/>
                  </a:lnTo>
                  <a:lnTo>
                    <a:pt x="1601515" y="2691208"/>
                  </a:lnTo>
                  <a:lnTo>
                    <a:pt x="1564563" y="2717675"/>
                  </a:lnTo>
                  <a:lnTo>
                    <a:pt x="1524736" y="2740026"/>
                  </a:lnTo>
                  <a:lnTo>
                    <a:pt x="1482346" y="2757951"/>
                  </a:lnTo>
                  <a:lnTo>
                    <a:pt x="1437702" y="2771139"/>
                  </a:lnTo>
                  <a:lnTo>
                    <a:pt x="1391116" y="2779279"/>
                  </a:lnTo>
                  <a:lnTo>
                    <a:pt x="1342898" y="2782062"/>
                  </a:lnTo>
                  <a:lnTo>
                    <a:pt x="413512" y="2782062"/>
                  </a:lnTo>
                  <a:lnTo>
                    <a:pt x="365293" y="2779279"/>
                  </a:lnTo>
                  <a:lnTo>
                    <a:pt x="318707" y="2771139"/>
                  </a:lnTo>
                  <a:lnTo>
                    <a:pt x="274063" y="2757951"/>
                  </a:lnTo>
                  <a:lnTo>
                    <a:pt x="231673" y="2740026"/>
                  </a:lnTo>
                  <a:lnTo>
                    <a:pt x="191846" y="2717675"/>
                  </a:lnTo>
                  <a:lnTo>
                    <a:pt x="154894" y="2691208"/>
                  </a:lnTo>
                  <a:lnTo>
                    <a:pt x="121126" y="2660935"/>
                  </a:lnTo>
                  <a:lnTo>
                    <a:pt x="90853" y="2627167"/>
                  </a:lnTo>
                  <a:lnTo>
                    <a:pt x="64386" y="2590215"/>
                  </a:lnTo>
                  <a:lnTo>
                    <a:pt x="42035" y="2550388"/>
                  </a:lnTo>
                  <a:lnTo>
                    <a:pt x="24110" y="2507998"/>
                  </a:lnTo>
                  <a:lnTo>
                    <a:pt x="10922" y="2463354"/>
                  </a:lnTo>
                  <a:lnTo>
                    <a:pt x="2782" y="2416768"/>
                  </a:lnTo>
                  <a:lnTo>
                    <a:pt x="0" y="2368550"/>
                  </a:lnTo>
                  <a:lnTo>
                    <a:pt x="0" y="413512"/>
                  </a:lnTo>
                  <a:lnTo>
                    <a:pt x="2782" y="365293"/>
                  </a:lnTo>
                  <a:lnTo>
                    <a:pt x="10922" y="318707"/>
                  </a:lnTo>
                  <a:lnTo>
                    <a:pt x="24110" y="274063"/>
                  </a:lnTo>
                  <a:lnTo>
                    <a:pt x="42035" y="231673"/>
                  </a:lnTo>
                  <a:lnTo>
                    <a:pt x="64386" y="191846"/>
                  </a:lnTo>
                  <a:lnTo>
                    <a:pt x="90853" y="154894"/>
                  </a:lnTo>
                  <a:lnTo>
                    <a:pt x="121126" y="121126"/>
                  </a:lnTo>
                  <a:lnTo>
                    <a:pt x="154894" y="90853"/>
                  </a:lnTo>
                  <a:lnTo>
                    <a:pt x="191846" y="64386"/>
                  </a:lnTo>
                  <a:lnTo>
                    <a:pt x="231673" y="42035"/>
                  </a:lnTo>
                  <a:lnTo>
                    <a:pt x="274063" y="24110"/>
                  </a:lnTo>
                  <a:lnTo>
                    <a:pt x="318707" y="10922"/>
                  </a:lnTo>
                  <a:lnTo>
                    <a:pt x="365293" y="2782"/>
                  </a:lnTo>
                  <a:lnTo>
                    <a:pt x="413512" y="0"/>
                  </a:lnTo>
                  <a:lnTo>
                    <a:pt x="1342898" y="0"/>
                  </a:lnTo>
                  <a:close/>
                </a:path>
              </a:pathLst>
            </a:custGeom>
            <a:ln w="25399">
              <a:solidFill>
                <a:srgbClr val="000000"/>
              </a:solidFill>
            </a:ln>
          </p:spPr>
          <p:txBody>
            <a:bodyPr wrap="square" lIns="0" tIns="0" rIns="0" bIns="0" rtlCol="0"/>
            <a:lstStyle/>
            <a:p>
              <a:endParaRPr/>
            </a:p>
          </p:txBody>
        </p:sp>
        <p:sp>
          <p:nvSpPr>
            <p:cNvPr id="17" name="object 21">
              <a:extLst>
                <a:ext uri="{FF2B5EF4-FFF2-40B4-BE49-F238E27FC236}">
                  <a16:creationId xmlns:a16="http://schemas.microsoft.com/office/drawing/2014/main" id="{D5CCB4BC-EE90-8BE6-75B5-751B44E377D6}"/>
                </a:ext>
              </a:extLst>
            </p:cNvPr>
            <p:cNvSpPr/>
            <p:nvPr/>
          </p:nvSpPr>
          <p:spPr>
            <a:xfrm>
              <a:off x="1161669" y="2824479"/>
              <a:ext cx="1756410" cy="2782570"/>
            </a:xfrm>
            <a:custGeom>
              <a:avLst/>
              <a:gdLst/>
              <a:ahLst/>
              <a:cxnLst/>
              <a:rect l="l" t="t" r="r" b="b"/>
              <a:pathLst>
                <a:path w="1756410" h="2782570">
                  <a:moveTo>
                    <a:pt x="1608582" y="0"/>
                  </a:moveTo>
                  <a:lnTo>
                    <a:pt x="147828" y="0"/>
                  </a:lnTo>
                  <a:lnTo>
                    <a:pt x="101115" y="7534"/>
                  </a:lnTo>
                  <a:lnTo>
                    <a:pt x="60536" y="28517"/>
                  </a:lnTo>
                  <a:lnTo>
                    <a:pt x="28531" y="60514"/>
                  </a:lnTo>
                  <a:lnTo>
                    <a:pt x="7539" y="101096"/>
                  </a:lnTo>
                  <a:lnTo>
                    <a:pt x="0" y="147827"/>
                  </a:lnTo>
                  <a:lnTo>
                    <a:pt x="0" y="2634234"/>
                  </a:lnTo>
                  <a:lnTo>
                    <a:pt x="7539" y="2680965"/>
                  </a:lnTo>
                  <a:lnTo>
                    <a:pt x="28531" y="2721547"/>
                  </a:lnTo>
                  <a:lnTo>
                    <a:pt x="60536" y="2753544"/>
                  </a:lnTo>
                  <a:lnTo>
                    <a:pt x="101115" y="2774527"/>
                  </a:lnTo>
                  <a:lnTo>
                    <a:pt x="147828" y="2782062"/>
                  </a:lnTo>
                  <a:lnTo>
                    <a:pt x="1608582" y="2782062"/>
                  </a:lnTo>
                  <a:lnTo>
                    <a:pt x="1655313" y="2774527"/>
                  </a:lnTo>
                  <a:lnTo>
                    <a:pt x="1695895" y="2753544"/>
                  </a:lnTo>
                  <a:lnTo>
                    <a:pt x="1727892" y="2721547"/>
                  </a:lnTo>
                  <a:lnTo>
                    <a:pt x="1748875" y="2680965"/>
                  </a:lnTo>
                  <a:lnTo>
                    <a:pt x="1756410" y="2634234"/>
                  </a:lnTo>
                  <a:lnTo>
                    <a:pt x="1756410" y="147827"/>
                  </a:lnTo>
                  <a:lnTo>
                    <a:pt x="1748875" y="101096"/>
                  </a:lnTo>
                  <a:lnTo>
                    <a:pt x="1727892" y="60514"/>
                  </a:lnTo>
                  <a:lnTo>
                    <a:pt x="1695895" y="28517"/>
                  </a:lnTo>
                  <a:lnTo>
                    <a:pt x="1655313" y="7534"/>
                  </a:lnTo>
                  <a:lnTo>
                    <a:pt x="1608582" y="0"/>
                  </a:lnTo>
                  <a:close/>
                </a:path>
              </a:pathLst>
            </a:custGeom>
            <a:solidFill>
              <a:srgbClr val="F1F1F1"/>
            </a:solidFill>
          </p:spPr>
          <p:txBody>
            <a:bodyPr wrap="square" lIns="0" tIns="0" rIns="0" bIns="0" rtlCol="0"/>
            <a:lstStyle/>
            <a:p>
              <a:endParaRPr/>
            </a:p>
          </p:txBody>
        </p:sp>
        <p:sp>
          <p:nvSpPr>
            <p:cNvPr id="18" name="object 22">
              <a:extLst>
                <a:ext uri="{FF2B5EF4-FFF2-40B4-BE49-F238E27FC236}">
                  <a16:creationId xmlns:a16="http://schemas.microsoft.com/office/drawing/2014/main" id="{0ACC39CF-E2D7-6914-D176-9587E49BBCF6}"/>
                </a:ext>
              </a:extLst>
            </p:cNvPr>
            <p:cNvSpPr/>
            <p:nvPr/>
          </p:nvSpPr>
          <p:spPr>
            <a:xfrm>
              <a:off x="1161669" y="2824479"/>
              <a:ext cx="1756410" cy="2782570"/>
            </a:xfrm>
            <a:custGeom>
              <a:avLst/>
              <a:gdLst/>
              <a:ahLst/>
              <a:cxnLst/>
              <a:rect l="l" t="t" r="r" b="b"/>
              <a:pathLst>
                <a:path w="1756410" h="2782570">
                  <a:moveTo>
                    <a:pt x="1608582" y="0"/>
                  </a:moveTo>
                  <a:lnTo>
                    <a:pt x="1655313" y="7534"/>
                  </a:lnTo>
                  <a:lnTo>
                    <a:pt x="1695895" y="28517"/>
                  </a:lnTo>
                  <a:lnTo>
                    <a:pt x="1727892" y="60514"/>
                  </a:lnTo>
                  <a:lnTo>
                    <a:pt x="1748875" y="101096"/>
                  </a:lnTo>
                  <a:lnTo>
                    <a:pt x="1756410" y="147827"/>
                  </a:lnTo>
                  <a:lnTo>
                    <a:pt x="1756410" y="2634234"/>
                  </a:lnTo>
                  <a:lnTo>
                    <a:pt x="1748875" y="2680965"/>
                  </a:lnTo>
                  <a:lnTo>
                    <a:pt x="1727892" y="2721547"/>
                  </a:lnTo>
                  <a:lnTo>
                    <a:pt x="1695895" y="2753544"/>
                  </a:lnTo>
                  <a:lnTo>
                    <a:pt x="1655313" y="2774527"/>
                  </a:lnTo>
                  <a:lnTo>
                    <a:pt x="1608582" y="2782062"/>
                  </a:lnTo>
                  <a:lnTo>
                    <a:pt x="147828" y="2782062"/>
                  </a:lnTo>
                  <a:lnTo>
                    <a:pt x="101115" y="2774527"/>
                  </a:lnTo>
                  <a:lnTo>
                    <a:pt x="60536" y="2753544"/>
                  </a:lnTo>
                  <a:lnTo>
                    <a:pt x="28531" y="2721547"/>
                  </a:lnTo>
                  <a:lnTo>
                    <a:pt x="7539" y="2680965"/>
                  </a:lnTo>
                  <a:lnTo>
                    <a:pt x="0" y="2634234"/>
                  </a:lnTo>
                  <a:lnTo>
                    <a:pt x="0" y="147827"/>
                  </a:lnTo>
                  <a:lnTo>
                    <a:pt x="7539" y="101096"/>
                  </a:lnTo>
                  <a:lnTo>
                    <a:pt x="28531" y="60514"/>
                  </a:lnTo>
                  <a:lnTo>
                    <a:pt x="60536" y="28517"/>
                  </a:lnTo>
                  <a:lnTo>
                    <a:pt x="101115" y="7534"/>
                  </a:lnTo>
                  <a:lnTo>
                    <a:pt x="147828" y="0"/>
                  </a:lnTo>
                  <a:lnTo>
                    <a:pt x="1608582" y="0"/>
                  </a:lnTo>
                  <a:close/>
                </a:path>
                <a:path w="1756410" h="2782570">
                  <a:moveTo>
                    <a:pt x="1517904" y="275082"/>
                  </a:moveTo>
                  <a:lnTo>
                    <a:pt x="1517904" y="2507742"/>
                  </a:lnTo>
                </a:path>
                <a:path w="1756410" h="2782570">
                  <a:moveTo>
                    <a:pt x="1304544" y="275082"/>
                  </a:moveTo>
                  <a:lnTo>
                    <a:pt x="1304544" y="2507742"/>
                  </a:lnTo>
                </a:path>
                <a:path w="1756410" h="2782570">
                  <a:moveTo>
                    <a:pt x="1091183" y="275082"/>
                  </a:moveTo>
                  <a:lnTo>
                    <a:pt x="1091183" y="2507742"/>
                  </a:lnTo>
                </a:path>
                <a:path w="1756410" h="2782570">
                  <a:moveTo>
                    <a:pt x="878586" y="275082"/>
                  </a:moveTo>
                  <a:lnTo>
                    <a:pt x="878586" y="2507742"/>
                  </a:lnTo>
                </a:path>
                <a:path w="1756410" h="2782570">
                  <a:moveTo>
                    <a:pt x="665226" y="275082"/>
                  </a:moveTo>
                  <a:lnTo>
                    <a:pt x="665226" y="2507742"/>
                  </a:lnTo>
                </a:path>
                <a:path w="1756410" h="2782570">
                  <a:moveTo>
                    <a:pt x="451866" y="275082"/>
                  </a:moveTo>
                  <a:lnTo>
                    <a:pt x="451866" y="2507742"/>
                  </a:lnTo>
                </a:path>
                <a:path w="1756410" h="2782570">
                  <a:moveTo>
                    <a:pt x="238506" y="275082"/>
                  </a:moveTo>
                  <a:lnTo>
                    <a:pt x="238506" y="2507742"/>
                  </a:lnTo>
                </a:path>
              </a:pathLst>
            </a:custGeom>
            <a:ln w="25400">
              <a:solidFill>
                <a:srgbClr val="000000"/>
              </a:solidFill>
            </a:ln>
          </p:spPr>
          <p:txBody>
            <a:bodyPr wrap="square" lIns="0" tIns="0" rIns="0" bIns="0" rtlCol="0"/>
            <a:lstStyle/>
            <a:p>
              <a:endParaRPr/>
            </a:p>
          </p:txBody>
        </p:sp>
        <p:sp>
          <p:nvSpPr>
            <p:cNvPr id="19" name="object 23">
              <a:extLst>
                <a:ext uri="{FF2B5EF4-FFF2-40B4-BE49-F238E27FC236}">
                  <a16:creationId xmlns:a16="http://schemas.microsoft.com/office/drawing/2014/main" id="{23EF4234-80C4-7C60-CCEB-09EF14E66E78}"/>
                </a:ext>
              </a:extLst>
            </p:cNvPr>
            <p:cNvSpPr/>
            <p:nvPr/>
          </p:nvSpPr>
          <p:spPr>
            <a:xfrm>
              <a:off x="997077" y="2001519"/>
              <a:ext cx="2078355" cy="237490"/>
            </a:xfrm>
            <a:custGeom>
              <a:avLst/>
              <a:gdLst/>
              <a:ahLst/>
              <a:cxnLst/>
              <a:rect l="l" t="t" r="r" b="b"/>
              <a:pathLst>
                <a:path w="2078355" h="237489">
                  <a:moveTo>
                    <a:pt x="2058035" y="0"/>
                  </a:moveTo>
                  <a:lnTo>
                    <a:pt x="19951" y="0"/>
                  </a:lnTo>
                  <a:lnTo>
                    <a:pt x="12183" y="1561"/>
                  </a:lnTo>
                  <a:lnTo>
                    <a:pt x="5841" y="5826"/>
                  </a:lnTo>
                  <a:lnTo>
                    <a:pt x="1567" y="12162"/>
                  </a:lnTo>
                  <a:lnTo>
                    <a:pt x="0" y="19938"/>
                  </a:lnTo>
                  <a:lnTo>
                    <a:pt x="0" y="217043"/>
                  </a:lnTo>
                  <a:lnTo>
                    <a:pt x="1567" y="224819"/>
                  </a:lnTo>
                  <a:lnTo>
                    <a:pt x="5841" y="231155"/>
                  </a:lnTo>
                  <a:lnTo>
                    <a:pt x="12183" y="235420"/>
                  </a:lnTo>
                  <a:lnTo>
                    <a:pt x="19951" y="236982"/>
                  </a:lnTo>
                  <a:lnTo>
                    <a:pt x="2058035" y="236982"/>
                  </a:lnTo>
                  <a:lnTo>
                    <a:pt x="2065811" y="235420"/>
                  </a:lnTo>
                  <a:lnTo>
                    <a:pt x="2072147" y="231155"/>
                  </a:lnTo>
                  <a:lnTo>
                    <a:pt x="2076412" y="224819"/>
                  </a:lnTo>
                  <a:lnTo>
                    <a:pt x="2077974" y="217043"/>
                  </a:lnTo>
                  <a:lnTo>
                    <a:pt x="2077974" y="19938"/>
                  </a:lnTo>
                  <a:lnTo>
                    <a:pt x="2076412" y="12162"/>
                  </a:lnTo>
                  <a:lnTo>
                    <a:pt x="2072147" y="5826"/>
                  </a:lnTo>
                  <a:lnTo>
                    <a:pt x="2065811" y="1561"/>
                  </a:lnTo>
                  <a:lnTo>
                    <a:pt x="2058035" y="0"/>
                  </a:lnTo>
                  <a:close/>
                </a:path>
              </a:pathLst>
            </a:custGeom>
            <a:solidFill>
              <a:srgbClr val="F1F1F1"/>
            </a:solidFill>
          </p:spPr>
          <p:txBody>
            <a:bodyPr wrap="square" lIns="0" tIns="0" rIns="0" bIns="0" rtlCol="0"/>
            <a:lstStyle/>
            <a:p>
              <a:endParaRPr/>
            </a:p>
          </p:txBody>
        </p:sp>
        <p:sp>
          <p:nvSpPr>
            <p:cNvPr id="20" name="object 24">
              <a:extLst>
                <a:ext uri="{FF2B5EF4-FFF2-40B4-BE49-F238E27FC236}">
                  <a16:creationId xmlns:a16="http://schemas.microsoft.com/office/drawing/2014/main" id="{E6AD3580-07EF-3F12-E63E-41BC483746A6}"/>
                </a:ext>
              </a:extLst>
            </p:cNvPr>
            <p:cNvSpPr/>
            <p:nvPr/>
          </p:nvSpPr>
          <p:spPr>
            <a:xfrm>
              <a:off x="997077" y="2001519"/>
              <a:ext cx="2078355" cy="237490"/>
            </a:xfrm>
            <a:custGeom>
              <a:avLst/>
              <a:gdLst/>
              <a:ahLst/>
              <a:cxnLst/>
              <a:rect l="l" t="t" r="r" b="b"/>
              <a:pathLst>
                <a:path w="2078355" h="237489">
                  <a:moveTo>
                    <a:pt x="2058035" y="0"/>
                  </a:moveTo>
                  <a:lnTo>
                    <a:pt x="2065811" y="1561"/>
                  </a:lnTo>
                  <a:lnTo>
                    <a:pt x="2072147" y="5826"/>
                  </a:lnTo>
                  <a:lnTo>
                    <a:pt x="2076412" y="12162"/>
                  </a:lnTo>
                  <a:lnTo>
                    <a:pt x="2077974" y="19938"/>
                  </a:lnTo>
                  <a:lnTo>
                    <a:pt x="2077974" y="217043"/>
                  </a:lnTo>
                  <a:lnTo>
                    <a:pt x="2076412" y="224819"/>
                  </a:lnTo>
                  <a:lnTo>
                    <a:pt x="2072147" y="231155"/>
                  </a:lnTo>
                  <a:lnTo>
                    <a:pt x="2065811" y="235420"/>
                  </a:lnTo>
                  <a:lnTo>
                    <a:pt x="2058035" y="236982"/>
                  </a:lnTo>
                  <a:lnTo>
                    <a:pt x="19951" y="236982"/>
                  </a:lnTo>
                  <a:lnTo>
                    <a:pt x="12183" y="235420"/>
                  </a:lnTo>
                  <a:lnTo>
                    <a:pt x="5841" y="231155"/>
                  </a:lnTo>
                  <a:lnTo>
                    <a:pt x="1567" y="224819"/>
                  </a:lnTo>
                  <a:lnTo>
                    <a:pt x="0" y="217043"/>
                  </a:lnTo>
                  <a:lnTo>
                    <a:pt x="0" y="19938"/>
                  </a:lnTo>
                  <a:lnTo>
                    <a:pt x="1567" y="12162"/>
                  </a:lnTo>
                  <a:lnTo>
                    <a:pt x="5841" y="5826"/>
                  </a:lnTo>
                  <a:lnTo>
                    <a:pt x="12183" y="1561"/>
                  </a:lnTo>
                  <a:lnTo>
                    <a:pt x="19951" y="0"/>
                  </a:lnTo>
                  <a:lnTo>
                    <a:pt x="2058035" y="0"/>
                  </a:lnTo>
                  <a:close/>
                </a:path>
              </a:pathLst>
            </a:custGeom>
            <a:ln w="25399">
              <a:solidFill>
                <a:srgbClr val="000000"/>
              </a:solidFill>
            </a:ln>
          </p:spPr>
          <p:txBody>
            <a:bodyPr wrap="square" lIns="0" tIns="0" rIns="0" bIns="0" rtlCol="0"/>
            <a:lstStyle/>
            <a:p>
              <a:endParaRPr/>
            </a:p>
          </p:txBody>
        </p:sp>
        <p:sp>
          <p:nvSpPr>
            <p:cNvPr id="21" name="object 25">
              <a:extLst>
                <a:ext uri="{FF2B5EF4-FFF2-40B4-BE49-F238E27FC236}">
                  <a16:creationId xmlns:a16="http://schemas.microsoft.com/office/drawing/2014/main" id="{716D2303-8C06-0A41-3DB6-24B7BA1F1FB8}"/>
                </a:ext>
              </a:extLst>
            </p:cNvPr>
            <p:cNvSpPr/>
            <p:nvPr/>
          </p:nvSpPr>
          <p:spPr>
            <a:xfrm>
              <a:off x="1257681" y="4519930"/>
              <a:ext cx="1568450" cy="995680"/>
            </a:xfrm>
            <a:custGeom>
              <a:avLst/>
              <a:gdLst/>
              <a:ahLst/>
              <a:cxnLst/>
              <a:rect l="l" t="t" r="r" b="b"/>
              <a:pathLst>
                <a:path w="1568450" h="995679">
                  <a:moveTo>
                    <a:pt x="1479169" y="0"/>
                  </a:moveTo>
                  <a:lnTo>
                    <a:pt x="89027" y="0"/>
                  </a:lnTo>
                  <a:lnTo>
                    <a:pt x="54381" y="6998"/>
                  </a:lnTo>
                  <a:lnTo>
                    <a:pt x="26082" y="26082"/>
                  </a:lnTo>
                  <a:lnTo>
                    <a:pt x="6998" y="54381"/>
                  </a:lnTo>
                  <a:lnTo>
                    <a:pt x="0" y="89026"/>
                  </a:lnTo>
                  <a:lnTo>
                    <a:pt x="0" y="906144"/>
                  </a:lnTo>
                  <a:lnTo>
                    <a:pt x="6998" y="940790"/>
                  </a:lnTo>
                  <a:lnTo>
                    <a:pt x="26082" y="969089"/>
                  </a:lnTo>
                  <a:lnTo>
                    <a:pt x="54381" y="988173"/>
                  </a:lnTo>
                  <a:lnTo>
                    <a:pt x="89027" y="995172"/>
                  </a:lnTo>
                  <a:lnTo>
                    <a:pt x="1479169" y="995172"/>
                  </a:lnTo>
                  <a:lnTo>
                    <a:pt x="1513814" y="988173"/>
                  </a:lnTo>
                  <a:lnTo>
                    <a:pt x="1542113" y="969089"/>
                  </a:lnTo>
                  <a:lnTo>
                    <a:pt x="1561197" y="940790"/>
                  </a:lnTo>
                  <a:lnTo>
                    <a:pt x="1568195" y="906144"/>
                  </a:lnTo>
                  <a:lnTo>
                    <a:pt x="1568195" y="89026"/>
                  </a:lnTo>
                  <a:lnTo>
                    <a:pt x="1561197" y="54381"/>
                  </a:lnTo>
                  <a:lnTo>
                    <a:pt x="1542113" y="26082"/>
                  </a:lnTo>
                  <a:lnTo>
                    <a:pt x="1513814" y="6998"/>
                  </a:lnTo>
                  <a:lnTo>
                    <a:pt x="1479169" y="0"/>
                  </a:lnTo>
                  <a:close/>
                </a:path>
              </a:pathLst>
            </a:custGeom>
            <a:solidFill>
              <a:srgbClr val="FFFFFF"/>
            </a:solidFill>
          </p:spPr>
          <p:txBody>
            <a:bodyPr wrap="square" lIns="0" tIns="0" rIns="0" bIns="0" rtlCol="0"/>
            <a:lstStyle/>
            <a:p>
              <a:endParaRPr/>
            </a:p>
          </p:txBody>
        </p:sp>
        <p:sp>
          <p:nvSpPr>
            <p:cNvPr id="22" name="object 26">
              <a:extLst>
                <a:ext uri="{FF2B5EF4-FFF2-40B4-BE49-F238E27FC236}">
                  <a16:creationId xmlns:a16="http://schemas.microsoft.com/office/drawing/2014/main" id="{B9CAC99E-B8CB-E604-28BD-508AB5DC1906}"/>
                </a:ext>
              </a:extLst>
            </p:cNvPr>
            <p:cNvSpPr/>
            <p:nvPr/>
          </p:nvSpPr>
          <p:spPr>
            <a:xfrm>
              <a:off x="1257681" y="4519930"/>
              <a:ext cx="1568450" cy="995680"/>
            </a:xfrm>
            <a:custGeom>
              <a:avLst/>
              <a:gdLst/>
              <a:ahLst/>
              <a:cxnLst/>
              <a:rect l="l" t="t" r="r" b="b"/>
              <a:pathLst>
                <a:path w="1568450" h="995679">
                  <a:moveTo>
                    <a:pt x="0" y="89026"/>
                  </a:moveTo>
                  <a:lnTo>
                    <a:pt x="6998" y="54381"/>
                  </a:lnTo>
                  <a:lnTo>
                    <a:pt x="26082" y="26082"/>
                  </a:lnTo>
                  <a:lnTo>
                    <a:pt x="54381" y="6998"/>
                  </a:lnTo>
                  <a:lnTo>
                    <a:pt x="89027" y="0"/>
                  </a:lnTo>
                  <a:lnTo>
                    <a:pt x="1479169" y="0"/>
                  </a:lnTo>
                  <a:lnTo>
                    <a:pt x="1513814" y="6998"/>
                  </a:lnTo>
                  <a:lnTo>
                    <a:pt x="1542113" y="26082"/>
                  </a:lnTo>
                  <a:lnTo>
                    <a:pt x="1561197" y="54381"/>
                  </a:lnTo>
                  <a:lnTo>
                    <a:pt x="1568195" y="89026"/>
                  </a:lnTo>
                  <a:lnTo>
                    <a:pt x="1568195" y="906144"/>
                  </a:lnTo>
                  <a:lnTo>
                    <a:pt x="1561197" y="940790"/>
                  </a:lnTo>
                  <a:lnTo>
                    <a:pt x="1542113" y="969089"/>
                  </a:lnTo>
                  <a:lnTo>
                    <a:pt x="1513814" y="988173"/>
                  </a:lnTo>
                  <a:lnTo>
                    <a:pt x="1479169" y="995172"/>
                  </a:lnTo>
                  <a:lnTo>
                    <a:pt x="89027" y="995172"/>
                  </a:lnTo>
                  <a:lnTo>
                    <a:pt x="54381" y="988173"/>
                  </a:lnTo>
                  <a:lnTo>
                    <a:pt x="26082" y="969089"/>
                  </a:lnTo>
                  <a:lnTo>
                    <a:pt x="6998" y="940790"/>
                  </a:lnTo>
                  <a:lnTo>
                    <a:pt x="0" y="906144"/>
                  </a:lnTo>
                  <a:lnTo>
                    <a:pt x="0" y="89026"/>
                  </a:lnTo>
                  <a:close/>
                </a:path>
              </a:pathLst>
            </a:custGeom>
            <a:ln w="25400">
              <a:solidFill>
                <a:srgbClr val="000000"/>
              </a:solidFill>
            </a:ln>
          </p:spPr>
          <p:txBody>
            <a:bodyPr wrap="square" lIns="0" tIns="0" rIns="0" bIns="0" rtlCol="0"/>
            <a:lstStyle/>
            <a:p>
              <a:endParaRPr/>
            </a:p>
          </p:txBody>
        </p:sp>
        <p:pic>
          <p:nvPicPr>
            <p:cNvPr id="23" name="object 27">
              <a:extLst>
                <a:ext uri="{FF2B5EF4-FFF2-40B4-BE49-F238E27FC236}">
                  <a16:creationId xmlns:a16="http://schemas.microsoft.com/office/drawing/2014/main" id="{479B37FA-15BF-1649-79FB-B345CC170AA3}"/>
                </a:ext>
              </a:extLst>
            </p:cNvPr>
            <p:cNvPicPr/>
            <p:nvPr/>
          </p:nvPicPr>
          <p:blipFill>
            <a:blip r:embed="rId2" cstate="print"/>
            <a:stretch>
              <a:fillRect/>
            </a:stretch>
          </p:blipFill>
          <p:spPr>
            <a:xfrm>
              <a:off x="2079498" y="4623180"/>
              <a:ext cx="614934" cy="787907"/>
            </a:xfrm>
            <a:prstGeom prst="rect">
              <a:avLst/>
            </a:prstGeom>
          </p:spPr>
        </p:pic>
        <p:sp>
          <p:nvSpPr>
            <p:cNvPr id="24" name="object 28">
              <a:extLst>
                <a:ext uri="{FF2B5EF4-FFF2-40B4-BE49-F238E27FC236}">
                  <a16:creationId xmlns:a16="http://schemas.microsoft.com/office/drawing/2014/main" id="{BD3C2900-0C4E-527F-1CC9-25687891F675}"/>
                </a:ext>
              </a:extLst>
            </p:cNvPr>
            <p:cNvSpPr/>
            <p:nvPr/>
          </p:nvSpPr>
          <p:spPr>
            <a:xfrm>
              <a:off x="2624328" y="5235829"/>
              <a:ext cx="80010" cy="29845"/>
            </a:xfrm>
            <a:custGeom>
              <a:avLst/>
              <a:gdLst/>
              <a:ahLst/>
              <a:cxnLst/>
              <a:rect l="l" t="t" r="r" b="b"/>
              <a:pathLst>
                <a:path w="80010" h="29845">
                  <a:moveTo>
                    <a:pt x="80010" y="0"/>
                  </a:moveTo>
                  <a:lnTo>
                    <a:pt x="0" y="0"/>
                  </a:lnTo>
                  <a:lnTo>
                    <a:pt x="0" y="29718"/>
                  </a:lnTo>
                  <a:lnTo>
                    <a:pt x="80010" y="29718"/>
                  </a:lnTo>
                  <a:lnTo>
                    <a:pt x="80010" y="0"/>
                  </a:lnTo>
                  <a:close/>
                </a:path>
              </a:pathLst>
            </a:custGeom>
            <a:solidFill>
              <a:srgbClr val="FFFFFF"/>
            </a:solidFill>
          </p:spPr>
          <p:txBody>
            <a:bodyPr wrap="square" lIns="0" tIns="0" rIns="0" bIns="0" rtlCol="0"/>
            <a:lstStyle/>
            <a:p>
              <a:endParaRPr/>
            </a:p>
          </p:txBody>
        </p:sp>
        <p:sp>
          <p:nvSpPr>
            <p:cNvPr id="25" name="object 29">
              <a:extLst>
                <a:ext uri="{FF2B5EF4-FFF2-40B4-BE49-F238E27FC236}">
                  <a16:creationId xmlns:a16="http://schemas.microsoft.com/office/drawing/2014/main" id="{413488C8-27C1-1921-B009-1D779EC1C631}"/>
                </a:ext>
              </a:extLst>
            </p:cNvPr>
            <p:cNvSpPr txBox="1"/>
            <p:nvPr/>
          </p:nvSpPr>
          <p:spPr>
            <a:xfrm>
              <a:off x="1413510" y="4616069"/>
              <a:ext cx="438150" cy="116839"/>
            </a:xfrm>
            <a:prstGeom prst="rect">
              <a:avLst/>
            </a:prstGeom>
          </p:spPr>
          <p:txBody>
            <a:bodyPr vert="horz" wrap="square" lIns="0" tIns="12700" rIns="0" bIns="0" rtlCol="0">
              <a:spAutoFit/>
            </a:bodyPr>
            <a:lstStyle/>
            <a:p>
              <a:pPr marL="12700">
                <a:lnSpc>
                  <a:spcPct val="100000"/>
                </a:lnSpc>
                <a:spcBef>
                  <a:spcPts val="100"/>
                </a:spcBef>
              </a:pPr>
              <a:r>
                <a:rPr sz="600" b="1">
                  <a:latin typeface="Arial"/>
                  <a:cs typeface="Arial"/>
                </a:rPr>
                <a:t>Name</a:t>
              </a:r>
              <a:r>
                <a:rPr sz="600" b="1" spc="-25">
                  <a:latin typeface="Arial"/>
                  <a:cs typeface="Arial"/>
                </a:rPr>
                <a:t> </a:t>
              </a:r>
              <a:r>
                <a:rPr sz="600" b="1" spc="-10">
                  <a:latin typeface="Arial"/>
                  <a:cs typeface="Arial"/>
                </a:rPr>
                <a:t>Plate</a:t>
              </a:r>
              <a:endParaRPr sz="600">
                <a:latin typeface="Arial"/>
                <a:cs typeface="Arial"/>
              </a:endParaRPr>
            </a:p>
          </p:txBody>
        </p:sp>
        <p:sp>
          <p:nvSpPr>
            <p:cNvPr id="26" name="object 30">
              <a:extLst>
                <a:ext uri="{FF2B5EF4-FFF2-40B4-BE49-F238E27FC236}">
                  <a16:creationId xmlns:a16="http://schemas.microsoft.com/office/drawing/2014/main" id="{3985AB0A-F73E-E431-F486-0BE1718D4A2C}"/>
                </a:ext>
              </a:extLst>
            </p:cNvPr>
            <p:cNvSpPr txBox="1"/>
            <p:nvPr/>
          </p:nvSpPr>
          <p:spPr>
            <a:xfrm>
              <a:off x="1413510" y="4707508"/>
              <a:ext cx="789940" cy="208915"/>
            </a:xfrm>
            <a:prstGeom prst="rect">
              <a:avLst/>
            </a:prstGeom>
          </p:spPr>
          <p:txBody>
            <a:bodyPr vert="horz" wrap="square" lIns="0" tIns="12700" rIns="0" bIns="0" rtlCol="0">
              <a:spAutoFit/>
            </a:bodyPr>
            <a:lstStyle/>
            <a:p>
              <a:pPr marL="12700" marR="5080">
                <a:lnSpc>
                  <a:spcPct val="100000"/>
                </a:lnSpc>
                <a:spcBef>
                  <a:spcPts val="100"/>
                </a:spcBef>
              </a:pPr>
              <a:r>
                <a:rPr sz="600" spc="-10">
                  <a:latin typeface="Arial"/>
                  <a:cs typeface="Arial"/>
                </a:rPr>
                <a:t>AAAAAAAAAAAAAAA</a:t>
              </a:r>
              <a:r>
                <a:rPr sz="600" spc="500">
                  <a:latin typeface="Arial"/>
                  <a:cs typeface="Arial"/>
                </a:rPr>
                <a:t> </a:t>
              </a:r>
              <a:r>
                <a:rPr sz="600" spc="-10">
                  <a:latin typeface="Arial"/>
                  <a:cs typeface="Arial"/>
                </a:rPr>
                <a:t>BBBBBBBBBBBBB</a:t>
              </a:r>
              <a:endParaRPr sz="600">
                <a:latin typeface="Arial"/>
                <a:cs typeface="Arial"/>
              </a:endParaRPr>
            </a:p>
          </p:txBody>
        </p:sp>
        <p:sp>
          <p:nvSpPr>
            <p:cNvPr id="27" name="object 31">
              <a:extLst>
                <a:ext uri="{FF2B5EF4-FFF2-40B4-BE49-F238E27FC236}">
                  <a16:creationId xmlns:a16="http://schemas.microsoft.com/office/drawing/2014/main" id="{9E237EBC-3A59-7559-79B3-97CDB170AEBE}"/>
                </a:ext>
              </a:extLst>
            </p:cNvPr>
            <p:cNvSpPr txBox="1"/>
            <p:nvPr/>
          </p:nvSpPr>
          <p:spPr>
            <a:xfrm>
              <a:off x="1413510" y="4890643"/>
              <a:ext cx="577215" cy="116839"/>
            </a:xfrm>
            <a:prstGeom prst="rect">
              <a:avLst/>
            </a:prstGeom>
          </p:spPr>
          <p:txBody>
            <a:bodyPr vert="horz" wrap="square" lIns="0" tIns="12700" rIns="0" bIns="0" rtlCol="0">
              <a:spAutoFit/>
            </a:bodyPr>
            <a:lstStyle/>
            <a:p>
              <a:pPr marL="12700">
                <a:lnSpc>
                  <a:spcPct val="100000"/>
                </a:lnSpc>
                <a:spcBef>
                  <a:spcPts val="100"/>
                </a:spcBef>
              </a:pPr>
              <a:r>
                <a:rPr sz="600" spc="-10">
                  <a:latin typeface="Arial"/>
                  <a:cs typeface="Arial"/>
                </a:rPr>
                <a:t>CCCCCCCCCC</a:t>
              </a:r>
              <a:endParaRPr sz="600">
                <a:latin typeface="Arial"/>
                <a:cs typeface="Arial"/>
              </a:endParaRPr>
            </a:p>
          </p:txBody>
        </p:sp>
        <p:sp>
          <p:nvSpPr>
            <p:cNvPr id="28" name="object 32">
              <a:extLst>
                <a:ext uri="{FF2B5EF4-FFF2-40B4-BE49-F238E27FC236}">
                  <a16:creationId xmlns:a16="http://schemas.microsoft.com/office/drawing/2014/main" id="{BFD57592-61E1-9EE7-AC28-7D67A1FB4067}"/>
                </a:ext>
              </a:extLst>
            </p:cNvPr>
            <p:cNvSpPr txBox="1"/>
            <p:nvPr/>
          </p:nvSpPr>
          <p:spPr>
            <a:xfrm>
              <a:off x="1413510" y="4982083"/>
              <a:ext cx="466090" cy="116839"/>
            </a:xfrm>
            <a:prstGeom prst="rect">
              <a:avLst/>
            </a:prstGeom>
          </p:spPr>
          <p:txBody>
            <a:bodyPr vert="horz" wrap="square" lIns="0" tIns="12700" rIns="0" bIns="0" rtlCol="0">
              <a:spAutoFit/>
            </a:bodyPr>
            <a:lstStyle/>
            <a:p>
              <a:pPr marL="12700">
                <a:lnSpc>
                  <a:spcPct val="100000"/>
                </a:lnSpc>
                <a:spcBef>
                  <a:spcPts val="100"/>
                </a:spcBef>
              </a:pPr>
              <a:r>
                <a:rPr sz="600" spc="-10">
                  <a:latin typeface="Arial"/>
                  <a:cs typeface="Arial"/>
                </a:rPr>
                <a:t>DDDDDDDD</a:t>
              </a:r>
              <a:endParaRPr sz="600">
                <a:latin typeface="Arial"/>
                <a:cs typeface="Arial"/>
              </a:endParaRPr>
            </a:p>
          </p:txBody>
        </p:sp>
        <p:sp>
          <p:nvSpPr>
            <p:cNvPr id="29" name="object 33">
              <a:extLst>
                <a:ext uri="{FF2B5EF4-FFF2-40B4-BE49-F238E27FC236}">
                  <a16:creationId xmlns:a16="http://schemas.microsoft.com/office/drawing/2014/main" id="{820E8B77-A4C0-EFCE-02E6-B5D9D005BBEE}"/>
                </a:ext>
              </a:extLst>
            </p:cNvPr>
            <p:cNvSpPr txBox="1"/>
            <p:nvPr/>
          </p:nvSpPr>
          <p:spPr>
            <a:xfrm>
              <a:off x="1413510" y="5073523"/>
              <a:ext cx="382905" cy="299720"/>
            </a:xfrm>
            <a:prstGeom prst="rect">
              <a:avLst/>
            </a:prstGeom>
          </p:spPr>
          <p:txBody>
            <a:bodyPr vert="horz" wrap="square" lIns="0" tIns="12700" rIns="0" bIns="0" rtlCol="0">
              <a:spAutoFit/>
            </a:bodyPr>
            <a:lstStyle/>
            <a:p>
              <a:pPr marL="12700" marR="5080">
                <a:lnSpc>
                  <a:spcPct val="100000"/>
                </a:lnSpc>
                <a:spcBef>
                  <a:spcPts val="100"/>
                </a:spcBef>
              </a:pPr>
              <a:r>
                <a:rPr sz="600" spc="-10">
                  <a:latin typeface="Arial"/>
                  <a:cs typeface="Arial"/>
                </a:rPr>
                <a:t>EEEEEEE</a:t>
              </a:r>
              <a:r>
                <a:rPr sz="600" spc="500">
                  <a:latin typeface="Arial"/>
                  <a:cs typeface="Arial"/>
                </a:rPr>
                <a:t> </a:t>
              </a:r>
              <a:r>
                <a:rPr sz="600" spc="-10">
                  <a:latin typeface="Arial"/>
                  <a:cs typeface="Arial"/>
                </a:rPr>
                <a:t>FFFFFF</a:t>
              </a:r>
              <a:r>
                <a:rPr sz="600" spc="500">
                  <a:latin typeface="Arial"/>
                  <a:cs typeface="Arial"/>
                </a:rPr>
                <a:t> </a:t>
              </a:r>
              <a:r>
                <a:rPr sz="600" spc="-25">
                  <a:latin typeface="Arial"/>
                  <a:cs typeface="Arial"/>
                </a:rPr>
                <a:t>GGG</a:t>
              </a:r>
              <a:endParaRPr sz="600">
                <a:latin typeface="Arial"/>
                <a:cs typeface="Arial"/>
              </a:endParaRPr>
            </a:p>
          </p:txBody>
        </p:sp>
      </p:grpSp>
      <p:sp>
        <p:nvSpPr>
          <p:cNvPr id="30" name="object 50">
            <a:extLst>
              <a:ext uri="{FF2B5EF4-FFF2-40B4-BE49-F238E27FC236}">
                <a16:creationId xmlns:a16="http://schemas.microsoft.com/office/drawing/2014/main" id="{77692D49-8876-EDBF-F44C-3AB74E0D5DCB}"/>
              </a:ext>
            </a:extLst>
          </p:cNvPr>
          <p:cNvSpPr txBox="1"/>
          <p:nvPr/>
        </p:nvSpPr>
        <p:spPr>
          <a:xfrm>
            <a:off x="1154175" y="934974"/>
            <a:ext cx="1676400" cy="299720"/>
          </a:xfrm>
          <a:prstGeom prst="rect">
            <a:avLst/>
          </a:prstGeom>
        </p:spPr>
        <p:txBody>
          <a:bodyPr vert="horz" wrap="square" lIns="0" tIns="12700" rIns="0" bIns="0" rtlCol="0">
            <a:spAutoFit/>
          </a:bodyPr>
          <a:lstStyle/>
          <a:p>
            <a:pPr marL="12700">
              <a:lnSpc>
                <a:spcPct val="100000"/>
              </a:lnSpc>
              <a:spcBef>
                <a:spcPts val="100"/>
              </a:spcBef>
            </a:pPr>
            <a:r>
              <a:rPr sz="1800" b="1">
                <a:solidFill>
                  <a:schemeClr val="tx1">
                    <a:lumMod val="65000"/>
                    <a:lumOff val="35000"/>
                  </a:schemeClr>
                </a:solidFill>
                <a:latin typeface="Arial"/>
                <a:cs typeface="Arial"/>
              </a:rPr>
              <a:t>physical</a:t>
            </a:r>
            <a:r>
              <a:rPr sz="1800" b="1" spc="-10">
                <a:solidFill>
                  <a:schemeClr val="tx1">
                    <a:lumMod val="65000"/>
                    <a:lumOff val="35000"/>
                  </a:schemeClr>
                </a:solidFill>
                <a:latin typeface="Arial"/>
                <a:cs typeface="Arial"/>
              </a:rPr>
              <a:t> object</a:t>
            </a:r>
            <a:endParaRPr sz="1800">
              <a:solidFill>
                <a:schemeClr val="tx1">
                  <a:lumMod val="65000"/>
                  <a:lumOff val="35000"/>
                </a:schemeClr>
              </a:solidFill>
              <a:latin typeface="Arial"/>
              <a:cs typeface="Arial"/>
            </a:endParaRPr>
          </a:p>
        </p:txBody>
      </p:sp>
      <p:sp>
        <p:nvSpPr>
          <p:cNvPr id="31" name="object 67">
            <a:extLst>
              <a:ext uri="{FF2B5EF4-FFF2-40B4-BE49-F238E27FC236}">
                <a16:creationId xmlns:a16="http://schemas.microsoft.com/office/drawing/2014/main" id="{190960A0-361A-5261-360F-D1557FEEF089}"/>
              </a:ext>
            </a:extLst>
          </p:cNvPr>
          <p:cNvSpPr/>
          <p:nvPr/>
        </p:nvSpPr>
        <p:spPr>
          <a:xfrm>
            <a:off x="3598163" y="4815204"/>
            <a:ext cx="360680" cy="364490"/>
          </a:xfrm>
          <a:custGeom>
            <a:avLst/>
            <a:gdLst/>
            <a:ahLst/>
            <a:cxnLst/>
            <a:rect l="l" t="t" r="r" b="b"/>
            <a:pathLst>
              <a:path w="360679" h="364489">
                <a:moveTo>
                  <a:pt x="180212" y="0"/>
                </a:moveTo>
                <a:lnTo>
                  <a:pt x="132291" y="6505"/>
                </a:lnTo>
                <a:lnTo>
                  <a:pt x="89238" y="24863"/>
                </a:lnTo>
                <a:lnTo>
                  <a:pt x="52768" y="53339"/>
                </a:lnTo>
                <a:lnTo>
                  <a:pt x="24595" y="90198"/>
                </a:lnTo>
                <a:lnTo>
                  <a:pt x="6434" y="133702"/>
                </a:lnTo>
                <a:lnTo>
                  <a:pt x="0" y="182118"/>
                </a:lnTo>
                <a:lnTo>
                  <a:pt x="6434" y="230533"/>
                </a:lnTo>
                <a:lnTo>
                  <a:pt x="24595" y="274037"/>
                </a:lnTo>
                <a:lnTo>
                  <a:pt x="52768" y="310896"/>
                </a:lnTo>
                <a:lnTo>
                  <a:pt x="89238" y="339372"/>
                </a:lnTo>
                <a:lnTo>
                  <a:pt x="132291" y="357730"/>
                </a:lnTo>
                <a:lnTo>
                  <a:pt x="180212" y="364236"/>
                </a:lnTo>
                <a:lnTo>
                  <a:pt x="228134" y="357730"/>
                </a:lnTo>
                <a:lnTo>
                  <a:pt x="271187" y="339372"/>
                </a:lnTo>
                <a:lnTo>
                  <a:pt x="307657" y="310896"/>
                </a:lnTo>
                <a:lnTo>
                  <a:pt x="335830" y="274037"/>
                </a:lnTo>
                <a:lnTo>
                  <a:pt x="353991" y="230533"/>
                </a:lnTo>
                <a:lnTo>
                  <a:pt x="360425" y="182118"/>
                </a:lnTo>
                <a:lnTo>
                  <a:pt x="353991" y="133702"/>
                </a:lnTo>
                <a:lnTo>
                  <a:pt x="335830" y="90198"/>
                </a:lnTo>
                <a:lnTo>
                  <a:pt x="307657" y="53339"/>
                </a:lnTo>
                <a:lnTo>
                  <a:pt x="271187" y="24863"/>
                </a:lnTo>
                <a:lnTo>
                  <a:pt x="228134" y="6505"/>
                </a:lnTo>
                <a:lnTo>
                  <a:pt x="180212" y="0"/>
                </a:lnTo>
                <a:close/>
              </a:path>
            </a:pathLst>
          </a:custGeom>
          <a:solidFill>
            <a:srgbClr val="FFFFFF"/>
          </a:solidFill>
        </p:spPr>
        <p:txBody>
          <a:bodyPr wrap="square" lIns="0" tIns="0" rIns="0" bIns="0" rtlCol="0"/>
          <a:lstStyle/>
          <a:p>
            <a:endParaRPr/>
          </a:p>
        </p:txBody>
      </p:sp>
      <p:pic>
        <p:nvPicPr>
          <p:cNvPr id="32" name="object 65">
            <a:extLst>
              <a:ext uri="{FF2B5EF4-FFF2-40B4-BE49-F238E27FC236}">
                <a16:creationId xmlns:a16="http://schemas.microsoft.com/office/drawing/2014/main" id="{658B8FA5-7898-004E-E633-E05340222573}"/>
              </a:ext>
            </a:extLst>
          </p:cNvPr>
          <p:cNvPicPr/>
          <p:nvPr/>
        </p:nvPicPr>
        <p:blipFill>
          <a:blip r:embed="rId3" cstate="print"/>
          <a:stretch>
            <a:fillRect/>
          </a:stretch>
        </p:blipFill>
        <p:spPr>
          <a:xfrm>
            <a:off x="4507103" y="1409318"/>
            <a:ext cx="2191512" cy="4666488"/>
          </a:xfrm>
          <a:prstGeom prst="rect">
            <a:avLst/>
          </a:prstGeom>
        </p:spPr>
      </p:pic>
      <p:sp>
        <p:nvSpPr>
          <p:cNvPr id="33" name="object 51">
            <a:extLst>
              <a:ext uri="{FF2B5EF4-FFF2-40B4-BE49-F238E27FC236}">
                <a16:creationId xmlns:a16="http://schemas.microsoft.com/office/drawing/2014/main" id="{78BC9BBE-4509-A895-1FBF-7E04D3C48B84}"/>
              </a:ext>
            </a:extLst>
          </p:cNvPr>
          <p:cNvSpPr txBox="1"/>
          <p:nvPr/>
        </p:nvSpPr>
        <p:spPr>
          <a:xfrm>
            <a:off x="4082541" y="924813"/>
            <a:ext cx="2896870" cy="484505"/>
          </a:xfrm>
          <a:prstGeom prst="rect">
            <a:avLst/>
          </a:prstGeom>
        </p:spPr>
        <p:txBody>
          <a:bodyPr vert="horz" wrap="square" lIns="0" tIns="12700" rIns="0" bIns="0" rtlCol="0">
            <a:spAutoFit/>
          </a:bodyPr>
          <a:lstStyle/>
          <a:p>
            <a:pPr algn="ctr">
              <a:lnSpc>
                <a:spcPct val="100000"/>
              </a:lnSpc>
              <a:spcBef>
                <a:spcPts val="100"/>
              </a:spcBef>
            </a:pPr>
            <a:r>
              <a:rPr sz="1800" b="1">
                <a:solidFill>
                  <a:schemeClr val="tx1">
                    <a:lumMod val="65000"/>
                    <a:lumOff val="35000"/>
                  </a:schemeClr>
                </a:solidFill>
                <a:latin typeface="Arial"/>
                <a:cs typeface="Arial"/>
              </a:rPr>
              <a:t>digital</a:t>
            </a:r>
            <a:r>
              <a:rPr sz="1800" b="1" spc="-35">
                <a:solidFill>
                  <a:schemeClr val="tx1">
                    <a:lumMod val="65000"/>
                    <a:lumOff val="35000"/>
                  </a:schemeClr>
                </a:solidFill>
                <a:latin typeface="Arial"/>
                <a:cs typeface="Arial"/>
              </a:rPr>
              <a:t> </a:t>
            </a:r>
            <a:r>
              <a:rPr sz="1800" b="1" spc="-20">
                <a:solidFill>
                  <a:schemeClr val="tx1">
                    <a:lumMod val="65000"/>
                    <a:lumOff val="35000"/>
                  </a:schemeClr>
                </a:solidFill>
                <a:latin typeface="Arial"/>
                <a:cs typeface="Arial"/>
              </a:rPr>
              <a:t>twin</a:t>
            </a:r>
            <a:endParaRPr sz="1800">
              <a:solidFill>
                <a:schemeClr val="tx1">
                  <a:lumMod val="65000"/>
                  <a:lumOff val="35000"/>
                </a:schemeClr>
              </a:solidFill>
              <a:latin typeface="Arial"/>
              <a:cs typeface="Arial"/>
            </a:endParaRPr>
          </a:p>
          <a:p>
            <a:pPr algn="ctr">
              <a:lnSpc>
                <a:spcPct val="100000"/>
              </a:lnSpc>
              <a:spcBef>
                <a:spcPts val="10"/>
              </a:spcBef>
            </a:pPr>
            <a:r>
              <a:rPr sz="1200" i="1">
                <a:solidFill>
                  <a:schemeClr val="tx1">
                    <a:lumMod val="65000"/>
                    <a:lumOff val="35000"/>
                  </a:schemeClr>
                </a:solidFill>
                <a:latin typeface="Arial"/>
                <a:cs typeface="Arial"/>
              </a:rPr>
              <a:t>digital</a:t>
            </a:r>
            <a:r>
              <a:rPr sz="1200" i="1" spc="-20">
                <a:solidFill>
                  <a:schemeClr val="tx1">
                    <a:lumMod val="65000"/>
                    <a:lumOff val="35000"/>
                  </a:schemeClr>
                </a:solidFill>
                <a:latin typeface="Arial"/>
                <a:cs typeface="Arial"/>
              </a:rPr>
              <a:t> </a:t>
            </a:r>
            <a:r>
              <a:rPr sz="1200" i="1" spc="-10">
                <a:solidFill>
                  <a:schemeClr val="tx1">
                    <a:lumMod val="65000"/>
                    <a:lumOff val="35000"/>
                  </a:schemeClr>
                </a:solidFill>
                <a:latin typeface="Arial"/>
                <a:cs typeface="Arial"/>
              </a:rPr>
              <a:t>representation</a:t>
            </a:r>
            <a:r>
              <a:rPr sz="1200" i="1" spc="-25">
                <a:solidFill>
                  <a:schemeClr val="tx1">
                    <a:lumMod val="65000"/>
                    <a:lumOff val="35000"/>
                  </a:schemeClr>
                </a:solidFill>
                <a:latin typeface="Arial"/>
                <a:cs typeface="Arial"/>
              </a:rPr>
              <a:t> </a:t>
            </a:r>
            <a:r>
              <a:rPr sz="1200" i="1">
                <a:solidFill>
                  <a:schemeClr val="tx1">
                    <a:lumMod val="65000"/>
                    <a:lumOff val="35000"/>
                  </a:schemeClr>
                </a:solidFill>
                <a:latin typeface="Arial"/>
                <a:cs typeface="Arial"/>
              </a:rPr>
              <a:t>of the</a:t>
            </a:r>
            <a:r>
              <a:rPr sz="1200" i="1" spc="-10">
                <a:solidFill>
                  <a:schemeClr val="tx1">
                    <a:lumMod val="65000"/>
                    <a:lumOff val="35000"/>
                  </a:schemeClr>
                </a:solidFill>
                <a:latin typeface="Arial"/>
                <a:cs typeface="Arial"/>
              </a:rPr>
              <a:t> </a:t>
            </a:r>
            <a:r>
              <a:rPr sz="1200" i="1">
                <a:solidFill>
                  <a:schemeClr val="tx1">
                    <a:lumMod val="65000"/>
                    <a:lumOff val="35000"/>
                  </a:schemeClr>
                </a:solidFill>
                <a:latin typeface="Arial"/>
                <a:cs typeface="Arial"/>
              </a:rPr>
              <a:t>physical</a:t>
            </a:r>
            <a:r>
              <a:rPr sz="1200" i="1" spc="-15">
                <a:solidFill>
                  <a:schemeClr val="tx1">
                    <a:lumMod val="65000"/>
                    <a:lumOff val="35000"/>
                  </a:schemeClr>
                </a:solidFill>
                <a:latin typeface="Arial"/>
                <a:cs typeface="Arial"/>
              </a:rPr>
              <a:t> </a:t>
            </a:r>
            <a:r>
              <a:rPr sz="1200" i="1" spc="-10">
                <a:solidFill>
                  <a:schemeClr val="tx1">
                    <a:lumMod val="65000"/>
                    <a:lumOff val="35000"/>
                  </a:schemeClr>
                </a:solidFill>
                <a:latin typeface="Arial"/>
                <a:cs typeface="Arial"/>
              </a:rPr>
              <a:t>object</a:t>
            </a:r>
            <a:endParaRPr sz="1200">
              <a:solidFill>
                <a:schemeClr val="tx1">
                  <a:lumMod val="65000"/>
                  <a:lumOff val="35000"/>
                </a:schemeClr>
              </a:solidFill>
              <a:latin typeface="Arial"/>
              <a:cs typeface="Arial"/>
            </a:endParaRPr>
          </a:p>
        </p:txBody>
      </p:sp>
      <p:sp>
        <p:nvSpPr>
          <p:cNvPr id="34" name="object 61">
            <a:extLst>
              <a:ext uri="{FF2B5EF4-FFF2-40B4-BE49-F238E27FC236}">
                <a16:creationId xmlns:a16="http://schemas.microsoft.com/office/drawing/2014/main" id="{B7937C9A-AF77-1B8F-EEFB-2E856286CC32}"/>
              </a:ext>
            </a:extLst>
          </p:cNvPr>
          <p:cNvSpPr/>
          <p:nvPr/>
        </p:nvSpPr>
        <p:spPr>
          <a:xfrm>
            <a:off x="3780663" y="1231137"/>
            <a:ext cx="0" cy="5076190"/>
          </a:xfrm>
          <a:custGeom>
            <a:avLst/>
            <a:gdLst/>
            <a:ahLst/>
            <a:cxnLst/>
            <a:rect l="l" t="t" r="r" b="b"/>
            <a:pathLst>
              <a:path h="5076190">
                <a:moveTo>
                  <a:pt x="0" y="5075999"/>
                </a:moveTo>
                <a:lnTo>
                  <a:pt x="0" y="0"/>
                </a:lnTo>
              </a:path>
            </a:pathLst>
          </a:custGeom>
          <a:ln w="9525">
            <a:solidFill>
              <a:srgbClr val="1C9ED2"/>
            </a:solidFill>
          </a:ln>
        </p:spPr>
        <p:txBody>
          <a:bodyPr wrap="square" lIns="0" tIns="0" rIns="0" bIns="0" rtlCol="0"/>
          <a:lstStyle/>
          <a:p>
            <a:endParaRPr/>
          </a:p>
        </p:txBody>
      </p:sp>
      <p:sp>
        <p:nvSpPr>
          <p:cNvPr id="35" name="object 49">
            <a:extLst>
              <a:ext uri="{FF2B5EF4-FFF2-40B4-BE49-F238E27FC236}">
                <a16:creationId xmlns:a16="http://schemas.microsoft.com/office/drawing/2014/main" id="{D4B229B7-9F96-DCBE-5937-2B0CF7CAD2C4}"/>
              </a:ext>
            </a:extLst>
          </p:cNvPr>
          <p:cNvSpPr/>
          <p:nvPr/>
        </p:nvSpPr>
        <p:spPr>
          <a:xfrm>
            <a:off x="7624572" y="1006602"/>
            <a:ext cx="3596004" cy="2198370"/>
          </a:xfrm>
          <a:custGeom>
            <a:avLst/>
            <a:gdLst/>
            <a:ahLst/>
            <a:cxnLst/>
            <a:rect l="l" t="t" r="r" b="b"/>
            <a:pathLst>
              <a:path w="3596004" h="2198370">
                <a:moveTo>
                  <a:pt x="0" y="115062"/>
                </a:moveTo>
                <a:lnTo>
                  <a:pt x="9048" y="70294"/>
                </a:lnTo>
                <a:lnTo>
                  <a:pt x="33718" y="33718"/>
                </a:lnTo>
                <a:lnTo>
                  <a:pt x="70294" y="9048"/>
                </a:lnTo>
                <a:lnTo>
                  <a:pt x="115061" y="0"/>
                </a:lnTo>
                <a:lnTo>
                  <a:pt x="3480816" y="0"/>
                </a:lnTo>
                <a:lnTo>
                  <a:pt x="3525583" y="9048"/>
                </a:lnTo>
                <a:lnTo>
                  <a:pt x="3562159" y="33718"/>
                </a:lnTo>
                <a:lnTo>
                  <a:pt x="3586829" y="70294"/>
                </a:lnTo>
                <a:lnTo>
                  <a:pt x="3595878" y="115062"/>
                </a:lnTo>
                <a:lnTo>
                  <a:pt x="3595878" y="2083308"/>
                </a:lnTo>
                <a:lnTo>
                  <a:pt x="3586829" y="2128075"/>
                </a:lnTo>
                <a:lnTo>
                  <a:pt x="3562159" y="2164651"/>
                </a:lnTo>
                <a:lnTo>
                  <a:pt x="3525583" y="2189321"/>
                </a:lnTo>
                <a:lnTo>
                  <a:pt x="3480816" y="2198370"/>
                </a:lnTo>
                <a:lnTo>
                  <a:pt x="115061" y="2198370"/>
                </a:lnTo>
                <a:lnTo>
                  <a:pt x="70294" y="2189321"/>
                </a:lnTo>
                <a:lnTo>
                  <a:pt x="33718" y="2164651"/>
                </a:lnTo>
                <a:lnTo>
                  <a:pt x="9048" y="2128075"/>
                </a:lnTo>
                <a:lnTo>
                  <a:pt x="0" y="2083308"/>
                </a:lnTo>
                <a:lnTo>
                  <a:pt x="0" y="115062"/>
                </a:lnTo>
                <a:close/>
              </a:path>
            </a:pathLst>
          </a:custGeom>
          <a:ln w="31750">
            <a:solidFill>
              <a:srgbClr val="A6A6A6"/>
            </a:solidFill>
          </a:ln>
        </p:spPr>
        <p:txBody>
          <a:bodyPr wrap="square" lIns="0" tIns="0" rIns="0" bIns="0" rtlCol="0"/>
          <a:lstStyle/>
          <a:p>
            <a:endParaRPr/>
          </a:p>
        </p:txBody>
      </p:sp>
      <p:grpSp>
        <p:nvGrpSpPr>
          <p:cNvPr id="36" name="Group 35">
            <a:extLst>
              <a:ext uri="{FF2B5EF4-FFF2-40B4-BE49-F238E27FC236}">
                <a16:creationId xmlns:a16="http://schemas.microsoft.com/office/drawing/2014/main" id="{89214DA9-B282-9089-BE2A-37E8D101ABAD}"/>
              </a:ext>
            </a:extLst>
          </p:cNvPr>
          <p:cNvGrpSpPr/>
          <p:nvPr/>
        </p:nvGrpSpPr>
        <p:grpSpPr>
          <a:xfrm>
            <a:off x="8609973" y="1213486"/>
            <a:ext cx="2356485" cy="1778254"/>
            <a:chOff x="8609973" y="1201673"/>
            <a:chExt cx="2356485" cy="1778254"/>
          </a:xfrm>
        </p:grpSpPr>
        <p:sp>
          <p:nvSpPr>
            <p:cNvPr id="37" name="object 53">
              <a:extLst>
                <a:ext uri="{FF2B5EF4-FFF2-40B4-BE49-F238E27FC236}">
                  <a16:creationId xmlns:a16="http://schemas.microsoft.com/office/drawing/2014/main" id="{17835A8E-7FCF-995D-FE6C-DF89C2EAEEB0}"/>
                </a:ext>
              </a:extLst>
            </p:cNvPr>
            <p:cNvSpPr txBox="1"/>
            <p:nvPr/>
          </p:nvSpPr>
          <p:spPr>
            <a:xfrm>
              <a:off x="8609973" y="1201673"/>
              <a:ext cx="2276891" cy="289823"/>
            </a:xfrm>
            <a:prstGeom prst="rect">
              <a:avLst/>
            </a:prstGeom>
          </p:spPr>
          <p:txBody>
            <a:bodyPr vert="horz" wrap="square" lIns="0" tIns="12700" rIns="0" bIns="0" rtlCol="0">
              <a:spAutoFit/>
            </a:bodyPr>
            <a:lstStyle/>
            <a:p>
              <a:pPr marL="12700">
                <a:lnSpc>
                  <a:spcPct val="100000"/>
                </a:lnSpc>
                <a:spcBef>
                  <a:spcPts val="100"/>
                </a:spcBef>
              </a:pPr>
              <a:r>
                <a:rPr lang="de-CH" sz="1800" b="1">
                  <a:solidFill>
                    <a:srgbClr val="FFFFFF"/>
                  </a:solidFill>
                  <a:latin typeface="Arial"/>
                  <a:cs typeface="Arial"/>
                </a:rPr>
                <a:t>Information</a:t>
              </a:r>
              <a:r>
                <a:rPr sz="1800" b="1" spc="-65">
                  <a:solidFill>
                    <a:srgbClr val="FFFFFF"/>
                  </a:solidFill>
                  <a:latin typeface="Arial"/>
                  <a:cs typeface="Arial"/>
                </a:rPr>
                <a:t> </a:t>
              </a:r>
              <a:r>
                <a:rPr sz="1800" b="1" spc="-10">
                  <a:solidFill>
                    <a:srgbClr val="FFFFFF"/>
                  </a:solidFill>
                  <a:latin typeface="Arial"/>
                  <a:cs typeface="Arial"/>
                </a:rPr>
                <a:t>model</a:t>
              </a:r>
              <a:endParaRPr sz="1800">
                <a:latin typeface="Arial"/>
                <a:cs typeface="Arial"/>
              </a:endParaRPr>
            </a:p>
          </p:txBody>
        </p:sp>
        <p:sp>
          <p:nvSpPr>
            <p:cNvPr id="38" name="object 54">
              <a:extLst>
                <a:ext uri="{FF2B5EF4-FFF2-40B4-BE49-F238E27FC236}">
                  <a16:creationId xmlns:a16="http://schemas.microsoft.com/office/drawing/2014/main" id="{994F2F2E-30D7-AD72-402A-B2B0020CBD25}"/>
                </a:ext>
              </a:extLst>
            </p:cNvPr>
            <p:cNvSpPr txBox="1"/>
            <p:nvPr/>
          </p:nvSpPr>
          <p:spPr>
            <a:xfrm>
              <a:off x="8609973" y="1552447"/>
              <a:ext cx="2356485" cy="1427480"/>
            </a:xfrm>
            <a:prstGeom prst="rect">
              <a:avLst/>
            </a:prstGeom>
          </p:spPr>
          <p:txBody>
            <a:bodyPr vert="horz" wrap="square" lIns="0" tIns="88900" rIns="0" bIns="0" rtlCol="0">
              <a:spAutoFit/>
            </a:bodyPr>
            <a:lstStyle/>
            <a:p>
              <a:pPr marL="297815" indent="-285115">
                <a:lnSpc>
                  <a:spcPct val="100000"/>
                </a:lnSpc>
                <a:spcBef>
                  <a:spcPts val="700"/>
                </a:spcBef>
                <a:buFont typeface="Wingdings"/>
                <a:buChar char=""/>
                <a:tabLst>
                  <a:tab pos="297815" algn="l"/>
                </a:tabLst>
              </a:pPr>
              <a:r>
                <a:rPr lang="en-GB" sz="1800">
                  <a:solidFill>
                    <a:srgbClr val="FFFFFF"/>
                  </a:solidFill>
                  <a:latin typeface="Arial"/>
                  <a:cs typeface="Arial"/>
                </a:rPr>
                <a:t>tech</a:t>
              </a:r>
              <a:r>
                <a:rPr lang="en-GB" sz="1800" spc="-20">
                  <a:solidFill>
                    <a:srgbClr val="FFFFFF"/>
                  </a:solidFill>
                  <a:latin typeface="Arial"/>
                  <a:cs typeface="Arial"/>
                </a:rPr>
                <a:t> </a:t>
              </a:r>
              <a:r>
                <a:rPr lang="en-GB" sz="1800" spc="-10">
                  <a:solidFill>
                    <a:srgbClr val="FFFFFF"/>
                  </a:solidFill>
                  <a:latin typeface="Arial"/>
                  <a:cs typeface="Arial"/>
                </a:rPr>
                <a:t>specs</a:t>
              </a:r>
              <a:endParaRPr lang="en-GB" sz="1800">
                <a:latin typeface="Arial"/>
                <a:cs typeface="Arial"/>
              </a:endParaRPr>
            </a:p>
            <a:p>
              <a:pPr marL="297815" indent="-285115">
                <a:lnSpc>
                  <a:spcPct val="100000"/>
                </a:lnSpc>
                <a:spcBef>
                  <a:spcPts val="600"/>
                </a:spcBef>
                <a:buFont typeface="Wingdings"/>
                <a:buChar char=""/>
                <a:tabLst>
                  <a:tab pos="297815" algn="l"/>
                </a:tabLst>
              </a:pPr>
              <a:r>
                <a:rPr lang="en-GB" sz="1800" spc="-10">
                  <a:solidFill>
                    <a:srgbClr val="FFFFFF"/>
                  </a:solidFill>
                  <a:latin typeface="Arial"/>
                  <a:cs typeface="Arial"/>
                </a:rPr>
                <a:t>documentation</a:t>
              </a:r>
              <a:endParaRPr lang="en-GB" sz="1800">
                <a:latin typeface="Arial"/>
                <a:cs typeface="Arial"/>
              </a:endParaRPr>
            </a:p>
            <a:p>
              <a:pPr marL="297815" indent="-285115">
                <a:lnSpc>
                  <a:spcPct val="100000"/>
                </a:lnSpc>
                <a:spcBef>
                  <a:spcPts val="600"/>
                </a:spcBef>
                <a:buFont typeface="Wingdings"/>
                <a:buChar char=""/>
                <a:tabLst>
                  <a:tab pos="297815" algn="l"/>
                </a:tabLst>
              </a:pPr>
              <a:r>
                <a:rPr lang="en-GB" sz="1800">
                  <a:solidFill>
                    <a:srgbClr val="FFFFFF"/>
                  </a:solidFill>
                  <a:latin typeface="Arial"/>
                  <a:cs typeface="Arial"/>
                </a:rPr>
                <a:t>life</a:t>
              </a:r>
              <a:r>
                <a:rPr lang="en-GB" sz="1800" spc="-25">
                  <a:solidFill>
                    <a:srgbClr val="FFFFFF"/>
                  </a:solidFill>
                  <a:latin typeface="Arial"/>
                  <a:cs typeface="Arial"/>
                </a:rPr>
                <a:t> </a:t>
              </a:r>
              <a:r>
                <a:rPr lang="en-GB" sz="1800">
                  <a:solidFill>
                    <a:srgbClr val="FFFFFF"/>
                  </a:solidFill>
                  <a:latin typeface="Arial"/>
                  <a:cs typeface="Arial"/>
                </a:rPr>
                <a:t>cycle</a:t>
              </a:r>
              <a:r>
                <a:rPr lang="en-GB" sz="1800" spc="-20">
                  <a:solidFill>
                    <a:srgbClr val="FFFFFF"/>
                  </a:solidFill>
                  <a:latin typeface="Arial"/>
                  <a:cs typeface="Arial"/>
                </a:rPr>
                <a:t> </a:t>
              </a:r>
              <a:r>
                <a:rPr lang="en-GB" sz="1800" spc="-10">
                  <a:solidFill>
                    <a:srgbClr val="FFFFFF"/>
                  </a:solidFill>
                  <a:latin typeface="Arial"/>
                  <a:cs typeface="Arial"/>
                </a:rPr>
                <a:t>information</a:t>
              </a:r>
              <a:endParaRPr lang="en-GB" sz="1800">
                <a:latin typeface="Arial"/>
                <a:cs typeface="Arial"/>
              </a:endParaRPr>
            </a:p>
            <a:p>
              <a:pPr marL="297815" indent="-285115">
                <a:lnSpc>
                  <a:spcPct val="100000"/>
                </a:lnSpc>
                <a:spcBef>
                  <a:spcPts val="600"/>
                </a:spcBef>
                <a:buFont typeface="Wingdings"/>
                <a:buChar char=""/>
                <a:tabLst>
                  <a:tab pos="297815" algn="l"/>
                </a:tabLst>
              </a:pPr>
              <a:r>
                <a:rPr lang="en-GB" sz="1800" spc="-50">
                  <a:solidFill>
                    <a:srgbClr val="FFFFFF"/>
                  </a:solidFill>
                  <a:latin typeface="Arial"/>
                  <a:cs typeface="Arial"/>
                </a:rPr>
                <a:t>…</a:t>
              </a:r>
              <a:endParaRPr lang="en-GB" sz="1800">
                <a:latin typeface="Arial"/>
                <a:cs typeface="Arial"/>
              </a:endParaRPr>
            </a:p>
          </p:txBody>
        </p:sp>
      </p:grpSp>
      <p:grpSp>
        <p:nvGrpSpPr>
          <p:cNvPr id="39" name="Group 38">
            <a:extLst>
              <a:ext uri="{FF2B5EF4-FFF2-40B4-BE49-F238E27FC236}">
                <a16:creationId xmlns:a16="http://schemas.microsoft.com/office/drawing/2014/main" id="{EFC54E67-AC2E-4DFB-4013-DA2696D167DA}"/>
              </a:ext>
            </a:extLst>
          </p:cNvPr>
          <p:cNvGrpSpPr/>
          <p:nvPr/>
        </p:nvGrpSpPr>
        <p:grpSpPr>
          <a:xfrm>
            <a:off x="8609973" y="3801567"/>
            <a:ext cx="2787174" cy="1779116"/>
            <a:chOff x="8609973" y="3997197"/>
            <a:chExt cx="2787174" cy="1779116"/>
          </a:xfrm>
        </p:grpSpPr>
        <p:sp>
          <p:nvSpPr>
            <p:cNvPr id="40" name="object 55">
              <a:extLst>
                <a:ext uri="{FF2B5EF4-FFF2-40B4-BE49-F238E27FC236}">
                  <a16:creationId xmlns:a16="http://schemas.microsoft.com/office/drawing/2014/main" id="{B020DFF2-B22C-952E-A396-F165BDF669E9}"/>
                </a:ext>
              </a:extLst>
            </p:cNvPr>
            <p:cNvSpPr txBox="1"/>
            <p:nvPr/>
          </p:nvSpPr>
          <p:spPr>
            <a:xfrm>
              <a:off x="8609973" y="3997197"/>
              <a:ext cx="2276891" cy="289823"/>
            </a:xfrm>
            <a:prstGeom prst="rect">
              <a:avLst/>
            </a:prstGeom>
          </p:spPr>
          <p:txBody>
            <a:bodyPr vert="horz" wrap="square" lIns="0" tIns="12700" rIns="0" bIns="0" rtlCol="0">
              <a:spAutoFit/>
            </a:bodyPr>
            <a:lstStyle/>
            <a:p>
              <a:pPr marL="12700">
                <a:lnSpc>
                  <a:spcPct val="100000"/>
                </a:lnSpc>
                <a:spcBef>
                  <a:spcPts val="100"/>
                </a:spcBef>
              </a:pPr>
              <a:r>
                <a:rPr lang="de-CH" sz="1800" b="1">
                  <a:solidFill>
                    <a:srgbClr val="FFFFFF"/>
                  </a:solidFill>
                  <a:latin typeface="Arial"/>
                  <a:cs typeface="Arial"/>
                </a:rPr>
                <a:t>Advantages ID link</a:t>
              </a:r>
              <a:endParaRPr sz="1800">
                <a:latin typeface="Arial"/>
                <a:cs typeface="Arial"/>
              </a:endParaRPr>
            </a:p>
          </p:txBody>
        </p:sp>
        <p:sp>
          <p:nvSpPr>
            <p:cNvPr id="41" name="object 56">
              <a:extLst>
                <a:ext uri="{FF2B5EF4-FFF2-40B4-BE49-F238E27FC236}">
                  <a16:creationId xmlns:a16="http://schemas.microsoft.com/office/drawing/2014/main" id="{C19667E4-ECAB-6911-C096-97761A1FC233}"/>
                </a:ext>
              </a:extLst>
            </p:cNvPr>
            <p:cNvSpPr txBox="1"/>
            <p:nvPr/>
          </p:nvSpPr>
          <p:spPr>
            <a:xfrm>
              <a:off x="8609973" y="4347717"/>
              <a:ext cx="2787174" cy="1428596"/>
            </a:xfrm>
            <a:prstGeom prst="rect">
              <a:avLst/>
            </a:prstGeom>
          </p:spPr>
          <p:txBody>
            <a:bodyPr vert="horz" wrap="square" lIns="0" tIns="88900" rIns="0" bIns="0" rtlCol="0">
              <a:spAutoFit/>
            </a:bodyPr>
            <a:lstStyle/>
            <a:p>
              <a:pPr marL="297815" indent="-285115">
                <a:lnSpc>
                  <a:spcPct val="100000"/>
                </a:lnSpc>
                <a:spcBef>
                  <a:spcPts val="700"/>
                </a:spcBef>
                <a:buFont typeface="Wingdings"/>
                <a:buChar char=""/>
                <a:tabLst>
                  <a:tab pos="297815" algn="l"/>
                </a:tabLst>
              </a:pPr>
              <a:r>
                <a:rPr lang="en-US" sz="1800">
                  <a:solidFill>
                    <a:srgbClr val="FFFFFF"/>
                  </a:solidFill>
                  <a:latin typeface="Arial"/>
                  <a:cs typeface="Arial"/>
                </a:rPr>
                <a:t>URL based</a:t>
              </a:r>
              <a:endParaRPr lang="en-US" sz="1800">
                <a:latin typeface="Arial"/>
                <a:cs typeface="Arial"/>
              </a:endParaRPr>
            </a:p>
            <a:p>
              <a:pPr marL="297815" indent="-285115">
                <a:lnSpc>
                  <a:spcPct val="100000"/>
                </a:lnSpc>
                <a:spcBef>
                  <a:spcPts val="600"/>
                </a:spcBef>
                <a:buFont typeface="Wingdings"/>
                <a:buChar char=""/>
                <a:tabLst>
                  <a:tab pos="297815" algn="l"/>
                </a:tabLst>
              </a:pPr>
              <a:r>
                <a:rPr lang="en-US" sz="1800" spc="-10">
                  <a:solidFill>
                    <a:srgbClr val="FFFFFF"/>
                  </a:solidFill>
                  <a:latin typeface="Arial"/>
                  <a:cs typeface="Arial"/>
                </a:rPr>
                <a:t>100% cost-free</a:t>
              </a:r>
              <a:endParaRPr lang="en-US" sz="1800">
                <a:latin typeface="Arial"/>
                <a:cs typeface="Arial"/>
              </a:endParaRPr>
            </a:p>
            <a:p>
              <a:pPr marL="297815" indent="-285115">
                <a:lnSpc>
                  <a:spcPct val="100000"/>
                </a:lnSpc>
                <a:spcBef>
                  <a:spcPts val="600"/>
                </a:spcBef>
                <a:buFont typeface="Wingdings"/>
                <a:buChar char=""/>
                <a:tabLst>
                  <a:tab pos="297815" algn="l"/>
                </a:tabLst>
              </a:pPr>
              <a:r>
                <a:rPr lang="en-US" sz="1800">
                  <a:solidFill>
                    <a:srgbClr val="FFFFFF"/>
                  </a:solidFill>
                  <a:latin typeface="Arial"/>
                  <a:cs typeface="Arial"/>
                </a:rPr>
                <a:t>100% interoperable</a:t>
              </a:r>
            </a:p>
            <a:p>
              <a:pPr marL="297815" indent="-285115">
                <a:lnSpc>
                  <a:spcPct val="100000"/>
                </a:lnSpc>
                <a:spcBef>
                  <a:spcPts val="600"/>
                </a:spcBef>
                <a:buFont typeface="Wingdings"/>
                <a:buChar char=""/>
                <a:tabLst>
                  <a:tab pos="297815" algn="l"/>
                </a:tabLst>
              </a:pPr>
              <a:r>
                <a:rPr lang="en-US" sz="1800">
                  <a:solidFill>
                    <a:srgbClr val="FFFFFF"/>
                  </a:solidFill>
                  <a:latin typeface="Arial"/>
                  <a:cs typeface="Arial"/>
                </a:rPr>
                <a:t>From / for the industry</a:t>
              </a:r>
              <a:endParaRPr lang="en-US" sz="1800">
                <a:latin typeface="Arial"/>
                <a:cs typeface="Arial"/>
              </a:endParaRPr>
            </a:p>
          </p:txBody>
        </p:sp>
      </p:grpSp>
      <p:sp>
        <p:nvSpPr>
          <p:cNvPr id="42" name="object 66">
            <a:extLst>
              <a:ext uri="{FF2B5EF4-FFF2-40B4-BE49-F238E27FC236}">
                <a16:creationId xmlns:a16="http://schemas.microsoft.com/office/drawing/2014/main" id="{3D48D5EA-0197-292E-66B5-070EC4E74252}"/>
              </a:ext>
            </a:extLst>
          </p:cNvPr>
          <p:cNvSpPr/>
          <p:nvPr/>
        </p:nvSpPr>
        <p:spPr>
          <a:xfrm>
            <a:off x="7542657" y="3490340"/>
            <a:ext cx="3782060" cy="2401570"/>
          </a:xfrm>
          <a:custGeom>
            <a:avLst/>
            <a:gdLst/>
            <a:ahLst/>
            <a:cxnLst/>
            <a:rect l="l" t="t" r="r" b="b"/>
            <a:pathLst>
              <a:path w="3782059" h="2401570">
                <a:moveTo>
                  <a:pt x="0" y="145669"/>
                </a:moveTo>
                <a:lnTo>
                  <a:pt x="7432" y="99649"/>
                </a:lnTo>
                <a:lnTo>
                  <a:pt x="28122" y="59664"/>
                </a:lnTo>
                <a:lnTo>
                  <a:pt x="59664" y="28122"/>
                </a:lnTo>
                <a:lnTo>
                  <a:pt x="99649" y="7432"/>
                </a:lnTo>
                <a:lnTo>
                  <a:pt x="145669" y="0"/>
                </a:lnTo>
                <a:lnTo>
                  <a:pt x="3636137" y="0"/>
                </a:lnTo>
                <a:lnTo>
                  <a:pt x="3682156" y="7432"/>
                </a:lnTo>
                <a:lnTo>
                  <a:pt x="3722141" y="28122"/>
                </a:lnTo>
                <a:lnTo>
                  <a:pt x="3753683" y="59664"/>
                </a:lnTo>
                <a:lnTo>
                  <a:pt x="3774373" y="99649"/>
                </a:lnTo>
                <a:lnTo>
                  <a:pt x="3781806" y="145669"/>
                </a:lnTo>
                <a:lnTo>
                  <a:pt x="3781806" y="2255367"/>
                </a:lnTo>
                <a:lnTo>
                  <a:pt x="3774373" y="2301419"/>
                </a:lnTo>
                <a:lnTo>
                  <a:pt x="3753683" y="2341413"/>
                </a:lnTo>
                <a:lnTo>
                  <a:pt x="3722141" y="2372952"/>
                </a:lnTo>
                <a:lnTo>
                  <a:pt x="3682156" y="2393634"/>
                </a:lnTo>
                <a:lnTo>
                  <a:pt x="3636137" y="2401062"/>
                </a:lnTo>
                <a:lnTo>
                  <a:pt x="145669" y="2401062"/>
                </a:lnTo>
                <a:lnTo>
                  <a:pt x="99649" y="2393634"/>
                </a:lnTo>
                <a:lnTo>
                  <a:pt x="59664" y="2372952"/>
                </a:lnTo>
                <a:lnTo>
                  <a:pt x="28122" y="2341413"/>
                </a:lnTo>
                <a:lnTo>
                  <a:pt x="7432" y="2301419"/>
                </a:lnTo>
                <a:lnTo>
                  <a:pt x="0" y="2255367"/>
                </a:lnTo>
                <a:lnTo>
                  <a:pt x="0" y="145669"/>
                </a:lnTo>
                <a:close/>
              </a:path>
            </a:pathLst>
          </a:custGeom>
          <a:ln w="57150">
            <a:solidFill>
              <a:schemeClr val="accent1"/>
            </a:solidFill>
          </a:ln>
        </p:spPr>
        <p:txBody>
          <a:bodyPr wrap="square" lIns="0" tIns="0" rIns="0" bIns="0" rtlCol="0"/>
          <a:lstStyle/>
          <a:p>
            <a:endParaRPr/>
          </a:p>
        </p:txBody>
      </p:sp>
      <p:pic>
        <p:nvPicPr>
          <p:cNvPr id="43" name="Graphic 42">
            <a:extLst>
              <a:ext uri="{FF2B5EF4-FFF2-40B4-BE49-F238E27FC236}">
                <a16:creationId xmlns:a16="http://schemas.microsoft.com/office/drawing/2014/main" id="{9761F77B-D582-74CE-CACD-46BA3CC5276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97454" y="1784070"/>
            <a:ext cx="637086" cy="637086"/>
          </a:xfrm>
          <a:prstGeom prst="rect">
            <a:avLst/>
          </a:prstGeom>
        </p:spPr>
      </p:pic>
      <p:cxnSp>
        <p:nvCxnSpPr>
          <p:cNvPr id="44" name="Elbow Connector 43">
            <a:extLst>
              <a:ext uri="{FF2B5EF4-FFF2-40B4-BE49-F238E27FC236}">
                <a16:creationId xmlns:a16="http://schemas.microsoft.com/office/drawing/2014/main" id="{F74CE5D5-2CB6-D785-666B-35111819EC65}"/>
              </a:ext>
            </a:extLst>
          </p:cNvPr>
          <p:cNvCxnSpPr>
            <a:cxnSpLocks/>
            <a:stCxn id="32" idx="3"/>
            <a:endCxn id="7" idx="1"/>
          </p:cNvCxnSpPr>
          <p:nvPr/>
        </p:nvCxnSpPr>
        <p:spPr>
          <a:xfrm>
            <a:off x="6698615" y="3742562"/>
            <a:ext cx="925957" cy="948563"/>
          </a:xfrm>
          <a:prstGeom prst="bentConnector3">
            <a:avLst>
              <a:gd name="adj1" fmla="val 50000"/>
            </a:avLst>
          </a:prstGeom>
          <a:ln w="38100">
            <a:tailEnd type="triangle" w="lg" len="lg"/>
          </a:ln>
        </p:spPr>
        <p:style>
          <a:lnRef idx="1">
            <a:schemeClr val="accent1"/>
          </a:lnRef>
          <a:fillRef idx="0">
            <a:schemeClr val="accent1"/>
          </a:fillRef>
          <a:effectRef idx="0">
            <a:schemeClr val="accent1"/>
          </a:effectRef>
          <a:fontRef idx="minor">
            <a:schemeClr val="tx1"/>
          </a:fontRef>
        </p:style>
      </p:cxnSp>
      <p:cxnSp>
        <p:nvCxnSpPr>
          <p:cNvPr id="45" name="Elbow Connector 44">
            <a:extLst>
              <a:ext uri="{FF2B5EF4-FFF2-40B4-BE49-F238E27FC236}">
                <a16:creationId xmlns:a16="http://schemas.microsoft.com/office/drawing/2014/main" id="{3E5DF268-91E2-DECC-3DF3-0945B0C97DD3}"/>
              </a:ext>
            </a:extLst>
          </p:cNvPr>
          <p:cNvCxnSpPr>
            <a:cxnSpLocks/>
            <a:stCxn id="32" idx="3"/>
            <a:endCxn id="6" idx="1"/>
          </p:cNvCxnSpPr>
          <p:nvPr/>
        </p:nvCxnSpPr>
        <p:spPr>
          <a:xfrm flipV="1">
            <a:off x="6698615" y="2102613"/>
            <a:ext cx="925957" cy="1639949"/>
          </a:xfrm>
          <a:prstGeom prst="bentConnector3">
            <a:avLst>
              <a:gd name="adj1" fmla="val 50000"/>
            </a:avLst>
          </a:prstGeom>
          <a:ln w="38100">
            <a:solidFill>
              <a:srgbClr val="A6A6A6"/>
            </a:solidFill>
            <a:tailEnd type="triangle" w="lg" len="lg"/>
          </a:ln>
        </p:spPr>
        <p:style>
          <a:lnRef idx="1">
            <a:schemeClr val="accent1"/>
          </a:lnRef>
          <a:fillRef idx="0">
            <a:schemeClr val="accent1"/>
          </a:fillRef>
          <a:effectRef idx="0">
            <a:schemeClr val="accent1"/>
          </a:effectRef>
          <a:fontRef idx="minor">
            <a:schemeClr val="tx1"/>
          </a:fontRef>
        </p:style>
      </p:cxnSp>
      <p:pic>
        <p:nvPicPr>
          <p:cNvPr id="46" name="Graphic 45">
            <a:extLst>
              <a:ext uri="{FF2B5EF4-FFF2-40B4-BE49-F238E27FC236}">
                <a16:creationId xmlns:a16="http://schemas.microsoft.com/office/drawing/2014/main" id="{C995AFCE-F20D-0640-84DB-9C515DC346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66657" y="4341785"/>
            <a:ext cx="698680" cy="698680"/>
          </a:xfrm>
          <a:prstGeom prst="rect">
            <a:avLst/>
          </a:prstGeom>
        </p:spPr>
      </p:pic>
      <p:pic>
        <p:nvPicPr>
          <p:cNvPr id="47" name="object 10">
            <a:extLst>
              <a:ext uri="{FF2B5EF4-FFF2-40B4-BE49-F238E27FC236}">
                <a16:creationId xmlns:a16="http://schemas.microsoft.com/office/drawing/2014/main" id="{555D7B8A-461A-D630-8DC1-B635290A2F0A}"/>
              </a:ext>
            </a:extLst>
          </p:cNvPr>
          <p:cNvPicPr/>
          <p:nvPr/>
        </p:nvPicPr>
        <p:blipFill>
          <a:blip r:embed="rId8" cstate="print"/>
          <a:stretch>
            <a:fillRect/>
          </a:stretch>
        </p:blipFill>
        <p:spPr>
          <a:xfrm>
            <a:off x="226800" y="6012933"/>
            <a:ext cx="2228880" cy="283420"/>
          </a:xfrm>
          <a:prstGeom prst="rect">
            <a:avLst/>
          </a:prstGeom>
        </p:spPr>
      </p:pic>
      <p:cxnSp>
        <p:nvCxnSpPr>
          <p:cNvPr id="48" name="Straight Arrow Connector 47">
            <a:extLst>
              <a:ext uri="{FF2B5EF4-FFF2-40B4-BE49-F238E27FC236}">
                <a16:creationId xmlns:a16="http://schemas.microsoft.com/office/drawing/2014/main" id="{88DC711F-6756-3932-C00B-D60D5CB9E4F7}"/>
              </a:ext>
            </a:extLst>
          </p:cNvPr>
          <p:cNvCxnSpPr>
            <a:cxnSpLocks/>
            <a:stCxn id="49" idx="3"/>
            <a:endCxn id="50" idx="1"/>
          </p:cNvCxnSpPr>
          <p:nvPr/>
        </p:nvCxnSpPr>
        <p:spPr>
          <a:xfrm>
            <a:off x="2748555" y="4955407"/>
            <a:ext cx="3081983" cy="0"/>
          </a:xfrm>
          <a:prstGeom prst="straightConnector1">
            <a:avLst/>
          </a:prstGeom>
          <a:ln w="38100">
            <a:solidFill>
              <a:srgbClr val="F494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9" name="Rounded Rectangle 48">
            <a:extLst>
              <a:ext uri="{FF2B5EF4-FFF2-40B4-BE49-F238E27FC236}">
                <a16:creationId xmlns:a16="http://schemas.microsoft.com/office/drawing/2014/main" id="{E9031F0A-F680-DFE0-8756-E5608D1D7484}"/>
              </a:ext>
            </a:extLst>
          </p:cNvPr>
          <p:cNvSpPr/>
          <p:nvPr/>
        </p:nvSpPr>
        <p:spPr>
          <a:xfrm>
            <a:off x="2264870" y="4551738"/>
            <a:ext cx="483685" cy="807338"/>
          </a:xfrm>
          <a:prstGeom prst="roundRect">
            <a:avLst/>
          </a:prstGeom>
          <a:noFill/>
          <a:ln w="38100">
            <a:solidFill>
              <a:srgbClr val="F39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ounded Rectangle 49">
            <a:extLst>
              <a:ext uri="{FF2B5EF4-FFF2-40B4-BE49-F238E27FC236}">
                <a16:creationId xmlns:a16="http://schemas.microsoft.com/office/drawing/2014/main" id="{D1CAF348-543C-84A8-7725-8141D75D347D}"/>
              </a:ext>
            </a:extLst>
          </p:cNvPr>
          <p:cNvSpPr/>
          <p:nvPr/>
        </p:nvSpPr>
        <p:spPr>
          <a:xfrm>
            <a:off x="5830538" y="4551738"/>
            <a:ext cx="483685" cy="807338"/>
          </a:xfrm>
          <a:prstGeom prst="roundRect">
            <a:avLst/>
          </a:prstGeom>
          <a:noFill/>
          <a:ln w="38100">
            <a:solidFill>
              <a:srgbClr val="F39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bject 68">
            <a:extLst>
              <a:ext uri="{FF2B5EF4-FFF2-40B4-BE49-F238E27FC236}">
                <a16:creationId xmlns:a16="http://schemas.microsoft.com/office/drawing/2014/main" id="{1410CE87-590E-2AAF-2FEA-691625E56522}"/>
              </a:ext>
            </a:extLst>
          </p:cNvPr>
          <p:cNvSpPr/>
          <p:nvPr/>
        </p:nvSpPr>
        <p:spPr>
          <a:xfrm>
            <a:off x="3598163" y="4780236"/>
            <a:ext cx="360680" cy="364490"/>
          </a:xfrm>
          <a:custGeom>
            <a:avLst/>
            <a:gdLst/>
            <a:ahLst/>
            <a:cxnLst/>
            <a:rect l="l" t="t" r="r" b="b"/>
            <a:pathLst>
              <a:path w="360679" h="364489">
                <a:moveTo>
                  <a:pt x="0" y="182118"/>
                </a:moveTo>
                <a:lnTo>
                  <a:pt x="6434" y="133702"/>
                </a:lnTo>
                <a:lnTo>
                  <a:pt x="24595" y="90198"/>
                </a:lnTo>
                <a:lnTo>
                  <a:pt x="52768" y="53339"/>
                </a:lnTo>
                <a:lnTo>
                  <a:pt x="89238" y="24863"/>
                </a:lnTo>
                <a:lnTo>
                  <a:pt x="132291" y="6505"/>
                </a:lnTo>
                <a:lnTo>
                  <a:pt x="180212" y="0"/>
                </a:lnTo>
                <a:lnTo>
                  <a:pt x="228134" y="6505"/>
                </a:lnTo>
                <a:lnTo>
                  <a:pt x="271187" y="24863"/>
                </a:lnTo>
                <a:lnTo>
                  <a:pt x="307657" y="53339"/>
                </a:lnTo>
                <a:lnTo>
                  <a:pt x="335830" y="90198"/>
                </a:lnTo>
                <a:lnTo>
                  <a:pt x="353991" y="133702"/>
                </a:lnTo>
                <a:lnTo>
                  <a:pt x="360425" y="182118"/>
                </a:lnTo>
                <a:lnTo>
                  <a:pt x="353991" y="230533"/>
                </a:lnTo>
                <a:lnTo>
                  <a:pt x="335830" y="274037"/>
                </a:lnTo>
                <a:lnTo>
                  <a:pt x="307657" y="310896"/>
                </a:lnTo>
                <a:lnTo>
                  <a:pt x="271187" y="339372"/>
                </a:lnTo>
                <a:lnTo>
                  <a:pt x="228134" y="357730"/>
                </a:lnTo>
                <a:lnTo>
                  <a:pt x="180212" y="364236"/>
                </a:lnTo>
                <a:lnTo>
                  <a:pt x="132291" y="357730"/>
                </a:lnTo>
                <a:lnTo>
                  <a:pt x="89238" y="339372"/>
                </a:lnTo>
                <a:lnTo>
                  <a:pt x="52768" y="310896"/>
                </a:lnTo>
                <a:lnTo>
                  <a:pt x="24595" y="274037"/>
                </a:lnTo>
                <a:lnTo>
                  <a:pt x="6434" y="230533"/>
                </a:lnTo>
                <a:lnTo>
                  <a:pt x="0" y="182118"/>
                </a:lnTo>
                <a:close/>
              </a:path>
            </a:pathLst>
          </a:custGeom>
          <a:solidFill>
            <a:schemeClr val="bg1"/>
          </a:solidFill>
          <a:ln w="31750">
            <a:solidFill>
              <a:srgbClr val="F39400"/>
            </a:solidFill>
          </a:ln>
        </p:spPr>
        <p:txBody>
          <a:bodyPr wrap="square" lIns="0" tIns="0" rIns="0" bIns="0" rtlCol="0"/>
          <a:lstStyle/>
          <a:p>
            <a:endParaRPr/>
          </a:p>
        </p:txBody>
      </p:sp>
      <p:pic>
        <p:nvPicPr>
          <p:cNvPr id="52" name="object 69">
            <a:extLst>
              <a:ext uri="{FF2B5EF4-FFF2-40B4-BE49-F238E27FC236}">
                <a16:creationId xmlns:a16="http://schemas.microsoft.com/office/drawing/2014/main" id="{509A3B99-BDF5-450F-5ACA-E5FD59111DB5}"/>
              </a:ext>
            </a:extLst>
          </p:cNvPr>
          <p:cNvPicPr/>
          <p:nvPr/>
        </p:nvPicPr>
        <p:blipFill>
          <a:blip r:embed="rId9" cstate="print"/>
          <a:stretch>
            <a:fillRect/>
          </a:stretch>
        </p:blipFill>
        <p:spPr>
          <a:xfrm>
            <a:off x="3675527" y="4859437"/>
            <a:ext cx="207354" cy="207602"/>
          </a:xfrm>
          <a:prstGeom prst="rect">
            <a:avLst/>
          </a:prstGeom>
        </p:spPr>
      </p:pic>
      <p:sp>
        <p:nvSpPr>
          <p:cNvPr id="53" name="Fußzeilenplatzhalter 3">
            <a:extLst>
              <a:ext uri="{FF2B5EF4-FFF2-40B4-BE49-F238E27FC236}">
                <a16:creationId xmlns:a16="http://schemas.microsoft.com/office/drawing/2014/main" id="{7B11ABD1-3C7B-E2CD-53C3-1773648E7B51}"/>
              </a:ext>
            </a:extLst>
          </p:cNvPr>
          <p:cNvSpPr txBox="1">
            <a:spLocks/>
          </p:cNvSpPr>
          <p:nvPr/>
        </p:nvSpPr>
        <p:spPr>
          <a:xfrm>
            <a:off x="1368178" y="6516000"/>
            <a:ext cx="5616000" cy="167933"/>
          </a:xfrm>
          <a:prstGeom prst="rect">
            <a:avLst/>
          </a:prstGeom>
        </p:spPr>
        <p:txBody>
          <a:bodyPr lIns="0" tIns="0" rIns="0" bIns="0"/>
          <a:ls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900">
                <a:latin typeface="Arial" panose="020B0604020202020204"/>
                <a:cs typeface="Arial"/>
              </a:rPr>
              <a:t>|  </a:t>
            </a:r>
            <a:r>
              <a:rPr lang="en-US" sz="900">
                <a:latin typeface="+mj-lt"/>
                <a:cs typeface="Calibri" panose="020F0502020204030204" pitchFamily="34" charset="0"/>
                <a:sym typeface="Calibri" panose="020F0502020204030204" pitchFamily="34" charset="0"/>
              </a:rPr>
              <a:t>Source: </a:t>
            </a:r>
            <a:r>
              <a:rPr lang="en-US" sz="900">
                <a:latin typeface="+mj-lt"/>
                <a:cs typeface="Calibri" panose="020F0502020204030204" pitchFamily="34" charset="0"/>
                <a:sym typeface="Calibri" panose="020F0502020204030204" pitchFamily="34" charset="0"/>
                <a:hlinkClick r:id="rId10">
                  <a:extLst>
                    <a:ext uri="{A12FA001-AC4F-418D-AE19-62706E023703}">
                      <ahyp:hlinkClr xmlns:ahyp="http://schemas.microsoft.com/office/drawing/2018/hyperlinkcolor" val="tx"/>
                    </a:ext>
                  </a:extLst>
                </a:hlinkClick>
              </a:rPr>
              <a:t>https://www.digitaldatachain.com</a:t>
            </a:r>
            <a:r>
              <a:rPr lang="en-US" sz="900">
                <a:latin typeface="+mj-lt"/>
                <a:cs typeface="Calibri" panose="020F0502020204030204" pitchFamily="34" charset="0"/>
                <a:sym typeface="Calibri" panose="020F0502020204030204" pitchFamily="34" charset="0"/>
              </a:rPr>
              <a:t> </a:t>
            </a:r>
          </a:p>
        </p:txBody>
      </p:sp>
    </p:spTree>
    <p:extLst>
      <p:ext uri="{BB962C8B-B14F-4D97-AF65-F5344CB8AC3E}">
        <p14:creationId xmlns:p14="http://schemas.microsoft.com/office/powerpoint/2010/main" val="36748249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5" name="Group 174">
            <a:extLst>
              <a:ext uri="{FF2B5EF4-FFF2-40B4-BE49-F238E27FC236}">
                <a16:creationId xmlns:a16="http://schemas.microsoft.com/office/drawing/2014/main" id="{89BF325A-A027-2AF8-F07E-72AC62C11B59}"/>
              </a:ext>
            </a:extLst>
          </p:cNvPr>
          <p:cNvGrpSpPr/>
          <p:nvPr/>
        </p:nvGrpSpPr>
        <p:grpSpPr>
          <a:xfrm flipH="1">
            <a:off x="2873232" y="4139450"/>
            <a:ext cx="2503052" cy="2235801"/>
            <a:chOff x="5674119" y="4703911"/>
            <a:chExt cx="2502897" cy="2004329"/>
          </a:xfrm>
        </p:grpSpPr>
        <p:pic>
          <p:nvPicPr>
            <p:cNvPr id="176" name="Grafik 389" descr="Fabrik Silhouette">
              <a:extLst>
                <a:ext uri="{FF2B5EF4-FFF2-40B4-BE49-F238E27FC236}">
                  <a16:creationId xmlns:a16="http://schemas.microsoft.com/office/drawing/2014/main" id="{88E8F6E4-2EDF-B285-FE48-F8E2F954B5A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5674119" y="4703911"/>
              <a:ext cx="2502897" cy="2004329"/>
            </a:xfrm>
            <a:prstGeom prst="rect">
              <a:avLst/>
            </a:prstGeom>
          </p:spPr>
        </p:pic>
        <p:sp>
          <p:nvSpPr>
            <p:cNvPr id="177" name="Zylinder 390">
              <a:extLst>
                <a:ext uri="{FF2B5EF4-FFF2-40B4-BE49-F238E27FC236}">
                  <a16:creationId xmlns:a16="http://schemas.microsoft.com/office/drawing/2014/main" id="{7FEE7802-4DDA-9AB5-D0EF-F3D76AFEDD84}"/>
                </a:ext>
              </a:extLst>
            </p:cNvPr>
            <p:cNvSpPr/>
            <p:nvPr/>
          </p:nvSpPr>
          <p:spPr>
            <a:xfrm>
              <a:off x="6145063" y="5920240"/>
              <a:ext cx="1814692" cy="433961"/>
            </a:xfrm>
            <a:prstGeom prst="can">
              <a:avLst/>
            </a:pr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905" b="0" i="0" u="none" strike="noStrike" kern="0" cap="none" spc="0" normalizeH="0" baseline="0">
                <a:ln>
                  <a:noFill/>
                </a:ln>
                <a:solidFill>
                  <a:prstClr val="white"/>
                </a:solidFill>
                <a:effectLst/>
                <a:uLnTx/>
                <a:uFillTx/>
                <a:latin typeface="Manrope Light" pitchFamily="2" charset="0"/>
                <a:cs typeface="Arial" panose="020B0604020202020204" pitchFamily="34" charset="0"/>
              </a:endParaRPr>
            </a:p>
          </p:txBody>
        </p:sp>
      </p:grpSp>
      <p:grpSp>
        <p:nvGrpSpPr>
          <p:cNvPr id="174" name="Group 173">
            <a:extLst>
              <a:ext uri="{FF2B5EF4-FFF2-40B4-BE49-F238E27FC236}">
                <a16:creationId xmlns:a16="http://schemas.microsoft.com/office/drawing/2014/main" id="{4E3D0F52-210C-8E41-190D-813CD96CEB46}"/>
              </a:ext>
            </a:extLst>
          </p:cNvPr>
          <p:cNvGrpSpPr/>
          <p:nvPr/>
        </p:nvGrpSpPr>
        <p:grpSpPr>
          <a:xfrm>
            <a:off x="9565124" y="4098208"/>
            <a:ext cx="2503052" cy="2235801"/>
            <a:chOff x="5674119" y="4703911"/>
            <a:chExt cx="2502897" cy="2004329"/>
          </a:xfrm>
        </p:grpSpPr>
        <p:pic>
          <p:nvPicPr>
            <p:cNvPr id="171" name="Grafik 389" descr="Fabrik Silhouette">
              <a:extLst>
                <a:ext uri="{FF2B5EF4-FFF2-40B4-BE49-F238E27FC236}">
                  <a16:creationId xmlns:a16="http://schemas.microsoft.com/office/drawing/2014/main" id="{1E3B40BE-E55F-4965-9B4C-20C98A02B68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5674119" y="4703911"/>
              <a:ext cx="2502897" cy="2004329"/>
            </a:xfrm>
            <a:prstGeom prst="rect">
              <a:avLst/>
            </a:prstGeom>
          </p:spPr>
        </p:pic>
        <p:sp>
          <p:nvSpPr>
            <p:cNvPr id="172" name="Zylinder 390">
              <a:extLst>
                <a:ext uri="{FF2B5EF4-FFF2-40B4-BE49-F238E27FC236}">
                  <a16:creationId xmlns:a16="http://schemas.microsoft.com/office/drawing/2014/main" id="{5A1737FC-2D98-66CA-A9B1-5983DF89F261}"/>
                </a:ext>
              </a:extLst>
            </p:cNvPr>
            <p:cNvSpPr/>
            <p:nvPr/>
          </p:nvSpPr>
          <p:spPr>
            <a:xfrm>
              <a:off x="6145063" y="5920240"/>
              <a:ext cx="1814692" cy="433961"/>
            </a:xfrm>
            <a:prstGeom prst="can">
              <a:avLst/>
            </a:pr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905" b="0" i="0" u="none" strike="noStrike" kern="0" cap="none" spc="0" normalizeH="0" baseline="0">
                <a:ln>
                  <a:noFill/>
                </a:ln>
                <a:solidFill>
                  <a:prstClr val="white"/>
                </a:solidFill>
                <a:effectLst/>
                <a:uLnTx/>
                <a:uFillTx/>
                <a:latin typeface="Manrope Light" pitchFamily="2" charset="0"/>
                <a:cs typeface="Arial" panose="020B0604020202020204" pitchFamily="34" charset="0"/>
              </a:endParaRPr>
            </a:p>
          </p:txBody>
        </p:sp>
      </p:grpSp>
      <p:sp>
        <p:nvSpPr>
          <p:cNvPr id="2" name="Title 1">
            <a:extLst>
              <a:ext uri="{FF2B5EF4-FFF2-40B4-BE49-F238E27FC236}">
                <a16:creationId xmlns:a16="http://schemas.microsoft.com/office/drawing/2014/main" id="{C3754505-66CC-2606-2B21-A67C482019C4}"/>
              </a:ext>
            </a:extLst>
          </p:cNvPr>
          <p:cNvSpPr>
            <a:spLocks noGrp="1"/>
          </p:cNvSpPr>
          <p:nvPr>
            <p:ph type="title"/>
          </p:nvPr>
        </p:nvSpPr>
        <p:spPr/>
        <p:txBody>
          <a:bodyPr/>
          <a:lstStyle/>
          <a:p>
            <a:r>
              <a:rPr lang="en-US">
                <a:cs typeface="Arial" panose="020B0604020202020204" pitchFamily="34" charset="0"/>
              </a:rPr>
              <a:t>Catena-X Architecture to Power Sovereign Data Exchange for DPP</a:t>
            </a:r>
          </a:p>
        </p:txBody>
      </p:sp>
      <p:sp>
        <p:nvSpPr>
          <p:cNvPr id="4" name="Date Placeholder 3">
            <a:extLst>
              <a:ext uri="{FF2B5EF4-FFF2-40B4-BE49-F238E27FC236}">
                <a16:creationId xmlns:a16="http://schemas.microsoft.com/office/drawing/2014/main" id="{885E449A-FDCA-406E-A531-D571CD1EA60D}"/>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368FC967-E25B-4DC7-87C0-1C454DF70C3D}" type="datetime1">
              <a:rPr kumimoji="0" lang="de-DE" sz="900" b="0" i="0" u="none" strike="noStrike" kern="120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rPr>
              <a:t>16.02.25</a:t>
            </a:fld>
            <a:endParaRPr kumimoji="0" lang="de-DE" sz="9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5" name="Slide Number Placeholder 4">
            <a:extLst>
              <a:ext uri="{FF2B5EF4-FFF2-40B4-BE49-F238E27FC236}">
                <a16:creationId xmlns:a16="http://schemas.microsoft.com/office/drawing/2014/main" id="{FEC44E89-9538-C72A-7166-4CDCACE41E4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110"/>
                </a:spcBef>
                <a:spcAft>
                  <a:spcPts val="110"/>
                </a:spcAft>
                <a:buClrTx/>
                <a:buSzTx/>
                <a:buFontTx/>
                <a:buNone/>
                <a:tabLst/>
                <a:defRPr/>
              </a:pPr>
              <a:t>29</a:t>
            </a:fld>
            <a:endParaRPr kumimoji="0" lang="de-DE" sz="9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pic>
        <p:nvPicPr>
          <p:cNvPr id="7" name="Grafik 384">
            <a:extLst>
              <a:ext uri="{FF2B5EF4-FFF2-40B4-BE49-F238E27FC236}">
                <a16:creationId xmlns:a16="http://schemas.microsoft.com/office/drawing/2014/main" id="{B17F6AE4-11F8-B353-DB90-2509AB9A21B2}"/>
              </a:ext>
            </a:extLst>
          </p:cNvPr>
          <p:cNvPicPr>
            <a:picLocks noChangeAspect="1"/>
          </p:cNvPicPr>
          <p:nvPr/>
        </p:nvPicPr>
        <p:blipFill>
          <a:blip r:embed="rId4">
            <a:duotone>
              <a:schemeClr val="bg2">
                <a:shade val="45000"/>
                <a:satMod val="135000"/>
              </a:schemeClr>
              <a:prstClr val="white"/>
            </a:duotone>
          </a:blip>
          <a:stretch>
            <a:fillRect/>
          </a:stretch>
        </p:blipFill>
        <p:spPr>
          <a:xfrm>
            <a:off x="3249859" y="3993627"/>
            <a:ext cx="365983" cy="365981"/>
          </a:xfrm>
          <a:prstGeom prst="rect">
            <a:avLst/>
          </a:prstGeom>
        </p:spPr>
      </p:pic>
      <p:sp>
        <p:nvSpPr>
          <p:cNvPr id="8" name="Rechteck 387">
            <a:extLst>
              <a:ext uri="{FF2B5EF4-FFF2-40B4-BE49-F238E27FC236}">
                <a16:creationId xmlns:a16="http://schemas.microsoft.com/office/drawing/2014/main" id="{A324E29D-3D2E-26BE-18D0-F81ABB7A59D9}"/>
              </a:ext>
            </a:extLst>
          </p:cNvPr>
          <p:cNvSpPr/>
          <p:nvPr/>
        </p:nvSpPr>
        <p:spPr>
          <a:xfrm>
            <a:off x="3192497" y="5537497"/>
            <a:ext cx="1689609" cy="337159"/>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905" b="0" i="0" u="none" strike="noStrike" kern="0" cap="none" spc="0" normalizeH="0" baseline="0">
              <a:ln>
                <a:noFill/>
              </a:ln>
              <a:solidFill>
                <a:prstClr val="white"/>
              </a:solidFill>
              <a:effectLst/>
              <a:uLnTx/>
              <a:uFillTx/>
              <a:latin typeface="Arial" panose="020B0604020202020204" pitchFamily="34" charset="0"/>
              <a:cs typeface="Arial" panose="020B0604020202020204" pitchFamily="34" charset="0"/>
            </a:endParaRPr>
          </a:p>
        </p:txBody>
      </p:sp>
      <p:sp>
        <p:nvSpPr>
          <p:cNvPr id="9" name="Rechteck 392">
            <a:extLst>
              <a:ext uri="{FF2B5EF4-FFF2-40B4-BE49-F238E27FC236}">
                <a16:creationId xmlns:a16="http://schemas.microsoft.com/office/drawing/2014/main" id="{C678EF7F-D3E3-E983-D4F0-E140FF4E9959}"/>
              </a:ext>
            </a:extLst>
          </p:cNvPr>
          <p:cNvSpPr/>
          <p:nvPr/>
        </p:nvSpPr>
        <p:spPr>
          <a:xfrm>
            <a:off x="5604108" y="2666002"/>
            <a:ext cx="3585318" cy="369046"/>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905" b="0" i="0" u="none" strike="noStrike" kern="0" cap="none" spc="0" normalizeH="0" baseline="0">
              <a:ln>
                <a:noFill/>
              </a:ln>
              <a:solidFill>
                <a:prstClr val="white"/>
              </a:solidFill>
              <a:effectLst/>
              <a:uLnTx/>
              <a:uFillTx/>
              <a:latin typeface="Arial" panose="020B0604020202020204" pitchFamily="34" charset="0"/>
              <a:cs typeface="Arial" panose="020B0604020202020204" pitchFamily="34" charset="0"/>
            </a:endParaRPr>
          </a:p>
        </p:txBody>
      </p:sp>
      <p:grpSp>
        <p:nvGrpSpPr>
          <p:cNvPr id="214" name="Group 213">
            <a:extLst>
              <a:ext uri="{FF2B5EF4-FFF2-40B4-BE49-F238E27FC236}">
                <a16:creationId xmlns:a16="http://schemas.microsoft.com/office/drawing/2014/main" id="{C670F858-02FB-3C3B-8A77-C1AA0BC5268B}"/>
              </a:ext>
            </a:extLst>
          </p:cNvPr>
          <p:cNvGrpSpPr/>
          <p:nvPr/>
        </p:nvGrpSpPr>
        <p:grpSpPr>
          <a:xfrm>
            <a:off x="4568573" y="2291594"/>
            <a:ext cx="6015207" cy="162801"/>
            <a:chOff x="4568573" y="2291594"/>
            <a:chExt cx="6015207" cy="162801"/>
          </a:xfrm>
        </p:grpSpPr>
        <p:cxnSp>
          <p:nvCxnSpPr>
            <p:cNvPr id="13" name="Gerader Verbinder 403">
              <a:extLst>
                <a:ext uri="{FF2B5EF4-FFF2-40B4-BE49-F238E27FC236}">
                  <a16:creationId xmlns:a16="http://schemas.microsoft.com/office/drawing/2014/main" id="{906C33F4-A76C-420D-70CB-F6DB851A7A5F}"/>
                </a:ext>
              </a:extLst>
            </p:cNvPr>
            <p:cNvCxnSpPr>
              <a:cxnSpLocks/>
            </p:cNvCxnSpPr>
            <p:nvPr/>
          </p:nvCxnSpPr>
          <p:spPr>
            <a:xfrm flipV="1">
              <a:off x="4568573" y="2373022"/>
              <a:ext cx="6015207" cy="1"/>
            </a:xfrm>
            <a:prstGeom prst="line">
              <a:avLst/>
            </a:prstGeom>
            <a:noFill/>
            <a:ln w="28575" cap="flat" cmpd="sng" algn="ctr">
              <a:solidFill>
                <a:schemeClr val="accent1"/>
              </a:solidFill>
              <a:prstDash val="solid"/>
              <a:miter lim="800000"/>
            </a:ln>
            <a:effectLst/>
          </p:spPr>
        </p:cxnSp>
        <p:sp>
          <p:nvSpPr>
            <p:cNvPr id="14" name="Textfeld 404">
              <a:extLst>
                <a:ext uri="{FF2B5EF4-FFF2-40B4-BE49-F238E27FC236}">
                  <a16:creationId xmlns:a16="http://schemas.microsoft.com/office/drawing/2014/main" id="{5C1B8A66-5F55-4EB6-BFCB-8EED4E3F459D}"/>
                </a:ext>
              </a:extLst>
            </p:cNvPr>
            <p:cNvSpPr txBox="1"/>
            <p:nvPr/>
          </p:nvSpPr>
          <p:spPr>
            <a:xfrm>
              <a:off x="6560008" y="2291594"/>
              <a:ext cx="1784971" cy="162801"/>
            </a:xfrm>
            <a:prstGeom prst="rect">
              <a:avLst/>
            </a:prstGeom>
            <a:solidFill>
              <a:sysClr val="window" lastClr="FFFFFF"/>
            </a:solidFill>
          </p:spPr>
          <p:txBody>
            <a:bodyPr wrap="square" lIns="76196" tIns="0" rIns="76196"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rPr>
                <a:t>Data Exchange Option B</a:t>
              </a:r>
            </a:p>
          </p:txBody>
        </p:sp>
      </p:grpSp>
      <p:sp>
        <p:nvSpPr>
          <p:cNvPr id="16" name="Rechteck: abgerundete Ecken 414">
            <a:extLst>
              <a:ext uri="{FF2B5EF4-FFF2-40B4-BE49-F238E27FC236}">
                <a16:creationId xmlns:a16="http://schemas.microsoft.com/office/drawing/2014/main" id="{88CA1F5C-B79E-7066-01CC-209949534A92}"/>
              </a:ext>
            </a:extLst>
          </p:cNvPr>
          <p:cNvSpPr/>
          <p:nvPr/>
        </p:nvSpPr>
        <p:spPr>
          <a:xfrm>
            <a:off x="4080831" y="1313902"/>
            <a:ext cx="2005118" cy="893612"/>
          </a:xfrm>
          <a:prstGeom prst="roundRect">
            <a:avLst>
              <a:gd name="adj" fmla="val 8520"/>
            </a:avLst>
          </a:prstGeom>
          <a:solidFill>
            <a:srgbClr val="CACCC2"/>
          </a:solidFill>
          <a:ln w="19050" cap="flat" cmpd="sng" algn="ctr">
            <a:noFill/>
            <a:prstDash val="solid"/>
            <a:miter lim="800000"/>
          </a:ln>
          <a:effectLst/>
        </p:spPr>
        <p:txBody>
          <a:bodyPr rtlCol="0" anchor="ctr"/>
          <a:lstStyle/>
          <a:p>
            <a:pPr algn="ctr"/>
            <a:endParaRPr lang="en-US" sz="1905" kern="0">
              <a:solidFill>
                <a:prstClr val="white"/>
              </a:solidFill>
              <a:latin typeface="Arial" panose="020B0604020202020204" pitchFamily="34" charset="0"/>
              <a:cs typeface="Arial" panose="020B0604020202020204" pitchFamily="34" charset="0"/>
            </a:endParaRPr>
          </a:p>
        </p:txBody>
      </p:sp>
      <p:sp>
        <p:nvSpPr>
          <p:cNvPr id="17" name="Rechteck: abgerundete Ecken 415">
            <a:extLst>
              <a:ext uri="{FF2B5EF4-FFF2-40B4-BE49-F238E27FC236}">
                <a16:creationId xmlns:a16="http://schemas.microsoft.com/office/drawing/2014/main" id="{77AEB570-CD3C-EC84-FBB0-B3F7746D1E35}"/>
              </a:ext>
            </a:extLst>
          </p:cNvPr>
          <p:cNvSpPr/>
          <p:nvPr/>
        </p:nvSpPr>
        <p:spPr>
          <a:xfrm>
            <a:off x="9527842" y="1313902"/>
            <a:ext cx="2048526" cy="893612"/>
          </a:xfrm>
          <a:prstGeom prst="roundRect">
            <a:avLst>
              <a:gd name="adj" fmla="val 8521"/>
            </a:avLst>
          </a:prstGeom>
          <a:solidFill>
            <a:srgbClr val="CACCC2"/>
          </a:solidFill>
          <a:ln w="19050" cap="flat" cmpd="sng" algn="ctr">
            <a:noFill/>
            <a:prstDash val="solid"/>
            <a:miter lim="800000"/>
          </a:ln>
          <a:effectLst/>
        </p:spPr>
        <p:txBody>
          <a:bodyPr rtlCol="0" anchor="ctr"/>
          <a:lstStyle/>
          <a:p>
            <a:pPr algn="ctr"/>
            <a:endParaRPr lang="en-US" sz="1905" kern="0">
              <a:solidFill>
                <a:prstClr val="white"/>
              </a:solidFill>
              <a:latin typeface="Arial" panose="020B0604020202020204" pitchFamily="34" charset="0"/>
              <a:cs typeface="Arial" panose="020B0604020202020204" pitchFamily="34" charset="0"/>
            </a:endParaRPr>
          </a:p>
        </p:txBody>
      </p:sp>
      <p:cxnSp>
        <p:nvCxnSpPr>
          <p:cNvPr id="18" name="Gerader Verbinder 416">
            <a:extLst>
              <a:ext uri="{FF2B5EF4-FFF2-40B4-BE49-F238E27FC236}">
                <a16:creationId xmlns:a16="http://schemas.microsoft.com/office/drawing/2014/main" id="{8E5329D5-AEBE-0237-1871-24D69DB9841D}"/>
              </a:ext>
            </a:extLst>
          </p:cNvPr>
          <p:cNvCxnSpPr/>
          <p:nvPr/>
        </p:nvCxnSpPr>
        <p:spPr>
          <a:xfrm>
            <a:off x="4600373" y="1841347"/>
            <a:ext cx="0" cy="375218"/>
          </a:xfrm>
          <a:prstGeom prst="line">
            <a:avLst/>
          </a:prstGeom>
          <a:noFill/>
          <a:ln w="12700" cap="flat" cmpd="sng" algn="ctr">
            <a:solidFill>
              <a:schemeClr val="bg1"/>
            </a:solidFill>
            <a:prstDash val="solid"/>
            <a:miter lim="800000"/>
          </a:ln>
          <a:effectLst/>
        </p:spPr>
      </p:cxnSp>
      <p:cxnSp>
        <p:nvCxnSpPr>
          <p:cNvPr id="19" name="Gerader Verbinder 417">
            <a:extLst>
              <a:ext uri="{FF2B5EF4-FFF2-40B4-BE49-F238E27FC236}">
                <a16:creationId xmlns:a16="http://schemas.microsoft.com/office/drawing/2014/main" id="{53CDDD9D-CF06-6DE2-26FC-55EE7053614D}"/>
              </a:ext>
            </a:extLst>
          </p:cNvPr>
          <p:cNvCxnSpPr/>
          <p:nvPr/>
        </p:nvCxnSpPr>
        <p:spPr>
          <a:xfrm>
            <a:off x="10072601" y="1841347"/>
            <a:ext cx="0" cy="375218"/>
          </a:xfrm>
          <a:prstGeom prst="line">
            <a:avLst/>
          </a:prstGeom>
          <a:noFill/>
          <a:ln w="12700" cap="flat" cmpd="sng" algn="ctr">
            <a:solidFill>
              <a:schemeClr val="bg1"/>
            </a:solidFill>
            <a:prstDash val="solid"/>
            <a:miter lim="800000"/>
          </a:ln>
          <a:effectLst/>
        </p:spPr>
      </p:cxnSp>
      <p:cxnSp>
        <p:nvCxnSpPr>
          <p:cNvPr id="20" name="Gerader Verbinder 418">
            <a:extLst>
              <a:ext uri="{FF2B5EF4-FFF2-40B4-BE49-F238E27FC236}">
                <a16:creationId xmlns:a16="http://schemas.microsoft.com/office/drawing/2014/main" id="{8B396554-FD16-511A-A638-C7C86A92EC5A}"/>
              </a:ext>
            </a:extLst>
          </p:cNvPr>
          <p:cNvCxnSpPr/>
          <p:nvPr/>
        </p:nvCxnSpPr>
        <p:spPr>
          <a:xfrm>
            <a:off x="10593076" y="1841347"/>
            <a:ext cx="0" cy="375218"/>
          </a:xfrm>
          <a:prstGeom prst="line">
            <a:avLst/>
          </a:prstGeom>
          <a:noFill/>
          <a:ln w="12700" cap="flat" cmpd="sng" algn="ctr">
            <a:solidFill>
              <a:schemeClr val="bg1"/>
            </a:solidFill>
            <a:prstDash val="solid"/>
            <a:miter lim="800000"/>
          </a:ln>
          <a:effectLst/>
        </p:spPr>
      </p:cxnSp>
      <p:cxnSp>
        <p:nvCxnSpPr>
          <p:cNvPr id="21" name="Gerader Verbinder 419">
            <a:extLst>
              <a:ext uri="{FF2B5EF4-FFF2-40B4-BE49-F238E27FC236}">
                <a16:creationId xmlns:a16="http://schemas.microsoft.com/office/drawing/2014/main" id="{7083A66D-4740-4298-6119-C7A08C215AE4}"/>
              </a:ext>
            </a:extLst>
          </p:cNvPr>
          <p:cNvCxnSpPr/>
          <p:nvPr/>
        </p:nvCxnSpPr>
        <p:spPr>
          <a:xfrm>
            <a:off x="11093807" y="1841347"/>
            <a:ext cx="0" cy="375218"/>
          </a:xfrm>
          <a:prstGeom prst="line">
            <a:avLst/>
          </a:prstGeom>
          <a:noFill/>
          <a:ln w="12700" cap="flat" cmpd="sng" algn="ctr">
            <a:solidFill>
              <a:schemeClr val="bg1"/>
            </a:solidFill>
            <a:prstDash val="solid"/>
            <a:miter lim="800000"/>
          </a:ln>
          <a:effectLst/>
        </p:spPr>
      </p:cxnSp>
      <p:pic>
        <p:nvPicPr>
          <p:cNvPr id="22" name="Picture 5">
            <a:extLst>
              <a:ext uri="{FF2B5EF4-FFF2-40B4-BE49-F238E27FC236}">
                <a16:creationId xmlns:a16="http://schemas.microsoft.com/office/drawing/2014/main" id="{CC8609FF-9891-FF92-B8D2-464E30127FF7}"/>
              </a:ext>
            </a:extLst>
          </p:cNvPr>
          <p:cNvPicPr>
            <a:picLocks noChangeAspect="1" noChangeArrowheads="1"/>
          </p:cNvPicPr>
          <p:nvPr/>
        </p:nvPicPr>
        <p:blipFill>
          <a:blip r:embed="rId5">
            <a:grayscl/>
            <a:extLst>
              <a:ext uri="{28A0092B-C50C-407E-A947-70E740481C1C}">
                <a14:useLocalDpi xmlns:a14="http://schemas.microsoft.com/office/drawing/2010/main" val="0"/>
              </a:ext>
            </a:extLst>
          </a:blip>
          <a:srcRect/>
          <a:stretch>
            <a:fillRect/>
          </a:stretch>
        </p:blipFill>
        <p:spPr bwMode="auto">
          <a:xfrm>
            <a:off x="9600181" y="1375083"/>
            <a:ext cx="805000" cy="191794"/>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9">
            <a:extLst>
              <a:ext uri="{FF2B5EF4-FFF2-40B4-BE49-F238E27FC236}">
                <a16:creationId xmlns:a16="http://schemas.microsoft.com/office/drawing/2014/main" id="{B21A6160-5FFE-88C0-4464-E78B3D8071EB}"/>
              </a:ext>
            </a:extLst>
          </p:cNvPr>
          <p:cNvPicPr>
            <a:picLocks noChangeAspect="1" noChangeArrowheads="1"/>
          </p:cNvPicPr>
          <p:nvPr/>
        </p:nvPicPr>
        <p:blipFill>
          <a:blip r:embed="rId6">
            <a:grayscl/>
            <a:extLst>
              <a:ext uri="{28A0092B-C50C-407E-A947-70E740481C1C}">
                <a14:useLocalDpi xmlns:a14="http://schemas.microsoft.com/office/drawing/2010/main" val="0"/>
              </a:ext>
            </a:extLst>
          </a:blip>
          <a:srcRect/>
          <a:stretch>
            <a:fillRect/>
          </a:stretch>
        </p:blipFill>
        <p:spPr bwMode="auto">
          <a:xfrm>
            <a:off x="5538404" y="1340840"/>
            <a:ext cx="475980" cy="242613"/>
          </a:xfrm>
          <a:prstGeom prst="rect">
            <a:avLst/>
          </a:prstGeom>
          <a:noFill/>
          <a:extLst>
            <a:ext uri="{909E8E84-426E-40DD-AFC4-6F175D3DCCD1}">
              <a14:hiddenFill xmlns:a14="http://schemas.microsoft.com/office/drawing/2010/main">
                <a:solidFill>
                  <a:srgbClr val="FFFFFF"/>
                </a:solidFill>
              </a14:hiddenFill>
            </a:ext>
          </a:extLst>
        </p:spPr>
      </p:pic>
      <p:sp>
        <p:nvSpPr>
          <p:cNvPr id="24" name="Textfeld 422">
            <a:extLst>
              <a:ext uri="{FF2B5EF4-FFF2-40B4-BE49-F238E27FC236}">
                <a16:creationId xmlns:a16="http://schemas.microsoft.com/office/drawing/2014/main" id="{247D90FB-9399-1328-DA55-CA621384EF3D}"/>
              </a:ext>
            </a:extLst>
          </p:cNvPr>
          <p:cNvSpPr txBox="1"/>
          <p:nvPr/>
        </p:nvSpPr>
        <p:spPr>
          <a:xfrm>
            <a:off x="4051351" y="1333478"/>
            <a:ext cx="1679284" cy="43306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64" i="0" u="none" strike="noStrike" kern="0" cap="none" spc="0" normalizeH="0" baseline="0" err="1">
                <a:ln>
                  <a:noFill/>
                </a:ln>
                <a:solidFill>
                  <a:schemeClr val="bg1"/>
                </a:solidFill>
                <a:effectLst/>
                <a:uLnTx/>
                <a:uFillTx/>
                <a:latin typeface="Arial" panose="020B0604020202020204" pitchFamily="34" charset="0"/>
                <a:cs typeface="Arial" panose="020B0604020202020204" pitchFamily="34" charset="0"/>
              </a:rPr>
              <a:t>GreenToken</a:t>
            </a:r>
            <a:r>
              <a:rPr kumimoji="0" lang="en-US" sz="1164"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rPr>
              <a:t> SaaS</a:t>
            </a:r>
            <a:br>
              <a:rPr kumimoji="0" lang="en-US" sz="1164"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rPr>
            </a:br>
            <a:r>
              <a:rPr kumimoji="0" lang="en-US" sz="1000"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rPr>
              <a:t>licensed to</a:t>
            </a:r>
            <a:endParaRPr kumimoji="0" lang="en-US" sz="1164"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sp>
        <p:nvSpPr>
          <p:cNvPr id="25" name="Textfeld 423">
            <a:extLst>
              <a:ext uri="{FF2B5EF4-FFF2-40B4-BE49-F238E27FC236}">
                <a16:creationId xmlns:a16="http://schemas.microsoft.com/office/drawing/2014/main" id="{B69F102F-172C-41DC-C181-4617221AFAA8}"/>
              </a:ext>
            </a:extLst>
          </p:cNvPr>
          <p:cNvSpPr txBox="1"/>
          <p:nvPr/>
        </p:nvSpPr>
        <p:spPr>
          <a:xfrm>
            <a:off x="10403850" y="1319536"/>
            <a:ext cx="1172518" cy="433067"/>
          </a:xfrm>
          <a:prstGeom prst="rect">
            <a:avLst/>
          </a:prstGeom>
          <a:noFill/>
        </p:spPr>
        <p:txBody>
          <a:bodyPr wrap="square" rtlCol="0">
            <a:spAutoFit/>
          </a:bodyPr>
          <a:lstStyle/>
          <a:p>
            <a:pPr lvl="0" algn="r">
              <a:defRPr/>
            </a:pPr>
            <a:r>
              <a:rPr kumimoji="0" lang="en-US" sz="1164"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rPr>
              <a:t>SiGreen SaaS</a:t>
            </a:r>
            <a:br>
              <a:rPr kumimoji="0" lang="en-US" sz="1164"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rPr>
            </a:br>
            <a:r>
              <a:rPr lang="en-US" sz="1000" kern="0">
                <a:solidFill>
                  <a:schemeClr val="bg1"/>
                </a:solidFill>
                <a:latin typeface="Arial" panose="020B0604020202020204" pitchFamily="34" charset="0"/>
                <a:cs typeface="Arial" panose="020B0604020202020204" pitchFamily="34" charset="0"/>
              </a:rPr>
              <a:t>licensed to</a:t>
            </a:r>
            <a:endParaRPr kumimoji="0" lang="en-US" sz="1164"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endParaRPr>
          </a:p>
        </p:txBody>
      </p:sp>
      <p:pic>
        <p:nvPicPr>
          <p:cNvPr id="26" name="Grafik 424">
            <a:extLst>
              <a:ext uri="{FF2B5EF4-FFF2-40B4-BE49-F238E27FC236}">
                <a16:creationId xmlns:a16="http://schemas.microsoft.com/office/drawing/2014/main" id="{41A7F8F3-7820-1E03-7D73-AD53CB74614A}"/>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4269478" y="1914236"/>
            <a:ext cx="171449" cy="171449"/>
          </a:xfrm>
          <a:prstGeom prst="rect">
            <a:avLst/>
          </a:prstGeom>
        </p:spPr>
      </p:pic>
      <p:pic>
        <p:nvPicPr>
          <p:cNvPr id="27" name="Picture 16">
            <a:extLst>
              <a:ext uri="{FF2B5EF4-FFF2-40B4-BE49-F238E27FC236}">
                <a16:creationId xmlns:a16="http://schemas.microsoft.com/office/drawing/2014/main" id="{5A84B8F5-E63A-CE79-AECF-E7753674166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p:blipFill>
        <p:spPr bwMode="auto">
          <a:xfrm>
            <a:off x="10641789" y="1928840"/>
            <a:ext cx="434524" cy="156846"/>
          </a:xfrm>
          <a:prstGeom prst="rect">
            <a:avLst/>
          </a:prstGeom>
          <a:noFill/>
          <a:extLst>
            <a:ext uri="{909E8E84-426E-40DD-AFC4-6F175D3DCCD1}">
              <a14:hiddenFill xmlns:a14="http://schemas.microsoft.com/office/drawing/2010/main">
                <a:solidFill>
                  <a:srgbClr val="FFFFFF"/>
                </a:solidFill>
              </a14:hiddenFill>
            </a:ext>
          </a:extLst>
        </p:spPr>
      </p:pic>
      <p:sp>
        <p:nvSpPr>
          <p:cNvPr id="28" name="Textfeld 427">
            <a:extLst>
              <a:ext uri="{FF2B5EF4-FFF2-40B4-BE49-F238E27FC236}">
                <a16:creationId xmlns:a16="http://schemas.microsoft.com/office/drawing/2014/main" id="{733359EA-52E8-26E4-B079-D79837013C22}"/>
              </a:ext>
            </a:extLst>
          </p:cNvPr>
          <p:cNvSpPr txBox="1"/>
          <p:nvPr/>
        </p:nvSpPr>
        <p:spPr>
          <a:xfrm>
            <a:off x="4535280" y="1679496"/>
            <a:ext cx="1364337" cy="24622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rPr>
              <a:t>Tenant    Tenant      </a:t>
            </a:r>
          </a:p>
        </p:txBody>
      </p:sp>
      <p:sp>
        <p:nvSpPr>
          <p:cNvPr id="29" name="Textfeld 428">
            <a:extLst>
              <a:ext uri="{FF2B5EF4-FFF2-40B4-BE49-F238E27FC236}">
                <a16:creationId xmlns:a16="http://schemas.microsoft.com/office/drawing/2014/main" id="{8C22EDCD-6114-9883-D0CB-615B9E9A7808}"/>
              </a:ext>
            </a:extLst>
          </p:cNvPr>
          <p:cNvSpPr txBox="1"/>
          <p:nvPr/>
        </p:nvSpPr>
        <p:spPr>
          <a:xfrm>
            <a:off x="10023252" y="1655573"/>
            <a:ext cx="818754" cy="24622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rPr>
              <a:t>Tenant </a:t>
            </a:r>
          </a:p>
        </p:txBody>
      </p:sp>
      <p:sp>
        <p:nvSpPr>
          <p:cNvPr id="30" name="Textfeld 429">
            <a:extLst>
              <a:ext uri="{FF2B5EF4-FFF2-40B4-BE49-F238E27FC236}">
                <a16:creationId xmlns:a16="http://schemas.microsoft.com/office/drawing/2014/main" id="{BB945BB9-45E0-EFBD-06B9-5904A6058965}"/>
              </a:ext>
            </a:extLst>
          </p:cNvPr>
          <p:cNvSpPr txBox="1"/>
          <p:nvPr/>
        </p:nvSpPr>
        <p:spPr>
          <a:xfrm>
            <a:off x="10541144" y="1655573"/>
            <a:ext cx="1141373" cy="24622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rPr>
              <a:t>Tenant    Tenant</a:t>
            </a:r>
          </a:p>
        </p:txBody>
      </p:sp>
      <p:cxnSp>
        <p:nvCxnSpPr>
          <p:cNvPr id="31" name="Gerader Verbinder 430">
            <a:extLst>
              <a:ext uri="{FF2B5EF4-FFF2-40B4-BE49-F238E27FC236}">
                <a16:creationId xmlns:a16="http://schemas.microsoft.com/office/drawing/2014/main" id="{3CBF4C0A-42C8-67B3-67BB-F163A9AA8850}"/>
              </a:ext>
            </a:extLst>
          </p:cNvPr>
          <p:cNvCxnSpPr/>
          <p:nvPr/>
        </p:nvCxnSpPr>
        <p:spPr>
          <a:xfrm>
            <a:off x="5095980" y="1848009"/>
            <a:ext cx="0" cy="375218"/>
          </a:xfrm>
          <a:prstGeom prst="line">
            <a:avLst/>
          </a:prstGeom>
          <a:noFill/>
          <a:ln w="12700" cap="flat" cmpd="sng" algn="ctr">
            <a:solidFill>
              <a:schemeClr val="bg1"/>
            </a:solidFill>
            <a:prstDash val="solid"/>
            <a:miter lim="800000"/>
          </a:ln>
          <a:effectLst/>
        </p:spPr>
      </p:cxnSp>
      <p:sp>
        <p:nvSpPr>
          <p:cNvPr id="32" name="Textfeld 431">
            <a:extLst>
              <a:ext uri="{FF2B5EF4-FFF2-40B4-BE49-F238E27FC236}">
                <a16:creationId xmlns:a16="http://schemas.microsoft.com/office/drawing/2014/main" id="{54F64353-7641-ED6B-CDE0-00D8FD2576D4}"/>
              </a:ext>
            </a:extLst>
          </p:cNvPr>
          <p:cNvSpPr txBox="1"/>
          <p:nvPr/>
        </p:nvSpPr>
        <p:spPr>
          <a:xfrm>
            <a:off x="4043760" y="1684809"/>
            <a:ext cx="681079" cy="24622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rPr>
              <a:t>Tenant </a:t>
            </a:r>
          </a:p>
        </p:txBody>
      </p:sp>
      <p:cxnSp>
        <p:nvCxnSpPr>
          <p:cNvPr id="33" name="Gerader Verbinder 147">
            <a:extLst>
              <a:ext uri="{FF2B5EF4-FFF2-40B4-BE49-F238E27FC236}">
                <a16:creationId xmlns:a16="http://schemas.microsoft.com/office/drawing/2014/main" id="{1823BCD9-3C43-F671-149A-1987635509AF}"/>
              </a:ext>
            </a:extLst>
          </p:cNvPr>
          <p:cNvCxnSpPr/>
          <p:nvPr/>
        </p:nvCxnSpPr>
        <p:spPr>
          <a:xfrm>
            <a:off x="5604108" y="1823025"/>
            <a:ext cx="0" cy="375218"/>
          </a:xfrm>
          <a:prstGeom prst="line">
            <a:avLst/>
          </a:prstGeom>
          <a:noFill/>
          <a:ln w="12700" cap="flat" cmpd="sng" algn="ctr">
            <a:solidFill>
              <a:schemeClr val="bg1"/>
            </a:solidFill>
            <a:prstDash val="solid"/>
            <a:miter lim="800000"/>
          </a:ln>
          <a:effectLst/>
        </p:spPr>
      </p:cxnSp>
      <p:pic>
        <p:nvPicPr>
          <p:cNvPr id="36" name="Picture 2" descr="Cloud Flat Icon Vektor Symbol Oder Logo Einfache Cloud Stock Vektor Art und  mehr Bilder von Bedeckter Himmel - iStock">
            <a:extLst>
              <a:ext uri="{FF2B5EF4-FFF2-40B4-BE49-F238E27FC236}">
                <a16:creationId xmlns:a16="http://schemas.microsoft.com/office/drawing/2014/main" id="{7ECED5B5-C9AF-06A0-7AA5-9BEB405B0E92}"/>
              </a:ext>
            </a:extLst>
          </p:cNvPr>
          <p:cNvPicPr>
            <a:picLocks noChangeAspect="1" noChangeArrowheads="1"/>
          </p:cNvPicPr>
          <p:nvPr/>
        </p:nvPicPr>
        <p:blipFill rotWithShape="1">
          <a:blip r:embed="rId10">
            <a:clrChange>
              <a:clrFrom>
                <a:srgbClr val="FFFFFF"/>
              </a:clrFrom>
              <a:clrTo>
                <a:srgbClr val="FFFFFF">
                  <a:alpha val="0"/>
                </a:srgbClr>
              </a:clrTo>
            </a:clrChange>
            <a:duotone>
              <a:prstClr val="black"/>
              <a:srgbClr val="E8E7E7">
                <a:tint val="45000"/>
                <a:satMod val="400000"/>
              </a:srgbClr>
            </a:duotone>
            <a:extLst>
              <a:ext uri="{28A0092B-C50C-407E-A947-70E740481C1C}">
                <a14:useLocalDpi xmlns:a14="http://schemas.microsoft.com/office/drawing/2010/main" val="0"/>
              </a:ext>
            </a:extLst>
          </a:blip>
          <a:srcRect t="27456" b="27443"/>
          <a:stretch/>
        </p:blipFill>
        <p:spPr bwMode="auto">
          <a:xfrm>
            <a:off x="784740" y="3332149"/>
            <a:ext cx="2152072" cy="1110882"/>
          </a:xfrm>
          <a:prstGeom prst="rect">
            <a:avLst/>
          </a:prstGeom>
          <a:noFill/>
          <a:extLst>
            <a:ext uri="{909E8E84-426E-40DD-AFC4-6F175D3DCCD1}">
              <a14:hiddenFill xmlns:a14="http://schemas.microsoft.com/office/drawing/2010/main">
                <a:solidFill>
                  <a:srgbClr val="FFFFFF"/>
                </a:solidFill>
              </a14:hiddenFill>
            </a:ext>
          </a:extLst>
        </p:spPr>
      </p:pic>
      <p:grpSp>
        <p:nvGrpSpPr>
          <p:cNvPr id="75" name="Gruppieren 1">
            <a:extLst>
              <a:ext uri="{FF2B5EF4-FFF2-40B4-BE49-F238E27FC236}">
                <a16:creationId xmlns:a16="http://schemas.microsoft.com/office/drawing/2014/main" id="{926359CE-7CD2-A745-3D10-3213B4680474}"/>
              </a:ext>
            </a:extLst>
          </p:cNvPr>
          <p:cNvGrpSpPr/>
          <p:nvPr/>
        </p:nvGrpSpPr>
        <p:grpSpPr>
          <a:xfrm>
            <a:off x="4059489" y="5451460"/>
            <a:ext cx="855360" cy="434831"/>
            <a:chOff x="3138011" y="5870969"/>
            <a:chExt cx="855360" cy="434831"/>
          </a:xfrm>
        </p:grpSpPr>
        <p:sp>
          <p:nvSpPr>
            <p:cNvPr id="76" name="Zylinder 385">
              <a:extLst>
                <a:ext uri="{FF2B5EF4-FFF2-40B4-BE49-F238E27FC236}">
                  <a16:creationId xmlns:a16="http://schemas.microsoft.com/office/drawing/2014/main" id="{8DBD0763-5D27-A830-3B9C-2E69928295F8}"/>
                </a:ext>
              </a:extLst>
            </p:cNvPr>
            <p:cNvSpPr/>
            <p:nvPr/>
          </p:nvSpPr>
          <p:spPr>
            <a:xfrm>
              <a:off x="3310095" y="5870969"/>
              <a:ext cx="501775" cy="426468"/>
            </a:xfrm>
            <a:prstGeom prst="can">
              <a:avLst/>
            </a:pr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905" b="0" i="0" u="none" strike="noStrike" kern="0" cap="none" spc="0" normalizeH="0" baseline="0">
                <a:ln>
                  <a:noFill/>
                </a:ln>
                <a:solidFill>
                  <a:prstClr val="white"/>
                </a:solidFill>
                <a:effectLst/>
                <a:uLnTx/>
                <a:uFillTx/>
                <a:latin typeface="Arial" panose="020B0604020202020204" pitchFamily="34" charset="0"/>
                <a:cs typeface="Arial" panose="020B0604020202020204" pitchFamily="34" charset="0"/>
              </a:endParaRPr>
            </a:p>
          </p:txBody>
        </p:sp>
        <p:sp>
          <p:nvSpPr>
            <p:cNvPr id="77" name="Textfeld 386">
              <a:extLst>
                <a:ext uri="{FF2B5EF4-FFF2-40B4-BE49-F238E27FC236}">
                  <a16:creationId xmlns:a16="http://schemas.microsoft.com/office/drawing/2014/main" id="{2FD8E90C-A2A8-E56E-7718-B38A1FA8EEB4}"/>
                </a:ext>
              </a:extLst>
            </p:cNvPr>
            <p:cNvSpPr txBox="1"/>
            <p:nvPr/>
          </p:nvSpPr>
          <p:spPr>
            <a:xfrm>
              <a:off x="3138011" y="6049468"/>
              <a:ext cx="735051" cy="238848"/>
            </a:xfrm>
            <a:prstGeom prst="rect">
              <a:avLst/>
            </a:prstGeom>
            <a:noFill/>
          </p:spPr>
          <p:txBody>
            <a:bodyPr wrap="square" rtlCol="0">
              <a:spAutoFit/>
            </a:bodyPr>
            <a:lstStyle/>
            <a:p>
              <a:pPr algn="ctr"/>
              <a:r>
                <a:rPr lang="en-US" sz="952">
                  <a:solidFill>
                    <a:prstClr val="white"/>
                  </a:solidFill>
                  <a:latin typeface="Arial" panose="020B0604020202020204" pitchFamily="34" charset="0"/>
                  <a:cs typeface="Arial" panose="020B0604020202020204" pitchFamily="34" charset="0"/>
                </a:rPr>
                <a:t>…</a:t>
              </a:r>
            </a:p>
          </p:txBody>
        </p:sp>
        <p:sp>
          <p:nvSpPr>
            <p:cNvPr id="78" name="Zylinder 627">
              <a:extLst>
                <a:ext uri="{FF2B5EF4-FFF2-40B4-BE49-F238E27FC236}">
                  <a16:creationId xmlns:a16="http://schemas.microsoft.com/office/drawing/2014/main" id="{244AE813-20C4-408B-4C79-2E7573385351}"/>
                </a:ext>
              </a:extLst>
            </p:cNvPr>
            <p:cNvSpPr/>
            <p:nvPr/>
          </p:nvSpPr>
          <p:spPr>
            <a:xfrm>
              <a:off x="3379309" y="5879332"/>
              <a:ext cx="470276" cy="426468"/>
            </a:xfrm>
            <a:prstGeom prst="can">
              <a:avLst/>
            </a:prstGeom>
            <a:solidFill>
              <a:srgbClr val="E8E7E7">
                <a:lumMod val="75000"/>
              </a:srgbClr>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905" b="0" i="0" u="none" strike="noStrike" kern="0" cap="none" spc="0" normalizeH="0" baseline="0">
                <a:ln>
                  <a:noFill/>
                </a:ln>
                <a:solidFill>
                  <a:prstClr val="white"/>
                </a:solidFill>
                <a:effectLst/>
                <a:uLnTx/>
                <a:uFillTx/>
                <a:latin typeface="Arial" panose="020B0604020202020204" pitchFamily="34" charset="0"/>
                <a:cs typeface="Arial" panose="020B0604020202020204" pitchFamily="34" charset="0"/>
              </a:endParaRPr>
            </a:p>
          </p:txBody>
        </p:sp>
        <p:sp>
          <p:nvSpPr>
            <p:cNvPr id="79" name="Textfeld 628">
              <a:extLst>
                <a:ext uri="{FF2B5EF4-FFF2-40B4-BE49-F238E27FC236}">
                  <a16:creationId xmlns:a16="http://schemas.microsoft.com/office/drawing/2014/main" id="{EA844A4E-D2E4-B70A-1E9D-FE41F3246AE7}"/>
                </a:ext>
              </a:extLst>
            </p:cNvPr>
            <p:cNvSpPr txBox="1"/>
            <p:nvPr/>
          </p:nvSpPr>
          <p:spPr>
            <a:xfrm>
              <a:off x="3258320" y="5976173"/>
              <a:ext cx="735051" cy="271485"/>
            </a:xfrm>
            <a:prstGeom prst="rect">
              <a:avLst/>
            </a:prstGeom>
            <a:noFill/>
          </p:spPr>
          <p:txBody>
            <a:bodyPr wrap="square" rtlCol="0">
              <a:spAutoFit/>
            </a:bodyPr>
            <a:lstStyle/>
            <a:p>
              <a:pPr algn="ctr"/>
              <a:r>
                <a:rPr lang="en-US" sz="1164">
                  <a:solidFill>
                    <a:prstClr val="white"/>
                  </a:solidFill>
                  <a:latin typeface="Arial" panose="020B0604020202020204" pitchFamily="34" charset="0"/>
                  <a:cs typeface="Arial" panose="020B0604020202020204" pitchFamily="34" charset="0"/>
                </a:rPr>
                <a:t>IAM</a:t>
              </a:r>
            </a:p>
          </p:txBody>
        </p:sp>
      </p:grpSp>
      <p:pic>
        <p:nvPicPr>
          <p:cNvPr id="81" name="Grafik 634">
            <a:extLst>
              <a:ext uri="{FF2B5EF4-FFF2-40B4-BE49-F238E27FC236}">
                <a16:creationId xmlns:a16="http://schemas.microsoft.com/office/drawing/2014/main" id="{61946B23-ED6A-14BC-D5DC-6430DB874973}"/>
              </a:ext>
            </a:extLst>
          </p:cNvPr>
          <p:cNvPicPr>
            <a:picLocks noChangeAspect="1"/>
          </p:cNvPicPr>
          <p:nvPr/>
        </p:nvPicPr>
        <p:blipFill>
          <a:blip r:embed="rId11">
            <a:duotone>
              <a:schemeClr val="bg2">
                <a:shade val="45000"/>
                <a:satMod val="135000"/>
              </a:schemeClr>
              <a:prstClr val="white"/>
            </a:duotone>
          </a:blip>
          <a:stretch>
            <a:fillRect/>
          </a:stretch>
        </p:blipFill>
        <p:spPr>
          <a:xfrm>
            <a:off x="11151655" y="4118174"/>
            <a:ext cx="716095" cy="258746"/>
          </a:xfrm>
          <a:prstGeom prst="rect">
            <a:avLst/>
          </a:prstGeom>
        </p:spPr>
      </p:pic>
      <p:sp>
        <p:nvSpPr>
          <p:cNvPr id="82" name="Zylinder 637">
            <a:extLst>
              <a:ext uri="{FF2B5EF4-FFF2-40B4-BE49-F238E27FC236}">
                <a16:creationId xmlns:a16="http://schemas.microsoft.com/office/drawing/2014/main" id="{DC83B462-A798-B9E8-5D2B-1C07454B8B29}"/>
              </a:ext>
            </a:extLst>
          </p:cNvPr>
          <p:cNvSpPr/>
          <p:nvPr/>
        </p:nvSpPr>
        <p:spPr>
          <a:xfrm>
            <a:off x="10176094" y="5451869"/>
            <a:ext cx="501775" cy="426468"/>
          </a:xfrm>
          <a:prstGeom prst="can">
            <a:avLst/>
          </a:pr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905" b="0" i="0" u="none" strike="noStrike" kern="0" cap="none" spc="0" normalizeH="0" baseline="0">
              <a:ln>
                <a:noFill/>
              </a:ln>
              <a:solidFill>
                <a:prstClr val="white"/>
              </a:solidFill>
              <a:effectLst/>
              <a:uLnTx/>
              <a:uFillTx/>
              <a:latin typeface="Arial" panose="020B0604020202020204" pitchFamily="34" charset="0"/>
              <a:cs typeface="Arial" panose="020B0604020202020204" pitchFamily="34" charset="0"/>
            </a:endParaRPr>
          </a:p>
        </p:txBody>
      </p:sp>
      <p:sp>
        <p:nvSpPr>
          <p:cNvPr id="83" name="Textfeld 638">
            <a:extLst>
              <a:ext uri="{FF2B5EF4-FFF2-40B4-BE49-F238E27FC236}">
                <a16:creationId xmlns:a16="http://schemas.microsoft.com/office/drawing/2014/main" id="{3F6A0565-0433-FC44-901F-6655A88F35C4}"/>
              </a:ext>
            </a:extLst>
          </p:cNvPr>
          <p:cNvSpPr txBox="1"/>
          <p:nvPr/>
        </p:nvSpPr>
        <p:spPr>
          <a:xfrm>
            <a:off x="10104988" y="5630368"/>
            <a:ext cx="735051" cy="238848"/>
          </a:xfrm>
          <a:prstGeom prst="rect">
            <a:avLst/>
          </a:prstGeom>
          <a:noFill/>
        </p:spPr>
        <p:txBody>
          <a:bodyPr wrap="square" rtlCol="0">
            <a:spAutoFit/>
          </a:bodyPr>
          <a:lstStyle/>
          <a:p>
            <a:pPr algn="ctr"/>
            <a:r>
              <a:rPr lang="en-US" sz="952">
                <a:solidFill>
                  <a:prstClr val="white"/>
                </a:solidFill>
                <a:latin typeface="Arial" panose="020B0604020202020204" pitchFamily="34" charset="0"/>
                <a:cs typeface="Arial" panose="020B0604020202020204" pitchFamily="34" charset="0"/>
              </a:rPr>
              <a:t>…</a:t>
            </a:r>
          </a:p>
        </p:txBody>
      </p:sp>
      <p:sp>
        <p:nvSpPr>
          <p:cNvPr id="84" name="Rechteck 639">
            <a:extLst>
              <a:ext uri="{FF2B5EF4-FFF2-40B4-BE49-F238E27FC236}">
                <a16:creationId xmlns:a16="http://schemas.microsoft.com/office/drawing/2014/main" id="{A4C0B4D6-4E17-FCCC-CBD5-24AE0A77875C}"/>
              </a:ext>
            </a:extLst>
          </p:cNvPr>
          <p:cNvSpPr/>
          <p:nvPr/>
        </p:nvSpPr>
        <p:spPr>
          <a:xfrm>
            <a:off x="10104988" y="5537497"/>
            <a:ext cx="1621918" cy="337159"/>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905" b="0" i="0" u="none" strike="noStrike" kern="0" cap="none" spc="0" normalizeH="0" baseline="0">
              <a:ln>
                <a:noFill/>
              </a:ln>
              <a:solidFill>
                <a:prstClr val="white"/>
              </a:solidFill>
              <a:effectLst/>
              <a:uLnTx/>
              <a:uFillTx/>
              <a:latin typeface="Arial" panose="020B0604020202020204" pitchFamily="34" charset="0"/>
              <a:cs typeface="Arial" panose="020B0604020202020204" pitchFamily="34" charset="0"/>
            </a:endParaRPr>
          </a:p>
        </p:txBody>
      </p:sp>
      <p:sp>
        <p:nvSpPr>
          <p:cNvPr id="85" name="Zylinder 641">
            <a:extLst>
              <a:ext uri="{FF2B5EF4-FFF2-40B4-BE49-F238E27FC236}">
                <a16:creationId xmlns:a16="http://schemas.microsoft.com/office/drawing/2014/main" id="{F218F491-D852-F0ED-5DFB-2D5DB360FB76}"/>
              </a:ext>
            </a:extLst>
          </p:cNvPr>
          <p:cNvSpPr/>
          <p:nvPr/>
        </p:nvSpPr>
        <p:spPr>
          <a:xfrm>
            <a:off x="10201593" y="5440012"/>
            <a:ext cx="470276" cy="426468"/>
          </a:xfrm>
          <a:prstGeom prst="can">
            <a:avLst/>
          </a:prstGeom>
          <a:solidFill>
            <a:srgbClr val="E8E7E7">
              <a:lumMod val="75000"/>
            </a:srgbClr>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905" b="0" i="0" u="none" strike="noStrike" kern="0" cap="none" spc="0" normalizeH="0" baseline="0">
              <a:ln>
                <a:noFill/>
              </a:ln>
              <a:solidFill>
                <a:prstClr val="white"/>
              </a:solidFill>
              <a:effectLst/>
              <a:uLnTx/>
              <a:uFillTx/>
              <a:latin typeface="Arial" panose="020B0604020202020204" pitchFamily="34" charset="0"/>
              <a:cs typeface="Arial" panose="020B0604020202020204" pitchFamily="34" charset="0"/>
            </a:endParaRPr>
          </a:p>
        </p:txBody>
      </p:sp>
      <p:sp>
        <p:nvSpPr>
          <p:cNvPr id="86" name="Textfeld 642">
            <a:extLst>
              <a:ext uri="{FF2B5EF4-FFF2-40B4-BE49-F238E27FC236}">
                <a16:creationId xmlns:a16="http://schemas.microsoft.com/office/drawing/2014/main" id="{A2022451-121D-2DE4-249E-60F5858BD8BC}"/>
              </a:ext>
            </a:extLst>
          </p:cNvPr>
          <p:cNvSpPr txBox="1"/>
          <p:nvPr/>
        </p:nvSpPr>
        <p:spPr>
          <a:xfrm>
            <a:off x="10186198" y="5550679"/>
            <a:ext cx="488783" cy="271485"/>
          </a:xfrm>
          <a:prstGeom prst="rect">
            <a:avLst/>
          </a:prstGeom>
          <a:noFill/>
        </p:spPr>
        <p:txBody>
          <a:bodyPr wrap="square" rtlCol="0">
            <a:spAutoFit/>
          </a:bodyPr>
          <a:lstStyle/>
          <a:p>
            <a:pPr algn="ctr"/>
            <a:r>
              <a:rPr lang="en-US" sz="1164">
                <a:solidFill>
                  <a:prstClr val="white"/>
                </a:solidFill>
                <a:latin typeface="Arial" panose="020B0604020202020204" pitchFamily="34" charset="0"/>
                <a:cs typeface="Arial" panose="020B0604020202020204" pitchFamily="34" charset="0"/>
              </a:rPr>
              <a:t>IAM</a:t>
            </a:r>
          </a:p>
        </p:txBody>
      </p:sp>
      <p:pic>
        <p:nvPicPr>
          <p:cNvPr id="118" name="Grafik 2">
            <a:extLst>
              <a:ext uri="{FF2B5EF4-FFF2-40B4-BE49-F238E27FC236}">
                <a16:creationId xmlns:a16="http://schemas.microsoft.com/office/drawing/2014/main" id="{FAD1E2BD-A437-A025-5CD0-1FAF437E568F}"/>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735644" y="5501547"/>
            <a:ext cx="454832" cy="379623"/>
          </a:xfrm>
          <a:prstGeom prst="rect">
            <a:avLst/>
          </a:prstGeom>
        </p:spPr>
      </p:pic>
      <p:pic>
        <p:nvPicPr>
          <p:cNvPr id="119" name="Grafik 153">
            <a:extLst>
              <a:ext uri="{FF2B5EF4-FFF2-40B4-BE49-F238E27FC236}">
                <a16:creationId xmlns:a16="http://schemas.microsoft.com/office/drawing/2014/main" id="{8B008BE0-13EC-4A51-6D3B-C8AEEDE5296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1206588" y="5501547"/>
            <a:ext cx="454832" cy="379623"/>
          </a:xfrm>
          <a:prstGeom prst="rect">
            <a:avLst/>
          </a:prstGeom>
        </p:spPr>
      </p:pic>
      <p:pic>
        <p:nvPicPr>
          <p:cNvPr id="120" name="Grafik 154">
            <a:extLst>
              <a:ext uri="{FF2B5EF4-FFF2-40B4-BE49-F238E27FC236}">
                <a16:creationId xmlns:a16="http://schemas.microsoft.com/office/drawing/2014/main" id="{D681CC0B-8CEA-DC33-17C5-84F93D44202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249859" y="5565910"/>
            <a:ext cx="403955" cy="337159"/>
          </a:xfrm>
          <a:prstGeom prst="rect">
            <a:avLst/>
          </a:prstGeom>
        </p:spPr>
      </p:pic>
      <p:pic>
        <p:nvPicPr>
          <p:cNvPr id="121" name="Grafik 155">
            <a:extLst>
              <a:ext uri="{FF2B5EF4-FFF2-40B4-BE49-F238E27FC236}">
                <a16:creationId xmlns:a16="http://schemas.microsoft.com/office/drawing/2014/main" id="{3D911B55-CD62-AF68-61C9-8F70AA1DC21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720803" y="5565910"/>
            <a:ext cx="403955" cy="337159"/>
          </a:xfrm>
          <a:prstGeom prst="rect">
            <a:avLst/>
          </a:prstGeom>
        </p:spPr>
      </p:pic>
      <p:sp>
        <p:nvSpPr>
          <p:cNvPr id="126" name="Textfeld 144">
            <a:extLst>
              <a:ext uri="{FF2B5EF4-FFF2-40B4-BE49-F238E27FC236}">
                <a16:creationId xmlns:a16="http://schemas.microsoft.com/office/drawing/2014/main" id="{30D3772F-A9F8-8C7A-37DE-D43980C3A9A8}"/>
              </a:ext>
            </a:extLst>
          </p:cNvPr>
          <p:cNvSpPr txBox="1"/>
          <p:nvPr/>
        </p:nvSpPr>
        <p:spPr>
          <a:xfrm>
            <a:off x="3271669" y="5420521"/>
            <a:ext cx="943958" cy="168401"/>
          </a:xfrm>
          <a:prstGeom prst="rect">
            <a:avLst/>
          </a:prstGeom>
          <a:noFill/>
          <a:ln>
            <a:noFill/>
          </a:ln>
        </p:spPr>
        <p:txBody>
          <a:bodyPr vert="horz" wrap="none" lIns="0" tIns="0" rIns="0" bIns="0" rtlCol="0" anchor="t" anchorCtr="0">
            <a:noAutofit/>
          </a:bodyPr>
          <a:lstStyle/>
          <a:p>
            <a:pPr algn="ctr"/>
            <a:r>
              <a:rPr lang="en-US" sz="900">
                <a:solidFill>
                  <a:schemeClr val="tx1">
                    <a:lumMod val="65000"/>
                    <a:lumOff val="35000"/>
                  </a:schemeClr>
                </a:solidFill>
                <a:latin typeface="Arial" panose="020B0604020202020204" pitchFamily="34" charset="0"/>
                <a:cs typeface="Arial" panose="020B0604020202020204" pitchFamily="34" charset="0"/>
              </a:rPr>
              <a:t>Digital Twins</a:t>
            </a:r>
          </a:p>
        </p:txBody>
      </p:sp>
      <p:sp>
        <p:nvSpPr>
          <p:cNvPr id="127" name="Textfeld 146">
            <a:extLst>
              <a:ext uri="{FF2B5EF4-FFF2-40B4-BE49-F238E27FC236}">
                <a16:creationId xmlns:a16="http://schemas.microsoft.com/office/drawing/2014/main" id="{9600C4A8-C4A6-7BAF-BFC8-B5FE8B52C426}"/>
              </a:ext>
            </a:extLst>
          </p:cNvPr>
          <p:cNvSpPr txBox="1"/>
          <p:nvPr/>
        </p:nvSpPr>
        <p:spPr>
          <a:xfrm>
            <a:off x="10744464" y="5380729"/>
            <a:ext cx="943958" cy="168401"/>
          </a:xfrm>
          <a:prstGeom prst="rect">
            <a:avLst/>
          </a:prstGeom>
          <a:noFill/>
          <a:ln>
            <a:noFill/>
          </a:ln>
        </p:spPr>
        <p:txBody>
          <a:bodyPr vert="horz" wrap="none" lIns="0" tIns="0" rIns="0" bIns="0" rtlCol="0" anchor="t" anchorCtr="0">
            <a:noAutofit/>
          </a:bodyPr>
          <a:lstStyle/>
          <a:p>
            <a:pPr algn="ctr"/>
            <a:r>
              <a:rPr lang="en-US" sz="900">
                <a:solidFill>
                  <a:schemeClr val="tx1">
                    <a:lumMod val="65000"/>
                    <a:lumOff val="35000"/>
                  </a:schemeClr>
                </a:solidFill>
                <a:latin typeface="Arial" panose="020B0604020202020204" pitchFamily="34" charset="0"/>
                <a:cs typeface="Arial" panose="020B0604020202020204" pitchFamily="34" charset="0"/>
              </a:rPr>
              <a:t>Digital Twins</a:t>
            </a:r>
          </a:p>
        </p:txBody>
      </p:sp>
      <p:grpSp>
        <p:nvGrpSpPr>
          <p:cNvPr id="128" name="Gruppieren 4">
            <a:extLst>
              <a:ext uri="{FF2B5EF4-FFF2-40B4-BE49-F238E27FC236}">
                <a16:creationId xmlns:a16="http://schemas.microsoft.com/office/drawing/2014/main" id="{1BA9C9DE-12A1-FF6F-B671-854E9E209D1C}"/>
              </a:ext>
            </a:extLst>
          </p:cNvPr>
          <p:cNvGrpSpPr/>
          <p:nvPr/>
        </p:nvGrpSpPr>
        <p:grpSpPr>
          <a:xfrm>
            <a:off x="3357148" y="4947097"/>
            <a:ext cx="572367" cy="353880"/>
            <a:chOff x="1385774" y="5944316"/>
            <a:chExt cx="572367" cy="353880"/>
          </a:xfrm>
        </p:grpSpPr>
        <p:sp>
          <p:nvSpPr>
            <p:cNvPr id="129" name="Freihandform: Form 149">
              <a:extLst>
                <a:ext uri="{FF2B5EF4-FFF2-40B4-BE49-F238E27FC236}">
                  <a16:creationId xmlns:a16="http://schemas.microsoft.com/office/drawing/2014/main" id="{CA1A3B52-D400-CDFE-5F43-0A2031BF26FA}"/>
                </a:ext>
              </a:extLst>
            </p:cNvPr>
            <p:cNvSpPr/>
            <p:nvPr/>
          </p:nvSpPr>
          <p:spPr>
            <a:xfrm>
              <a:off x="1385774" y="5944316"/>
              <a:ext cx="572367" cy="353880"/>
            </a:xfrm>
            <a:custGeom>
              <a:avLst/>
              <a:gdLst>
                <a:gd name="connsiteX0" fmla="*/ 709063 w 1296701"/>
                <a:gd name="connsiteY0" fmla="*/ 0 h 856327"/>
                <a:gd name="connsiteX1" fmla="*/ 992336 w 1296701"/>
                <a:gd name="connsiteY1" fmla="*/ 283273 h 856327"/>
                <a:gd name="connsiteX2" fmla="*/ 991536 w 1296701"/>
                <a:gd name="connsiteY2" fmla="*/ 291209 h 856327"/>
                <a:gd name="connsiteX3" fmla="*/ 1013428 w 1296701"/>
                <a:gd name="connsiteY3" fmla="*/ 289002 h 856327"/>
                <a:gd name="connsiteX4" fmla="*/ 1296701 w 1296701"/>
                <a:gd name="connsiteY4" fmla="*/ 572275 h 856327"/>
                <a:gd name="connsiteX5" fmla="*/ 1070517 w 1296701"/>
                <a:gd name="connsiteY5" fmla="*/ 849793 h 856327"/>
                <a:gd name="connsiteX6" fmla="*/ 1034477 w 1296701"/>
                <a:gd name="connsiteY6" fmla="*/ 853426 h 856327"/>
                <a:gd name="connsiteX7" fmla="*/ 1034477 w 1296701"/>
                <a:gd name="connsiteY7" fmla="*/ 855359 h 856327"/>
                <a:gd name="connsiteX8" fmla="*/ 1015303 w 1296701"/>
                <a:gd name="connsiteY8" fmla="*/ 855359 h 856327"/>
                <a:gd name="connsiteX9" fmla="*/ 1013428 w 1296701"/>
                <a:gd name="connsiteY9" fmla="*/ 855548 h 856327"/>
                <a:gd name="connsiteX10" fmla="*/ 1011553 w 1296701"/>
                <a:gd name="connsiteY10" fmla="*/ 855359 h 856327"/>
                <a:gd name="connsiteX11" fmla="*/ 193458 w 1296701"/>
                <a:gd name="connsiteY11" fmla="*/ 855359 h 856327"/>
                <a:gd name="connsiteX12" fmla="*/ 187973 w 1296701"/>
                <a:gd name="connsiteY12" fmla="*/ 856327 h 856327"/>
                <a:gd name="connsiteX13" fmla="*/ 178371 w 1296701"/>
                <a:gd name="connsiteY13" fmla="*/ 855359 h 856327"/>
                <a:gd name="connsiteX14" fmla="*/ 171039 w 1296701"/>
                <a:gd name="connsiteY14" fmla="*/ 855359 h 856327"/>
                <a:gd name="connsiteX15" fmla="*/ 171039 w 1296701"/>
                <a:gd name="connsiteY15" fmla="*/ 854620 h 856327"/>
                <a:gd name="connsiteX16" fmla="*/ 150090 w 1296701"/>
                <a:gd name="connsiteY16" fmla="*/ 852508 h 856327"/>
                <a:gd name="connsiteX17" fmla="*/ 0 w 1296701"/>
                <a:gd name="connsiteY17" fmla="*/ 668354 h 856327"/>
                <a:gd name="connsiteX18" fmla="*/ 150090 w 1296701"/>
                <a:gd name="connsiteY18" fmla="*/ 484200 h 856327"/>
                <a:gd name="connsiteX19" fmla="*/ 162990 w 1296701"/>
                <a:gd name="connsiteY19" fmla="*/ 482900 h 856327"/>
                <a:gd name="connsiteX20" fmla="*/ 161822 w 1296701"/>
                <a:gd name="connsiteY20" fmla="*/ 479136 h 856327"/>
                <a:gd name="connsiteX21" fmla="*/ 156904 w 1296701"/>
                <a:gd name="connsiteY21" fmla="*/ 430354 h 856327"/>
                <a:gd name="connsiteX22" fmla="*/ 398957 w 1296701"/>
                <a:gd name="connsiteY22" fmla="*/ 188301 h 856327"/>
                <a:gd name="connsiteX23" fmla="*/ 441959 w 1296701"/>
                <a:gd name="connsiteY23" fmla="*/ 192636 h 856327"/>
                <a:gd name="connsiteX24" fmla="*/ 448051 w 1296701"/>
                <a:gd name="connsiteY24" fmla="*/ 173010 h 856327"/>
                <a:gd name="connsiteX25" fmla="*/ 709063 w 1296701"/>
                <a:gd name="connsiteY25" fmla="*/ 0 h 856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96701" h="856327">
                  <a:moveTo>
                    <a:pt x="709063" y="0"/>
                  </a:moveTo>
                  <a:cubicBezTo>
                    <a:pt x="865510" y="0"/>
                    <a:pt x="992336" y="126826"/>
                    <a:pt x="992336" y="283273"/>
                  </a:cubicBezTo>
                  <a:lnTo>
                    <a:pt x="991536" y="291209"/>
                  </a:lnTo>
                  <a:lnTo>
                    <a:pt x="1013428" y="289002"/>
                  </a:lnTo>
                  <a:cubicBezTo>
                    <a:pt x="1169875" y="289002"/>
                    <a:pt x="1296701" y="415828"/>
                    <a:pt x="1296701" y="572275"/>
                  </a:cubicBezTo>
                  <a:cubicBezTo>
                    <a:pt x="1296701" y="709166"/>
                    <a:pt x="1199600" y="823379"/>
                    <a:pt x="1070517" y="849793"/>
                  </a:cubicBezTo>
                  <a:lnTo>
                    <a:pt x="1034477" y="853426"/>
                  </a:lnTo>
                  <a:lnTo>
                    <a:pt x="1034477" y="855359"/>
                  </a:lnTo>
                  <a:lnTo>
                    <a:pt x="1015303" y="855359"/>
                  </a:lnTo>
                  <a:lnTo>
                    <a:pt x="1013428" y="855548"/>
                  </a:lnTo>
                  <a:lnTo>
                    <a:pt x="1011553" y="855359"/>
                  </a:lnTo>
                  <a:lnTo>
                    <a:pt x="193458" y="855359"/>
                  </a:lnTo>
                  <a:lnTo>
                    <a:pt x="187973" y="856327"/>
                  </a:lnTo>
                  <a:lnTo>
                    <a:pt x="178371" y="855359"/>
                  </a:lnTo>
                  <a:lnTo>
                    <a:pt x="171039" y="855359"/>
                  </a:lnTo>
                  <a:lnTo>
                    <a:pt x="171039" y="854620"/>
                  </a:lnTo>
                  <a:lnTo>
                    <a:pt x="150090" y="852508"/>
                  </a:lnTo>
                  <a:cubicBezTo>
                    <a:pt x="64434" y="834981"/>
                    <a:pt x="0" y="759192"/>
                    <a:pt x="0" y="668354"/>
                  </a:cubicBezTo>
                  <a:cubicBezTo>
                    <a:pt x="0" y="577516"/>
                    <a:pt x="64434" y="501728"/>
                    <a:pt x="150090" y="484200"/>
                  </a:cubicBezTo>
                  <a:lnTo>
                    <a:pt x="162990" y="482900"/>
                  </a:lnTo>
                  <a:lnTo>
                    <a:pt x="161822" y="479136"/>
                  </a:lnTo>
                  <a:cubicBezTo>
                    <a:pt x="158597" y="463379"/>
                    <a:pt x="156904" y="447064"/>
                    <a:pt x="156904" y="430354"/>
                  </a:cubicBezTo>
                  <a:cubicBezTo>
                    <a:pt x="156904" y="296672"/>
                    <a:pt x="265275" y="188301"/>
                    <a:pt x="398957" y="188301"/>
                  </a:cubicBezTo>
                  <a:lnTo>
                    <a:pt x="441959" y="192636"/>
                  </a:lnTo>
                  <a:lnTo>
                    <a:pt x="448051" y="173010"/>
                  </a:lnTo>
                  <a:cubicBezTo>
                    <a:pt x="491054" y="71340"/>
                    <a:pt x="591728" y="0"/>
                    <a:pt x="709063" y="0"/>
                  </a:cubicBezTo>
                  <a:close/>
                </a:path>
              </a:pathLst>
            </a:custGeom>
            <a:solidFill>
              <a:schemeClr val="bg1"/>
            </a:solidFill>
            <a:ln w="19050">
              <a:solidFill>
                <a:schemeClr val="tx1">
                  <a:lumMod val="65000"/>
                  <a:lumOff val="3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130" name="Grafik 152">
              <a:extLst>
                <a:ext uri="{FF2B5EF4-FFF2-40B4-BE49-F238E27FC236}">
                  <a16:creationId xmlns:a16="http://schemas.microsoft.com/office/drawing/2014/main" id="{8D0A3265-5FE6-03A6-5E5E-BAA20A3AAD36}"/>
                </a:ext>
              </a:extLst>
            </p:cNvPr>
            <p:cNvPicPr>
              <a:picLocks noChangeAspect="1"/>
            </p:cNvPicPr>
            <p:nvPr/>
          </p:nvPicPr>
          <p:blipFill>
            <a:blip r:embed="rId12">
              <a:biLevel thresh="25000"/>
              <a:extLst>
                <a:ext uri="{28A0092B-C50C-407E-A947-70E740481C1C}">
                  <a14:useLocalDpi xmlns:a14="http://schemas.microsoft.com/office/drawing/2010/main" val="0"/>
                </a:ext>
              </a:extLst>
            </a:blip>
            <a:stretch>
              <a:fillRect/>
            </a:stretch>
          </p:blipFill>
          <p:spPr>
            <a:xfrm>
              <a:off x="1534936" y="6050359"/>
              <a:ext cx="272637" cy="227555"/>
            </a:xfrm>
            <a:prstGeom prst="rect">
              <a:avLst/>
            </a:prstGeom>
          </p:spPr>
        </p:pic>
      </p:grpSp>
      <p:grpSp>
        <p:nvGrpSpPr>
          <p:cNvPr id="131" name="Gruppieren 158">
            <a:extLst>
              <a:ext uri="{FF2B5EF4-FFF2-40B4-BE49-F238E27FC236}">
                <a16:creationId xmlns:a16="http://schemas.microsoft.com/office/drawing/2014/main" id="{36B5D576-0B18-FB79-0C16-2049CCD7D971}"/>
              </a:ext>
            </a:extLst>
          </p:cNvPr>
          <p:cNvGrpSpPr/>
          <p:nvPr/>
        </p:nvGrpSpPr>
        <p:grpSpPr>
          <a:xfrm>
            <a:off x="11009798" y="4947097"/>
            <a:ext cx="572367" cy="353880"/>
            <a:chOff x="1385774" y="5944316"/>
            <a:chExt cx="572367" cy="353880"/>
          </a:xfrm>
        </p:grpSpPr>
        <p:sp>
          <p:nvSpPr>
            <p:cNvPr id="132" name="Freihandform: Form 159">
              <a:extLst>
                <a:ext uri="{FF2B5EF4-FFF2-40B4-BE49-F238E27FC236}">
                  <a16:creationId xmlns:a16="http://schemas.microsoft.com/office/drawing/2014/main" id="{5D75010A-0A6E-5F2B-6104-0C99E4434914}"/>
                </a:ext>
              </a:extLst>
            </p:cNvPr>
            <p:cNvSpPr/>
            <p:nvPr/>
          </p:nvSpPr>
          <p:spPr>
            <a:xfrm>
              <a:off x="1385774" y="5944316"/>
              <a:ext cx="572367" cy="353880"/>
            </a:xfrm>
            <a:custGeom>
              <a:avLst/>
              <a:gdLst>
                <a:gd name="connsiteX0" fmla="*/ 709063 w 1296701"/>
                <a:gd name="connsiteY0" fmla="*/ 0 h 856327"/>
                <a:gd name="connsiteX1" fmla="*/ 992336 w 1296701"/>
                <a:gd name="connsiteY1" fmla="*/ 283273 h 856327"/>
                <a:gd name="connsiteX2" fmla="*/ 991536 w 1296701"/>
                <a:gd name="connsiteY2" fmla="*/ 291209 h 856327"/>
                <a:gd name="connsiteX3" fmla="*/ 1013428 w 1296701"/>
                <a:gd name="connsiteY3" fmla="*/ 289002 h 856327"/>
                <a:gd name="connsiteX4" fmla="*/ 1296701 w 1296701"/>
                <a:gd name="connsiteY4" fmla="*/ 572275 h 856327"/>
                <a:gd name="connsiteX5" fmla="*/ 1070517 w 1296701"/>
                <a:gd name="connsiteY5" fmla="*/ 849793 h 856327"/>
                <a:gd name="connsiteX6" fmla="*/ 1034477 w 1296701"/>
                <a:gd name="connsiteY6" fmla="*/ 853426 h 856327"/>
                <a:gd name="connsiteX7" fmla="*/ 1034477 w 1296701"/>
                <a:gd name="connsiteY7" fmla="*/ 855359 h 856327"/>
                <a:gd name="connsiteX8" fmla="*/ 1015303 w 1296701"/>
                <a:gd name="connsiteY8" fmla="*/ 855359 h 856327"/>
                <a:gd name="connsiteX9" fmla="*/ 1013428 w 1296701"/>
                <a:gd name="connsiteY9" fmla="*/ 855548 h 856327"/>
                <a:gd name="connsiteX10" fmla="*/ 1011553 w 1296701"/>
                <a:gd name="connsiteY10" fmla="*/ 855359 h 856327"/>
                <a:gd name="connsiteX11" fmla="*/ 193458 w 1296701"/>
                <a:gd name="connsiteY11" fmla="*/ 855359 h 856327"/>
                <a:gd name="connsiteX12" fmla="*/ 187973 w 1296701"/>
                <a:gd name="connsiteY12" fmla="*/ 856327 h 856327"/>
                <a:gd name="connsiteX13" fmla="*/ 178371 w 1296701"/>
                <a:gd name="connsiteY13" fmla="*/ 855359 h 856327"/>
                <a:gd name="connsiteX14" fmla="*/ 171039 w 1296701"/>
                <a:gd name="connsiteY14" fmla="*/ 855359 h 856327"/>
                <a:gd name="connsiteX15" fmla="*/ 171039 w 1296701"/>
                <a:gd name="connsiteY15" fmla="*/ 854620 h 856327"/>
                <a:gd name="connsiteX16" fmla="*/ 150090 w 1296701"/>
                <a:gd name="connsiteY16" fmla="*/ 852508 h 856327"/>
                <a:gd name="connsiteX17" fmla="*/ 0 w 1296701"/>
                <a:gd name="connsiteY17" fmla="*/ 668354 h 856327"/>
                <a:gd name="connsiteX18" fmla="*/ 150090 w 1296701"/>
                <a:gd name="connsiteY18" fmla="*/ 484200 h 856327"/>
                <a:gd name="connsiteX19" fmla="*/ 162990 w 1296701"/>
                <a:gd name="connsiteY19" fmla="*/ 482900 h 856327"/>
                <a:gd name="connsiteX20" fmla="*/ 161822 w 1296701"/>
                <a:gd name="connsiteY20" fmla="*/ 479136 h 856327"/>
                <a:gd name="connsiteX21" fmla="*/ 156904 w 1296701"/>
                <a:gd name="connsiteY21" fmla="*/ 430354 h 856327"/>
                <a:gd name="connsiteX22" fmla="*/ 398957 w 1296701"/>
                <a:gd name="connsiteY22" fmla="*/ 188301 h 856327"/>
                <a:gd name="connsiteX23" fmla="*/ 441959 w 1296701"/>
                <a:gd name="connsiteY23" fmla="*/ 192636 h 856327"/>
                <a:gd name="connsiteX24" fmla="*/ 448051 w 1296701"/>
                <a:gd name="connsiteY24" fmla="*/ 173010 h 856327"/>
                <a:gd name="connsiteX25" fmla="*/ 709063 w 1296701"/>
                <a:gd name="connsiteY25" fmla="*/ 0 h 856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96701" h="856327">
                  <a:moveTo>
                    <a:pt x="709063" y="0"/>
                  </a:moveTo>
                  <a:cubicBezTo>
                    <a:pt x="865510" y="0"/>
                    <a:pt x="992336" y="126826"/>
                    <a:pt x="992336" y="283273"/>
                  </a:cubicBezTo>
                  <a:lnTo>
                    <a:pt x="991536" y="291209"/>
                  </a:lnTo>
                  <a:lnTo>
                    <a:pt x="1013428" y="289002"/>
                  </a:lnTo>
                  <a:cubicBezTo>
                    <a:pt x="1169875" y="289002"/>
                    <a:pt x="1296701" y="415828"/>
                    <a:pt x="1296701" y="572275"/>
                  </a:cubicBezTo>
                  <a:cubicBezTo>
                    <a:pt x="1296701" y="709166"/>
                    <a:pt x="1199600" y="823379"/>
                    <a:pt x="1070517" y="849793"/>
                  </a:cubicBezTo>
                  <a:lnTo>
                    <a:pt x="1034477" y="853426"/>
                  </a:lnTo>
                  <a:lnTo>
                    <a:pt x="1034477" y="855359"/>
                  </a:lnTo>
                  <a:lnTo>
                    <a:pt x="1015303" y="855359"/>
                  </a:lnTo>
                  <a:lnTo>
                    <a:pt x="1013428" y="855548"/>
                  </a:lnTo>
                  <a:lnTo>
                    <a:pt x="1011553" y="855359"/>
                  </a:lnTo>
                  <a:lnTo>
                    <a:pt x="193458" y="855359"/>
                  </a:lnTo>
                  <a:lnTo>
                    <a:pt x="187973" y="856327"/>
                  </a:lnTo>
                  <a:lnTo>
                    <a:pt x="178371" y="855359"/>
                  </a:lnTo>
                  <a:lnTo>
                    <a:pt x="171039" y="855359"/>
                  </a:lnTo>
                  <a:lnTo>
                    <a:pt x="171039" y="854620"/>
                  </a:lnTo>
                  <a:lnTo>
                    <a:pt x="150090" y="852508"/>
                  </a:lnTo>
                  <a:cubicBezTo>
                    <a:pt x="64434" y="834981"/>
                    <a:pt x="0" y="759192"/>
                    <a:pt x="0" y="668354"/>
                  </a:cubicBezTo>
                  <a:cubicBezTo>
                    <a:pt x="0" y="577516"/>
                    <a:pt x="64434" y="501728"/>
                    <a:pt x="150090" y="484200"/>
                  </a:cubicBezTo>
                  <a:lnTo>
                    <a:pt x="162990" y="482900"/>
                  </a:lnTo>
                  <a:lnTo>
                    <a:pt x="161822" y="479136"/>
                  </a:lnTo>
                  <a:cubicBezTo>
                    <a:pt x="158597" y="463379"/>
                    <a:pt x="156904" y="447064"/>
                    <a:pt x="156904" y="430354"/>
                  </a:cubicBezTo>
                  <a:cubicBezTo>
                    <a:pt x="156904" y="296672"/>
                    <a:pt x="265275" y="188301"/>
                    <a:pt x="398957" y="188301"/>
                  </a:cubicBezTo>
                  <a:lnTo>
                    <a:pt x="441959" y="192636"/>
                  </a:lnTo>
                  <a:lnTo>
                    <a:pt x="448051" y="173010"/>
                  </a:lnTo>
                  <a:cubicBezTo>
                    <a:pt x="491054" y="71340"/>
                    <a:pt x="591728" y="0"/>
                    <a:pt x="709063" y="0"/>
                  </a:cubicBezTo>
                  <a:close/>
                </a:path>
              </a:pathLst>
            </a:custGeom>
            <a:solidFill>
              <a:schemeClr val="bg1"/>
            </a:solidFill>
            <a:ln w="19050">
              <a:solidFill>
                <a:schemeClr val="tx1">
                  <a:lumMod val="65000"/>
                  <a:lumOff val="3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133" name="Grafik 160">
              <a:extLst>
                <a:ext uri="{FF2B5EF4-FFF2-40B4-BE49-F238E27FC236}">
                  <a16:creationId xmlns:a16="http://schemas.microsoft.com/office/drawing/2014/main" id="{D4B13CFF-240A-9C74-9CAF-A0590FDB461B}"/>
                </a:ext>
              </a:extLst>
            </p:cNvPr>
            <p:cNvPicPr>
              <a:picLocks noChangeAspect="1"/>
            </p:cNvPicPr>
            <p:nvPr/>
          </p:nvPicPr>
          <p:blipFill>
            <a:blip r:embed="rId12">
              <a:biLevel thresh="25000"/>
              <a:extLst>
                <a:ext uri="{28A0092B-C50C-407E-A947-70E740481C1C}">
                  <a14:useLocalDpi xmlns:a14="http://schemas.microsoft.com/office/drawing/2010/main" val="0"/>
                </a:ext>
              </a:extLst>
            </a:blip>
            <a:stretch>
              <a:fillRect/>
            </a:stretch>
          </p:blipFill>
          <p:spPr>
            <a:xfrm>
              <a:off x="1534936" y="6050359"/>
              <a:ext cx="272637" cy="227555"/>
            </a:xfrm>
            <a:prstGeom prst="rect">
              <a:avLst/>
            </a:prstGeom>
          </p:spPr>
        </p:pic>
      </p:grpSp>
      <p:grpSp>
        <p:nvGrpSpPr>
          <p:cNvPr id="220" name="Group 219">
            <a:extLst>
              <a:ext uri="{FF2B5EF4-FFF2-40B4-BE49-F238E27FC236}">
                <a16:creationId xmlns:a16="http://schemas.microsoft.com/office/drawing/2014/main" id="{19711A70-7036-032A-FBFA-2C9A00509C17}"/>
              </a:ext>
            </a:extLst>
          </p:cNvPr>
          <p:cNvGrpSpPr/>
          <p:nvPr/>
        </p:nvGrpSpPr>
        <p:grpSpPr>
          <a:xfrm>
            <a:off x="515965" y="2011329"/>
            <a:ext cx="5383652" cy="3877622"/>
            <a:chOff x="515965" y="2011329"/>
            <a:chExt cx="5383652" cy="3877622"/>
          </a:xfrm>
        </p:grpSpPr>
        <p:cxnSp>
          <p:nvCxnSpPr>
            <p:cNvPr id="55" name="Gerader Verbinder 92166">
              <a:extLst>
                <a:ext uri="{FF2B5EF4-FFF2-40B4-BE49-F238E27FC236}">
                  <a16:creationId xmlns:a16="http://schemas.microsoft.com/office/drawing/2014/main" id="{FA16B769-BCFC-6B9C-F40C-BC12D8B39676}"/>
                </a:ext>
              </a:extLst>
            </p:cNvPr>
            <p:cNvCxnSpPr>
              <a:cxnSpLocks/>
              <a:stCxn id="140" idx="2"/>
            </p:cNvCxnSpPr>
            <p:nvPr/>
          </p:nvCxnSpPr>
          <p:spPr>
            <a:xfrm rot="16200000" flipH="1">
              <a:off x="3021189" y="3688086"/>
              <a:ext cx="1790742" cy="2610988"/>
            </a:xfrm>
            <a:prstGeom prst="bentConnector3">
              <a:avLst>
                <a:gd name="adj1" fmla="val 112766"/>
              </a:avLst>
            </a:prstGeom>
            <a:noFill/>
            <a:ln w="28575" cap="flat" cmpd="sng" algn="ctr">
              <a:solidFill>
                <a:schemeClr val="accent1"/>
              </a:solidFill>
              <a:prstDash val="solid"/>
              <a:miter lim="800000"/>
            </a:ln>
            <a:effectLst/>
          </p:spPr>
        </p:cxnSp>
        <p:grpSp>
          <p:nvGrpSpPr>
            <p:cNvPr id="215" name="Group 214">
              <a:extLst>
                <a:ext uri="{FF2B5EF4-FFF2-40B4-BE49-F238E27FC236}">
                  <a16:creationId xmlns:a16="http://schemas.microsoft.com/office/drawing/2014/main" id="{22B6657E-88B5-6694-D7A9-1DE8BDF324D1}"/>
                </a:ext>
              </a:extLst>
            </p:cNvPr>
            <p:cNvGrpSpPr/>
            <p:nvPr/>
          </p:nvGrpSpPr>
          <p:grpSpPr>
            <a:xfrm>
              <a:off x="515965" y="2011329"/>
              <a:ext cx="5383652" cy="2516849"/>
              <a:chOff x="515965" y="2011329"/>
              <a:chExt cx="5383652" cy="2516849"/>
            </a:xfrm>
          </p:grpSpPr>
          <p:pic>
            <p:nvPicPr>
              <p:cNvPr id="35" name="Picture 2" descr="Cloud Flat Icon Vektor Symbol Oder Logo Einfache Cloud Stock Vektor Art und  mehr Bilder von Bedeckter Himmel - iStock">
                <a:extLst>
                  <a:ext uri="{FF2B5EF4-FFF2-40B4-BE49-F238E27FC236}">
                    <a16:creationId xmlns:a16="http://schemas.microsoft.com/office/drawing/2014/main" id="{AF8A15F4-7341-E437-410F-7398968CD381}"/>
                  </a:ext>
                </a:extLst>
              </p:cNvPr>
              <p:cNvPicPr>
                <a:picLocks noChangeAspect="1" noChangeArrowheads="1"/>
              </p:cNvPicPr>
              <p:nvPr/>
            </p:nvPicPr>
            <p:blipFill rotWithShape="1">
              <a:blip r:embed="rId10">
                <a:clrChange>
                  <a:clrFrom>
                    <a:srgbClr val="FFFFFF"/>
                  </a:clrFrom>
                  <a:clrTo>
                    <a:srgbClr val="FFFFFF">
                      <a:alpha val="0"/>
                    </a:srgbClr>
                  </a:clrTo>
                </a:clrChange>
                <a:duotone>
                  <a:prstClr val="black"/>
                  <a:srgbClr val="E8E7E7">
                    <a:tint val="45000"/>
                    <a:satMod val="400000"/>
                  </a:srgbClr>
                </a:duotone>
                <a:extLst>
                  <a:ext uri="{28A0092B-C50C-407E-A947-70E740481C1C}">
                    <a14:useLocalDpi xmlns:a14="http://schemas.microsoft.com/office/drawing/2010/main" val="0"/>
                  </a:ext>
                </a:extLst>
              </a:blip>
              <a:srcRect t="27456" b="27443"/>
              <a:stretch/>
            </p:blipFill>
            <p:spPr bwMode="auto">
              <a:xfrm>
                <a:off x="751703" y="2353162"/>
                <a:ext cx="2152072" cy="1148901"/>
              </a:xfrm>
              <a:prstGeom prst="rect">
                <a:avLst/>
              </a:prstGeom>
              <a:noFill/>
              <a:extLst>
                <a:ext uri="{909E8E84-426E-40DD-AFC4-6F175D3DCCD1}">
                  <a14:hiddenFill xmlns:a14="http://schemas.microsoft.com/office/drawing/2010/main">
                    <a:solidFill>
                      <a:srgbClr val="FFFFFF"/>
                    </a:solidFill>
                  </a14:hiddenFill>
                </a:ext>
              </a:extLst>
            </p:spPr>
          </p:pic>
          <p:pic>
            <p:nvPicPr>
              <p:cNvPr id="37" name="Grafik 435" descr="Fabrik Silhouette">
                <a:extLst>
                  <a:ext uri="{FF2B5EF4-FFF2-40B4-BE49-F238E27FC236}">
                    <a16:creationId xmlns:a16="http://schemas.microsoft.com/office/drawing/2014/main" id="{E463169E-38AA-B849-BDBC-69215EC1BF7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36003" y="2198243"/>
                <a:ext cx="615405" cy="446571"/>
              </a:xfrm>
              <a:prstGeom prst="rect">
                <a:avLst/>
              </a:prstGeom>
            </p:spPr>
          </p:pic>
          <p:pic>
            <p:nvPicPr>
              <p:cNvPr id="38" name="Grafik 436" descr="Fabrik Silhouette">
                <a:extLst>
                  <a:ext uri="{FF2B5EF4-FFF2-40B4-BE49-F238E27FC236}">
                    <a16:creationId xmlns:a16="http://schemas.microsoft.com/office/drawing/2014/main" id="{24112E1C-95C9-985C-985D-BF520811CD9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36713" y="3883109"/>
                <a:ext cx="615405" cy="446571"/>
              </a:xfrm>
              <a:prstGeom prst="rect">
                <a:avLst/>
              </a:prstGeom>
            </p:spPr>
          </p:pic>
          <p:sp>
            <p:nvSpPr>
              <p:cNvPr id="39" name="Textfeld 437">
                <a:extLst>
                  <a:ext uri="{FF2B5EF4-FFF2-40B4-BE49-F238E27FC236}">
                    <a16:creationId xmlns:a16="http://schemas.microsoft.com/office/drawing/2014/main" id="{EF9A5749-2AD5-3C87-009F-5BC102AE675A}"/>
                  </a:ext>
                </a:extLst>
              </p:cNvPr>
              <p:cNvSpPr txBox="1"/>
              <p:nvPr/>
            </p:nvSpPr>
            <p:spPr>
              <a:xfrm>
                <a:off x="640287" y="2638388"/>
                <a:ext cx="782331" cy="38536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52" b="0"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rPr>
                  <a:t>CSV-Upload</a:t>
                </a:r>
              </a:p>
            </p:txBody>
          </p:sp>
          <p:sp>
            <p:nvSpPr>
              <p:cNvPr id="40" name="Textfeld 438">
                <a:extLst>
                  <a:ext uri="{FF2B5EF4-FFF2-40B4-BE49-F238E27FC236}">
                    <a16:creationId xmlns:a16="http://schemas.microsoft.com/office/drawing/2014/main" id="{9A9E9809-0995-E010-A707-3DD5A5243707}"/>
                  </a:ext>
                </a:extLst>
              </p:cNvPr>
              <p:cNvSpPr txBox="1"/>
              <p:nvPr/>
            </p:nvSpPr>
            <p:spPr>
              <a:xfrm>
                <a:off x="515965" y="2011329"/>
                <a:ext cx="769492" cy="25513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8"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rPr>
                  <a:t>SME 1</a:t>
                </a:r>
              </a:p>
            </p:txBody>
          </p:sp>
          <p:sp>
            <p:nvSpPr>
              <p:cNvPr id="41" name="Textfeld 439">
                <a:extLst>
                  <a:ext uri="{FF2B5EF4-FFF2-40B4-BE49-F238E27FC236}">
                    <a16:creationId xmlns:a16="http://schemas.microsoft.com/office/drawing/2014/main" id="{5E641CD4-3EA0-44D0-0B9F-9096429E2EFD}"/>
                  </a:ext>
                </a:extLst>
              </p:cNvPr>
              <p:cNvSpPr txBox="1"/>
              <p:nvPr/>
            </p:nvSpPr>
            <p:spPr>
              <a:xfrm>
                <a:off x="517110" y="4273044"/>
                <a:ext cx="769492" cy="25513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8"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rPr>
                  <a:t>SME 2</a:t>
                </a:r>
              </a:p>
            </p:txBody>
          </p:sp>
          <p:pic>
            <p:nvPicPr>
              <p:cNvPr id="48" name="Grafik 472" descr="eingesteckt ausgesteckt mit einfarbiger Füllung">
                <a:extLst>
                  <a:ext uri="{FF2B5EF4-FFF2-40B4-BE49-F238E27FC236}">
                    <a16:creationId xmlns:a16="http://schemas.microsoft.com/office/drawing/2014/main" id="{C4AF4F98-FD75-6529-EF78-9D91D9F435A9}"/>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52584" y="2642621"/>
                <a:ext cx="298542" cy="298542"/>
              </a:xfrm>
              <a:prstGeom prst="rect">
                <a:avLst/>
              </a:prstGeom>
            </p:spPr>
          </p:pic>
          <p:sp>
            <p:nvSpPr>
              <p:cNvPr id="49" name="Textfeld 473">
                <a:extLst>
                  <a:ext uri="{FF2B5EF4-FFF2-40B4-BE49-F238E27FC236}">
                    <a16:creationId xmlns:a16="http://schemas.microsoft.com/office/drawing/2014/main" id="{B87C3893-A63E-E689-D18B-EF3056AB7B29}"/>
                  </a:ext>
                </a:extLst>
              </p:cNvPr>
              <p:cNvSpPr txBox="1"/>
              <p:nvPr/>
            </p:nvSpPr>
            <p:spPr>
              <a:xfrm>
                <a:off x="1375428" y="3709072"/>
                <a:ext cx="1065432" cy="613758"/>
              </a:xfrm>
              <a:prstGeom prst="rect">
                <a:avLst/>
              </a:prstGeom>
              <a:noFill/>
            </p:spPr>
            <p:txBody>
              <a:bodyPr wrap="square">
                <a:spAutoFit/>
              </a:bodyPr>
              <a:lstStyle/>
              <a:p>
                <a:pPr lvl="0">
                  <a:defRPr/>
                </a:pPr>
                <a:r>
                  <a:rPr kumimoji="0" lang="en-US" sz="847" b="0"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rPr>
                  <a:t>my Catena-X cloud </a:t>
                </a:r>
                <a:r>
                  <a:rPr lang="en-US" sz="847" kern="0">
                    <a:solidFill>
                      <a:schemeClr val="tx1">
                        <a:lumMod val="65000"/>
                        <a:lumOff val="35000"/>
                      </a:schemeClr>
                    </a:solidFill>
                    <a:latin typeface="Arial" panose="020B0604020202020204" pitchFamily="34" charset="0"/>
                    <a:cs typeface="Arial" panose="020B0604020202020204" pitchFamily="34" charset="0"/>
                  </a:rPr>
                  <a:t>s</a:t>
                </a:r>
                <a:r>
                  <a:rPr kumimoji="0" lang="en-US" sz="847" b="0"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rPr>
                  <a:t>tack</a:t>
                </a:r>
                <a:br>
                  <a:rPr kumimoji="0" lang="en-US" sz="847" b="0"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rPr>
                </a:br>
                <a:r>
                  <a:rPr lang="en-US" sz="847" kern="0">
                    <a:solidFill>
                      <a:schemeClr val="tx1">
                        <a:lumMod val="65000"/>
                        <a:lumOff val="35000"/>
                      </a:schemeClr>
                    </a:solidFill>
                    <a:latin typeface="Arial" panose="020B0604020202020204" pitchFamily="34" charset="0"/>
                    <a:cs typeface="Arial" panose="020B0604020202020204" pitchFamily="34" charset="0"/>
                  </a:rPr>
                  <a:t>with my</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847" b="0"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endParaRPr>
              </a:p>
            </p:txBody>
          </p:sp>
          <p:sp>
            <p:nvSpPr>
              <p:cNvPr id="50" name="Textfeld 476">
                <a:extLst>
                  <a:ext uri="{FF2B5EF4-FFF2-40B4-BE49-F238E27FC236}">
                    <a16:creationId xmlns:a16="http://schemas.microsoft.com/office/drawing/2014/main" id="{E24E8911-0229-C920-7726-18626619E09F}"/>
                  </a:ext>
                </a:extLst>
              </p:cNvPr>
              <p:cNvSpPr txBox="1"/>
              <p:nvPr/>
            </p:nvSpPr>
            <p:spPr>
              <a:xfrm>
                <a:off x="1314834" y="2740798"/>
                <a:ext cx="1133396" cy="744114"/>
              </a:xfrm>
              <a:prstGeom prst="rect">
                <a:avLst/>
              </a:prstGeom>
              <a:noFill/>
            </p:spPr>
            <p:txBody>
              <a:bodyPr wrap="square">
                <a:spAutoFit/>
              </a:bodyPr>
              <a:lstStyle/>
              <a:p>
                <a:pPr lvl="0">
                  <a:defRPr/>
                </a:pPr>
                <a:r>
                  <a:rPr kumimoji="0" lang="en-US" sz="847" b="0"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rPr>
                  <a:t>my fully-managed Catena-X </a:t>
                </a:r>
                <a:r>
                  <a:rPr lang="en-US" sz="847" kern="0">
                    <a:solidFill>
                      <a:schemeClr val="tx1">
                        <a:lumMod val="65000"/>
                        <a:lumOff val="35000"/>
                      </a:schemeClr>
                    </a:solidFill>
                    <a:latin typeface="Arial" panose="020B0604020202020204" pitchFamily="34" charset="0"/>
                    <a:cs typeface="Arial" panose="020B0604020202020204" pitchFamily="34" charset="0"/>
                  </a:rPr>
                  <a:t>c</a:t>
                </a:r>
                <a:r>
                  <a:rPr kumimoji="0" lang="en-US" sz="847" b="0"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rPr>
                  <a:t>loud stack </a:t>
                </a:r>
                <a:endParaRPr lang="en-US" sz="847" kern="0">
                  <a:solidFill>
                    <a:schemeClr val="tx1">
                      <a:lumMod val="65000"/>
                      <a:lumOff val="35000"/>
                    </a:schemeClr>
                  </a:solidFill>
                  <a:latin typeface="Arial" panose="020B0604020202020204" pitchFamily="34" charset="0"/>
                  <a:cs typeface="Arial" panose="020B0604020202020204" pitchFamily="34" charset="0"/>
                </a:endParaRPr>
              </a:p>
              <a:p>
                <a:pPr lvl="0">
                  <a:defRPr/>
                </a:pPr>
                <a:r>
                  <a:rPr lang="en-US" sz="847" kern="0">
                    <a:solidFill>
                      <a:schemeClr val="tx1">
                        <a:lumMod val="65000"/>
                        <a:lumOff val="35000"/>
                      </a:schemeClr>
                    </a:solidFill>
                    <a:latin typeface="Arial" panose="020B0604020202020204" pitchFamily="34" charset="0"/>
                    <a:cs typeface="Arial" panose="020B0604020202020204" pitchFamily="34" charset="0"/>
                  </a:rPr>
                  <a:t>with my</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847" b="0"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endParaRPr>
              </a:p>
            </p:txBody>
          </p:sp>
          <p:sp>
            <p:nvSpPr>
              <p:cNvPr id="51" name="Textfeld 477">
                <a:extLst>
                  <a:ext uri="{FF2B5EF4-FFF2-40B4-BE49-F238E27FC236}">
                    <a16:creationId xmlns:a16="http://schemas.microsoft.com/office/drawing/2014/main" id="{ED9F9117-3C73-24A7-FE2E-892BF61507AE}"/>
                  </a:ext>
                </a:extLst>
              </p:cNvPr>
              <p:cNvSpPr txBox="1"/>
              <p:nvPr/>
            </p:nvSpPr>
            <p:spPr>
              <a:xfrm>
                <a:off x="650061" y="3562657"/>
                <a:ext cx="846374" cy="38536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52" b="0"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rPr>
                  <a:t>Io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52" b="0"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rPr>
                  <a:t>Adapter</a:t>
                </a:r>
              </a:p>
            </p:txBody>
          </p:sp>
          <p:pic>
            <p:nvPicPr>
              <p:cNvPr id="52" name="Grafik 478" descr="Blockchain mit einfarbiger Füllung">
                <a:extLst>
                  <a:ext uri="{FF2B5EF4-FFF2-40B4-BE49-F238E27FC236}">
                    <a16:creationId xmlns:a16="http://schemas.microsoft.com/office/drawing/2014/main" id="{392F2E07-680D-A830-A013-0816E31F857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758001" y="2581055"/>
                <a:ext cx="210091" cy="210091"/>
              </a:xfrm>
              <a:prstGeom prst="rect">
                <a:avLst/>
              </a:prstGeom>
            </p:spPr>
          </p:pic>
          <p:pic>
            <p:nvPicPr>
              <p:cNvPr id="53" name="Grafik 479" descr="eingesteckt ausgesteckt mit einfarbiger Füllung">
                <a:extLst>
                  <a:ext uri="{FF2B5EF4-FFF2-40B4-BE49-F238E27FC236}">
                    <a16:creationId xmlns:a16="http://schemas.microsoft.com/office/drawing/2014/main" id="{3FD9EAE3-6328-85AE-D27A-102B15D7522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52584" y="3546341"/>
                <a:ext cx="298542" cy="298542"/>
              </a:xfrm>
              <a:prstGeom prst="rect">
                <a:avLst/>
              </a:prstGeom>
            </p:spPr>
          </p:pic>
          <p:cxnSp>
            <p:nvCxnSpPr>
              <p:cNvPr id="54" name="Gerader Verbinder 480">
                <a:extLst>
                  <a:ext uri="{FF2B5EF4-FFF2-40B4-BE49-F238E27FC236}">
                    <a16:creationId xmlns:a16="http://schemas.microsoft.com/office/drawing/2014/main" id="{0B23D6C5-2A7D-B67B-C7B3-12F3A1246625}"/>
                  </a:ext>
                </a:extLst>
              </p:cNvPr>
              <p:cNvCxnSpPr>
                <a:cxnSpLocks/>
              </p:cNvCxnSpPr>
              <p:nvPr/>
            </p:nvCxnSpPr>
            <p:spPr>
              <a:xfrm flipV="1">
                <a:off x="2908998" y="3197889"/>
                <a:ext cx="2990619" cy="1"/>
              </a:xfrm>
              <a:prstGeom prst="line">
                <a:avLst/>
              </a:prstGeom>
              <a:noFill/>
              <a:ln w="28575" cap="flat" cmpd="sng" algn="ctr">
                <a:solidFill>
                  <a:sysClr val="windowText" lastClr="000000">
                    <a:lumMod val="50000"/>
                    <a:lumOff val="50000"/>
                  </a:sysClr>
                </a:solidFill>
                <a:prstDash val="sysDash"/>
                <a:miter lim="800000"/>
              </a:ln>
              <a:effectLst/>
            </p:spPr>
          </p:cxnSp>
          <p:cxnSp>
            <p:nvCxnSpPr>
              <p:cNvPr id="56" name="Gerader Verbinder 209">
                <a:extLst>
                  <a:ext uri="{FF2B5EF4-FFF2-40B4-BE49-F238E27FC236}">
                    <a16:creationId xmlns:a16="http://schemas.microsoft.com/office/drawing/2014/main" id="{5B95BE7D-457B-CDBA-A209-0AE5495FD504}"/>
                  </a:ext>
                </a:extLst>
              </p:cNvPr>
              <p:cNvCxnSpPr>
                <a:cxnSpLocks/>
              </p:cNvCxnSpPr>
              <p:nvPr/>
            </p:nvCxnSpPr>
            <p:spPr>
              <a:xfrm flipV="1">
                <a:off x="2905366" y="3668121"/>
                <a:ext cx="2994251" cy="243684"/>
              </a:xfrm>
              <a:prstGeom prst="bentConnector3">
                <a:avLst>
                  <a:gd name="adj1" fmla="val 6706"/>
                </a:avLst>
              </a:prstGeom>
              <a:noFill/>
              <a:ln w="28575" cap="flat" cmpd="sng" algn="ctr">
                <a:solidFill>
                  <a:sysClr val="windowText" lastClr="000000">
                    <a:lumMod val="50000"/>
                    <a:lumOff val="50000"/>
                  </a:sysClr>
                </a:solidFill>
                <a:prstDash val="sysDash"/>
                <a:miter lim="800000"/>
              </a:ln>
              <a:effectLst/>
            </p:spPr>
          </p:cxnSp>
          <p:pic>
            <p:nvPicPr>
              <p:cNvPr id="57" name="Grafik 485" descr="Blockchain mit einfarbiger Füllung">
                <a:extLst>
                  <a:ext uri="{FF2B5EF4-FFF2-40B4-BE49-F238E27FC236}">
                    <a16:creationId xmlns:a16="http://schemas.microsoft.com/office/drawing/2014/main" id="{6A9DF44A-DB2D-0CAE-4831-B7341515C5A6}"/>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758001" y="3498941"/>
                <a:ext cx="210091" cy="210091"/>
              </a:xfrm>
              <a:prstGeom prst="rect">
                <a:avLst/>
              </a:prstGeom>
            </p:spPr>
          </p:pic>
          <p:pic>
            <p:nvPicPr>
              <p:cNvPr id="122" name="Grafik 156">
                <a:extLst>
                  <a:ext uri="{FF2B5EF4-FFF2-40B4-BE49-F238E27FC236}">
                    <a16:creationId xmlns:a16="http://schemas.microsoft.com/office/drawing/2014/main" id="{04093CEF-5321-1834-A201-7C855C0B7BF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860964" y="3064138"/>
                <a:ext cx="337787" cy="281932"/>
              </a:xfrm>
              <a:prstGeom prst="rect">
                <a:avLst/>
              </a:prstGeom>
            </p:spPr>
          </p:pic>
          <p:pic>
            <p:nvPicPr>
              <p:cNvPr id="123" name="Grafik 157">
                <a:extLst>
                  <a:ext uri="{FF2B5EF4-FFF2-40B4-BE49-F238E27FC236}">
                    <a16:creationId xmlns:a16="http://schemas.microsoft.com/office/drawing/2014/main" id="{96BE7D11-C9AB-30AB-D749-CD5CC1A7B70F}"/>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866195" y="3993627"/>
                <a:ext cx="337787" cy="281932"/>
              </a:xfrm>
              <a:prstGeom prst="rect">
                <a:avLst/>
              </a:prstGeom>
            </p:spPr>
          </p:pic>
          <p:grpSp>
            <p:nvGrpSpPr>
              <p:cNvPr id="139" name="Group 138">
                <a:extLst>
                  <a:ext uri="{FF2B5EF4-FFF2-40B4-BE49-F238E27FC236}">
                    <a16:creationId xmlns:a16="http://schemas.microsoft.com/office/drawing/2014/main" id="{8B1FE3BF-D015-0391-AB4F-ECED403DACEE}"/>
                  </a:ext>
                </a:extLst>
              </p:cNvPr>
              <p:cNvGrpSpPr/>
              <p:nvPr/>
            </p:nvGrpSpPr>
            <p:grpSpPr>
              <a:xfrm>
                <a:off x="2263582" y="3838035"/>
                <a:ext cx="640193" cy="260174"/>
                <a:chOff x="6342579" y="696398"/>
                <a:chExt cx="640193" cy="260174"/>
              </a:xfrm>
            </p:grpSpPr>
            <p:sp>
              <p:nvSpPr>
                <p:cNvPr id="140" name="Rechteck 457">
                  <a:extLst>
                    <a:ext uri="{FF2B5EF4-FFF2-40B4-BE49-F238E27FC236}">
                      <a16:creationId xmlns:a16="http://schemas.microsoft.com/office/drawing/2014/main" id="{92DD2B44-71D3-3990-E688-5F4F03F6CD06}"/>
                    </a:ext>
                  </a:extLst>
                </p:cNvPr>
                <p:cNvSpPr/>
                <p:nvPr/>
              </p:nvSpPr>
              <p:spPr>
                <a:xfrm>
                  <a:off x="6397353" y="696398"/>
                  <a:ext cx="585419" cy="260174"/>
                </a:xfrm>
                <a:prstGeom prst="rect">
                  <a:avLst/>
                </a:prstGeom>
                <a:solidFill>
                  <a:schemeClr val="accent1"/>
                </a:solidFill>
                <a:ln w="19050" cap="flat" cmpd="sng" algn="ctr">
                  <a:solidFill>
                    <a:sysClr val="window" lastClr="FFFFFF"/>
                  </a:solidFill>
                  <a:prstDash val="solid"/>
                  <a:miter lim="800000"/>
                </a:ln>
                <a:effectLst/>
              </p:spPr>
              <p:txBody>
                <a:bodyPr lIns="38097" tIns="38097" rIns="38097" bIns="38097"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70" i="0" u="none" strike="noStrike" kern="0" cap="none" spc="0" normalizeH="0" baseline="0">
                      <a:ln>
                        <a:noFill/>
                      </a:ln>
                      <a:solidFill>
                        <a:prstClr val="white"/>
                      </a:solidFill>
                      <a:effectLst/>
                      <a:uLnTx/>
                      <a:uFillTx/>
                      <a:latin typeface="Arial" panose="020B0604020202020204" pitchFamily="34" charset="0"/>
                      <a:cs typeface="Arial" panose="020B0604020202020204" pitchFamily="34" charset="0"/>
                    </a:rPr>
                    <a:t>EDC</a:t>
                  </a:r>
                </a:p>
              </p:txBody>
            </p:sp>
            <p:cxnSp>
              <p:nvCxnSpPr>
                <p:cNvPr id="141" name="Gerader Verbinder 467">
                  <a:extLst>
                    <a:ext uri="{FF2B5EF4-FFF2-40B4-BE49-F238E27FC236}">
                      <a16:creationId xmlns:a16="http://schemas.microsoft.com/office/drawing/2014/main" id="{CB85CAE4-AEC8-E604-12C6-9B6793E0D3A8}"/>
                    </a:ext>
                  </a:extLst>
                </p:cNvPr>
                <p:cNvCxnSpPr>
                  <a:cxnSpLocks/>
                </p:cNvCxnSpPr>
                <p:nvPr/>
              </p:nvCxnSpPr>
              <p:spPr>
                <a:xfrm>
                  <a:off x="6342579" y="787691"/>
                  <a:ext cx="109548" cy="0"/>
                </a:xfrm>
                <a:prstGeom prst="line">
                  <a:avLst/>
                </a:prstGeom>
                <a:noFill/>
                <a:ln w="38100" cap="flat" cmpd="sng" algn="ctr">
                  <a:solidFill>
                    <a:schemeClr val="accent1"/>
                  </a:solidFill>
                  <a:prstDash val="solid"/>
                  <a:miter lim="800000"/>
                </a:ln>
                <a:effectLst/>
              </p:spPr>
            </p:cxnSp>
            <p:cxnSp>
              <p:nvCxnSpPr>
                <p:cNvPr id="142" name="Gerader Verbinder 468">
                  <a:extLst>
                    <a:ext uri="{FF2B5EF4-FFF2-40B4-BE49-F238E27FC236}">
                      <a16:creationId xmlns:a16="http://schemas.microsoft.com/office/drawing/2014/main" id="{79854F18-7AAC-4EF4-8127-070531E03238}"/>
                    </a:ext>
                  </a:extLst>
                </p:cNvPr>
                <p:cNvCxnSpPr>
                  <a:cxnSpLocks/>
                </p:cNvCxnSpPr>
                <p:nvPr/>
              </p:nvCxnSpPr>
              <p:spPr>
                <a:xfrm>
                  <a:off x="6342579" y="865691"/>
                  <a:ext cx="109548" cy="0"/>
                </a:xfrm>
                <a:prstGeom prst="line">
                  <a:avLst/>
                </a:prstGeom>
                <a:noFill/>
                <a:ln w="38100" cap="flat" cmpd="sng" algn="ctr">
                  <a:solidFill>
                    <a:schemeClr val="accent1"/>
                  </a:solidFill>
                  <a:prstDash val="solid"/>
                  <a:miter lim="800000"/>
                </a:ln>
                <a:effectLst/>
              </p:spPr>
            </p:cxnSp>
          </p:grpSp>
          <p:grpSp>
            <p:nvGrpSpPr>
              <p:cNvPr id="144" name="Group 143">
                <a:extLst>
                  <a:ext uri="{FF2B5EF4-FFF2-40B4-BE49-F238E27FC236}">
                    <a16:creationId xmlns:a16="http://schemas.microsoft.com/office/drawing/2014/main" id="{8487FCA9-29B6-F117-0C44-DC195478076A}"/>
                  </a:ext>
                </a:extLst>
              </p:cNvPr>
              <p:cNvGrpSpPr/>
              <p:nvPr/>
            </p:nvGrpSpPr>
            <p:grpSpPr>
              <a:xfrm>
                <a:off x="2260903" y="3010818"/>
                <a:ext cx="640193" cy="260174"/>
                <a:chOff x="6342579" y="696398"/>
                <a:chExt cx="640193" cy="260174"/>
              </a:xfrm>
            </p:grpSpPr>
            <p:sp>
              <p:nvSpPr>
                <p:cNvPr id="145" name="Rechteck 457">
                  <a:extLst>
                    <a:ext uri="{FF2B5EF4-FFF2-40B4-BE49-F238E27FC236}">
                      <a16:creationId xmlns:a16="http://schemas.microsoft.com/office/drawing/2014/main" id="{54CD794F-1D19-9F60-8636-180911B86DB7}"/>
                    </a:ext>
                  </a:extLst>
                </p:cNvPr>
                <p:cNvSpPr/>
                <p:nvPr/>
              </p:nvSpPr>
              <p:spPr>
                <a:xfrm>
                  <a:off x="6397353" y="696398"/>
                  <a:ext cx="585419" cy="260174"/>
                </a:xfrm>
                <a:prstGeom prst="rect">
                  <a:avLst/>
                </a:prstGeom>
                <a:solidFill>
                  <a:schemeClr val="accent1"/>
                </a:solidFill>
                <a:ln w="19050" cap="flat" cmpd="sng" algn="ctr">
                  <a:solidFill>
                    <a:sysClr val="window" lastClr="FFFFFF"/>
                  </a:solidFill>
                  <a:prstDash val="solid"/>
                  <a:miter lim="800000"/>
                </a:ln>
                <a:effectLst/>
              </p:spPr>
              <p:txBody>
                <a:bodyPr lIns="38097" tIns="38097" rIns="38097" bIns="38097"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70" i="0" u="none" strike="noStrike" kern="0" cap="none" spc="0" normalizeH="0" baseline="0">
                      <a:ln>
                        <a:noFill/>
                      </a:ln>
                      <a:solidFill>
                        <a:prstClr val="white"/>
                      </a:solidFill>
                      <a:effectLst/>
                      <a:uLnTx/>
                      <a:uFillTx/>
                      <a:latin typeface="Arial" panose="020B0604020202020204" pitchFamily="34" charset="0"/>
                      <a:cs typeface="Arial" panose="020B0604020202020204" pitchFamily="34" charset="0"/>
                    </a:rPr>
                    <a:t>EDC</a:t>
                  </a:r>
                </a:p>
              </p:txBody>
            </p:sp>
            <p:cxnSp>
              <p:nvCxnSpPr>
                <p:cNvPr id="146" name="Gerader Verbinder 467">
                  <a:extLst>
                    <a:ext uri="{FF2B5EF4-FFF2-40B4-BE49-F238E27FC236}">
                      <a16:creationId xmlns:a16="http://schemas.microsoft.com/office/drawing/2014/main" id="{D4787B4E-FAB7-BCB6-D102-87074DFC0037}"/>
                    </a:ext>
                  </a:extLst>
                </p:cNvPr>
                <p:cNvCxnSpPr>
                  <a:cxnSpLocks/>
                </p:cNvCxnSpPr>
                <p:nvPr/>
              </p:nvCxnSpPr>
              <p:spPr>
                <a:xfrm>
                  <a:off x="6342579" y="787691"/>
                  <a:ext cx="109548" cy="0"/>
                </a:xfrm>
                <a:prstGeom prst="line">
                  <a:avLst/>
                </a:prstGeom>
                <a:noFill/>
                <a:ln w="38100" cap="flat" cmpd="sng" algn="ctr">
                  <a:solidFill>
                    <a:schemeClr val="accent1"/>
                  </a:solidFill>
                  <a:prstDash val="solid"/>
                  <a:miter lim="800000"/>
                </a:ln>
                <a:effectLst/>
              </p:spPr>
            </p:cxnSp>
            <p:cxnSp>
              <p:nvCxnSpPr>
                <p:cNvPr id="147" name="Gerader Verbinder 468">
                  <a:extLst>
                    <a:ext uri="{FF2B5EF4-FFF2-40B4-BE49-F238E27FC236}">
                      <a16:creationId xmlns:a16="http://schemas.microsoft.com/office/drawing/2014/main" id="{F75543EA-E11E-797D-18DE-8ABDA90D4F2F}"/>
                    </a:ext>
                  </a:extLst>
                </p:cNvPr>
                <p:cNvCxnSpPr>
                  <a:cxnSpLocks/>
                </p:cNvCxnSpPr>
                <p:nvPr/>
              </p:nvCxnSpPr>
              <p:spPr>
                <a:xfrm>
                  <a:off x="6342579" y="865691"/>
                  <a:ext cx="109548" cy="0"/>
                </a:xfrm>
                <a:prstGeom prst="line">
                  <a:avLst/>
                </a:prstGeom>
                <a:noFill/>
                <a:ln w="38100" cap="flat" cmpd="sng" algn="ctr">
                  <a:solidFill>
                    <a:schemeClr val="accent1"/>
                  </a:solidFill>
                  <a:prstDash val="solid"/>
                  <a:miter lim="800000"/>
                </a:ln>
                <a:effectLst/>
              </p:spPr>
            </p:cxnSp>
          </p:grpSp>
        </p:grpSp>
      </p:grpSp>
      <p:grpSp>
        <p:nvGrpSpPr>
          <p:cNvPr id="219" name="Group 218">
            <a:extLst>
              <a:ext uri="{FF2B5EF4-FFF2-40B4-BE49-F238E27FC236}">
                <a16:creationId xmlns:a16="http://schemas.microsoft.com/office/drawing/2014/main" id="{D2390260-1743-6BA1-F686-A864A3FE78E7}"/>
              </a:ext>
            </a:extLst>
          </p:cNvPr>
          <p:cNvGrpSpPr/>
          <p:nvPr/>
        </p:nvGrpSpPr>
        <p:grpSpPr>
          <a:xfrm>
            <a:off x="4291320" y="2741431"/>
            <a:ext cx="6612231" cy="2857408"/>
            <a:chOff x="4291320" y="2741431"/>
            <a:chExt cx="6612231" cy="2857408"/>
          </a:xfrm>
        </p:grpSpPr>
        <p:sp>
          <p:nvSpPr>
            <p:cNvPr id="11" name="Freihandform: Form 401">
              <a:extLst>
                <a:ext uri="{FF2B5EF4-FFF2-40B4-BE49-F238E27FC236}">
                  <a16:creationId xmlns:a16="http://schemas.microsoft.com/office/drawing/2014/main" id="{29C91FD3-89A2-EA99-862F-4ECBA71E1E1B}"/>
                </a:ext>
              </a:extLst>
            </p:cNvPr>
            <p:cNvSpPr/>
            <p:nvPr/>
          </p:nvSpPr>
          <p:spPr>
            <a:xfrm>
              <a:off x="4291320" y="2741431"/>
              <a:ext cx="918213" cy="2857408"/>
            </a:xfrm>
            <a:custGeom>
              <a:avLst/>
              <a:gdLst>
                <a:gd name="connsiteX0" fmla="*/ 897147 w 897147"/>
                <a:gd name="connsiteY0" fmla="*/ 2700068 h 2700068"/>
                <a:gd name="connsiteX1" fmla="*/ 897147 w 897147"/>
                <a:gd name="connsiteY1" fmla="*/ 1871932 h 2700068"/>
                <a:gd name="connsiteX2" fmla="*/ 25879 w 897147"/>
                <a:gd name="connsiteY2" fmla="*/ 1871932 h 2700068"/>
                <a:gd name="connsiteX3" fmla="*/ 0 w 897147"/>
                <a:gd name="connsiteY3" fmla="*/ 1785668 h 2700068"/>
                <a:gd name="connsiteX4" fmla="*/ 0 w 897147"/>
                <a:gd name="connsiteY4" fmla="*/ 0 h 2700068"/>
                <a:gd name="connsiteX0" fmla="*/ 897147 w 897147"/>
                <a:gd name="connsiteY0" fmla="*/ 2700068 h 2700068"/>
                <a:gd name="connsiteX1" fmla="*/ 897147 w 897147"/>
                <a:gd name="connsiteY1" fmla="*/ 1871932 h 2700068"/>
                <a:gd name="connsiteX2" fmla="*/ 0 w 897147"/>
                <a:gd name="connsiteY2" fmla="*/ 1785668 h 2700068"/>
                <a:gd name="connsiteX3" fmla="*/ 0 w 897147"/>
                <a:gd name="connsiteY3" fmla="*/ 0 h 2700068"/>
                <a:gd name="connsiteX0" fmla="*/ 897147 w 897147"/>
                <a:gd name="connsiteY0" fmla="*/ 2700068 h 2700068"/>
                <a:gd name="connsiteX1" fmla="*/ 897147 w 897147"/>
                <a:gd name="connsiteY1" fmla="*/ 1871932 h 2700068"/>
                <a:gd name="connsiteX2" fmla="*/ 8626 w 897147"/>
                <a:gd name="connsiteY2" fmla="*/ 1863306 h 2700068"/>
                <a:gd name="connsiteX3" fmla="*/ 0 w 897147"/>
                <a:gd name="connsiteY3" fmla="*/ 0 h 2700068"/>
              </a:gdLst>
              <a:ahLst/>
              <a:cxnLst>
                <a:cxn ang="0">
                  <a:pos x="connsiteX0" y="connsiteY0"/>
                </a:cxn>
                <a:cxn ang="0">
                  <a:pos x="connsiteX1" y="connsiteY1"/>
                </a:cxn>
                <a:cxn ang="0">
                  <a:pos x="connsiteX2" y="connsiteY2"/>
                </a:cxn>
                <a:cxn ang="0">
                  <a:pos x="connsiteX3" y="connsiteY3"/>
                </a:cxn>
              </a:cxnLst>
              <a:rect l="l" t="t" r="r" b="b"/>
              <a:pathLst>
                <a:path w="897147" h="2700068">
                  <a:moveTo>
                    <a:pt x="897147" y="2700068"/>
                  </a:moveTo>
                  <a:lnTo>
                    <a:pt x="897147" y="1871932"/>
                  </a:lnTo>
                  <a:lnTo>
                    <a:pt x="8626" y="1863306"/>
                  </a:lnTo>
                  <a:cubicBezTo>
                    <a:pt x="5751" y="1242204"/>
                    <a:pt x="2875" y="621102"/>
                    <a:pt x="0" y="0"/>
                  </a:cubicBezTo>
                </a:path>
              </a:pathLst>
            </a:custGeom>
            <a:noFill/>
            <a:ln w="28575" cap="flat" cmpd="sng" algn="ctr">
              <a:solidFill>
                <a:schemeClr val="accent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905" b="0" i="0" u="none" strike="noStrike" kern="0" cap="none" spc="0" normalizeH="0" baseline="0">
                <a:ln>
                  <a:noFill/>
                </a:ln>
                <a:solidFill>
                  <a:schemeClr val="accent1"/>
                </a:solidFill>
                <a:effectLst/>
                <a:uLnTx/>
                <a:uFillTx/>
                <a:latin typeface="Arial" panose="020B0604020202020204" pitchFamily="34" charset="0"/>
                <a:cs typeface="Arial" panose="020B0604020202020204" pitchFamily="34" charset="0"/>
              </a:endParaRPr>
            </a:p>
          </p:txBody>
        </p:sp>
        <p:sp>
          <p:nvSpPr>
            <p:cNvPr id="12" name="Freihandform: Form 402">
              <a:extLst>
                <a:ext uri="{FF2B5EF4-FFF2-40B4-BE49-F238E27FC236}">
                  <a16:creationId xmlns:a16="http://schemas.microsoft.com/office/drawing/2014/main" id="{FF824F09-0FE5-DFC0-0BAD-267852C22AB5}"/>
                </a:ext>
              </a:extLst>
            </p:cNvPr>
            <p:cNvSpPr/>
            <p:nvPr/>
          </p:nvSpPr>
          <p:spPr>
            <a:xfrm flipH="1">
              <a:off x="9836776" y="2741431"/>
              <a:ext cx="1066775" cy="2857408"/>
            </a:xfrm>
            <a:custGeom>
              <a:avLst/>
              <a:gdLst>
                <a:gd name="connsiteX0" fmla="*/ 897147 w 897147"/>
                <a:gd name="connsiteY0" fmla="*/ 2700068 h 2700068"/>
                <a:gd name="connsiteX1" fmla="*/ 897147 w 897147"/>
                <a:gd name="connsiteY1" fmla="*/ 1871932 h 2700068"/>
                <a:gd name="connsiteX2" fmla="*/ 25879 w 897147"/>
                <a:gd name="connsiteY2" fmla="*/ 1871932 h 2700068"/>
                <a:gd name="connsiteX3" fmla="*/ 0 w 897147"/>
                <a:gd name="connsiteY3" fmla="*/ 1785668 h 2700068"/>
                <a:gd name="connsiteX4" fmla="*/ 0 w 897147"/>
                <a:gd name="connsiteY4" fmla="*/ 0 h 2700068"/>
                <a:gd name="connsiteX0" fmla="*/ 897147 w 897147"/>
                <a:gd name="connsiteY0" fmla="*/ 2700068 h 2700068"/>
                <a:gd name="connsiteX1" fmla="*/ 897147 w 897147"/>
                <a:gd name="connsiteY1" fmla="*/ 1871932 h 2700068"/>
                <a:gd name="connsiteX2" fmla="*/ 0 w 897147"/>
                <a:gd name="connsiteY2" fmla="*/ 1785668 h 2700068"/>
                <a:gd name="connsiteX3" fmla="*/ 0 w 897147"/>
                <a:gd name="connsiteY3" fmla="*/ 0 h 2700068"/>
                <a:gd name="connsiteX0" fmla="*/ 897147 w 897147"/>
                <a:gd name="connsiteY0" fmla="*/ 2700068 h 2700068"/>
                <a:gd name="connsiteX1" fmla="*/ 897147 w 897147"/>
                <a:gd name="connsiteY1" fmla="*/ 1871932 h 2700068"/>
                <a:gd name="connsiteX2" fmla="*/ 8626 w 897147"/>
                <a:gd name="connsiteY2" fmla="*/ 1863306 h 2700068"/>
                <a:gd name="connsiteX3" fmla="*/ 0 w 897147"/>
                <a:gd name="connsiteY3" fmla="*/ 0 h 2700068"/>
              </a:gdLst>
              <a:ahLst/>
              <a:cxnLst>
                <a:cxn ang="0">
                  <a:pos x="connsiteX0" y="connsiteY0"/>
                </a:cxn>
                <a:cxn ang="0">
                  <a:pos x="connsiteX1" y="connsiteY1"/>
                </a:cxn>
                <a:cxn ang="0">
                  <a:pos x="connsiteX2" y="connsiteY2"/>
                </a:cxn>
                <a:cxn ang="0">
                  <a:pos x="connsiteX3" y="connsiteY3"/>
                </a:cxn>
              </a:cxnLst>
              <a:rect l="l" t="t" r="r" b="b"/>
              <a:pathLst>
                <a:path w="897147" h="2700068">
                  <a:moveTo>
                    <a:pt x="897147" y="2700068"/>
                  </a:moveTo>
                  <a:lnTo>
                    <a:pt x="897147" y="1871932"/>
                  </a:lnTo>
                  <a:lnTo>
                    <a:pt x="8626" y="1863306"/>
                  </a:lnTo>
                  <a:cubicBezTo>
                    <a:pt x="5751" y="1242204"/>
                    <a:pt x="2875" y="621102"/>
                    <a:pt x="0" y="0"/>
                  </a:cubicBezTo>
                </a:path>
              </a:pathLst>
            </a:custGeom>
            <a:noFill/>
            <a:ln w="28575" cap="flat" cmpd="sng" algn="ctr">
              <a:solidFill>
                <a:schemeClr val="accent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905" b="0" i="0" u="none" strike="noStrike" kern="0" cap="none" spc="0" normalizeH="0" baseline="0">
                <a:ln>
                  <a:noFill/>
                </a:ln>
                <a:solidFill>
                  <a:schemeClr val="accent1"/>
                </a:solidFill>
                <a:effectLst/>
                <a:uLnTx/>
                <a:uFillTx/>
                <a:latin typeface="Arial" panose="020B0604020202020204" pitchFamily="34" charset="0"/>
                <a:cs typeface="Arial" panose="020B0604020202020204" pitchFamily="34" charset="0"/>
              </a:endParaRPr>
            </a:p>
          </p:txBody>
        </p:sp>
      </p:grpSp>
      <p:grpSp>
        <p:nvGrpSpPr>
          <p:cNvPr id="213" name="Group 212">
            <a:extLst>
              <a:ext uri="{FF2B5EF4-FFF2-40B4-BE49-F238E27FC236}">
                <a16:creationId xmlns:a16="http://schemas.microsoft.com/office/drawing/2014/main" id="{9487B501-A684-1532-07A9-07F396BCEF85}"/>
              </a:ext>
            </a:extLst>
          </p:cNvPr>
          <p:cNvGrpSpPr/>
          <p:nvPr/>
        </p:nvGrpSpPr>
        <p:grpSpPr>
          <a:xfrm>
            <a:off x="4234051" y="2148934"/>
            <a:ext cx="6782745" cy="1460293"/>
            <a:chOff x="4234051" y="2148934"/>
            <a:chExt cx="6782745" cy="1460293"/>
          </a:xfrm>
        </p:grpSpPr>
        <p:sp>
          <p:nvSpPr>
            <p:cNvPr id="88" name="Freihandform: Form 394">
              <a:extLst>
                <a:ext uri="{FF2B5EF4-FFF2-40B4-BE49-F238E27FC236}">
                  <a16:creationId xmlns:a16="http://schemas.microsoft.com/office/drawing/2014/main" id="{71C03AEB-ACCB-AEC4-0A9F-F4317292886E}"/>
                </a:ext>
              </a:extLst>
            </p:cNvPr>
            <p:cNvSpPr/>
            <p:nvPr/>
          </p:nvSpPr>
          <p:spPr>
            <a:xfrm>
              <a:off x="4360526" y="2714041"/>
              <a:ext cx="1539092" cy="639036"/>
            </a:xfrm>
            <a:custGeom>
              <a:avLst/>
              <a:gdLst>
                <a:gd name="connsiteX0" fmla="*/ 0 w 1535502"/>
                <a:gd name="connsiteY0" fmla="*/ 0 h 603849"/>
                <a:gd name="connsiteX1" fmla="*/ 0 w 1535502"/>
                <a:gd name="connsiteY1" fmla="*/ 603849 h 603849"/>
                <a:gd name="connsiteX2" fmla="*/ 1535502 w 1535502"/>
                <a:gd name="connsiteY2" fmla="*/ 603849 h 603849"/>
              </a:gdLst>
              <a:ahLst/>
              <a:cxnLst>
                <a:cxn ang="0">
                  <a:pos x="connsiteX0" y="connsiteY0"/>
                </a:cxn>
                <a:cxn ang="0">
                  <a:pos x="connsiteX1" y="connsiteY1"/>
                </a:cxn>
                <a:cxn ang="0">
                  <a:pos x="connsiteX2" y="connsiteY2"/>
                </a:cxn>
              </a:cxnLst>
              <a:rect l="l" t="t" r="r" b="b"/>
              <a:pathLst>
                <a:path w="1535502" h="603849">
                  <a:moveTo>
                    <a:pt x="0" y="0"/>
                  </a:moveTo>
                  <a:lnTo>
                    <a:pt x="0" y="603849"/>
                  </a:lnTo>
                  <a:lnTo>
                    <a:pt x="1535502" y="603849"/>
                  </a:lnTo>
                </a:path>
              </a:pathLst>
            </a:custGeom>
            <a:noFill/>
            <a:ln w="28575" cap="flat" cmpd="sng" algn="ctr">
              <a:solidFill>
                <a:sysClr val="windowText" lastClr="000000">
                  <a:lumMod val="50000"/>
                  <a:lumOff val="50000"/>
                </a:sysClr>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905" b="0" i="0" u="none" strike="noStrike" kern="0" cap="none" spc="0" normalizeH="0" baseline="0">
                <a:ln>
                  <a:noFill/>
                </a:ln>
                <a:solidFill>
                  <a:prstClr val="white"/>
                </a:solidFill>
                <a:effectLst/>
                <a:uLnTx/>
                <a:uFillTx/>
                <a:latin typeface="Arial" panose="020B0604020202020204" pitchFamily="34" charset="0"/>
                <a:cs typeface="Arial" panose="020B0604020202020204" pitchFamily="34" charset="0"/>
              </a:endParaRPr>
            </a:p>
          </p:txBody>
        </p:sp>
        <p:sp>
          <p:nvSpPr>
            <p:cNvPr id="89" name="Freihandform: Form 395">
              <a:extLst>
                <a:ext uri="{FF2B5EF4-FFF2-40B4-BE49-F238E27FC236}">
                  <a16:creationId xmlns:a16="http://schemas.microsoft.com/office/drawing/2014/main" id="{F5FCF757-60EF-8DE3-D3A8-91F4436CB81E}"/>
                </a:ext>
              </a:extLst>
            </p:cNvPr>
            <p:cNvSpPr/>
            <p:nvPr/>
          </p:nvSpPr>
          <p:spPr>
            <a:xfrm flipH="1">
              <a:off x="9219524" y="2714041"/>
              <a:ext cx="1629080" cy="639036"/>
            </a:xfrm>
            <a:custGeom>
              <a:avLst/>
              <a:gdLst>
                <a:gd name="connsiteX0" fmla="*/ 0 w 1535502"/>
                <a:gd name="connsiteY0" fmla="*/ 0 h 603849"/>
                <a:gd name="connsiteX1" fmla="*/ 0 w 1535502"/>
                <a:gd name="connsiteY1" fmla="*/ 603849 h 603849"/>
                <a:gd name="connsiteX2" fmla="*/ 1535502 w 1535502"/>
                <a:gd name="connsiteY2" fmla="*/ 603849 h 603849"/>
              </a:gdLst>
              <a:ahLst/>
              <a:cxnLst>
                <a:cxn ang="0">
                  <a:pos x="connsiteX0" y="connsiteY0"/>
                </a:cxn>
                <a:cxn ang="0">
                  <a:pos x="connsiteX1" y="connsiteY1"/>
                </a:cxn>
                <a:cxn ang="0">
                  <a:pos x="connsiteX2" y="connsiteY2"/>
                </a:cxn>
              </a:cxnLst>
              <a:rect l="l" t="t" r="r" b="b"/>
              <a:pathLst>
                <a:path w="1535502" h="603849">
                  <a:moveTo>
                    <a:pt x="0" y="0"/>
                  </a:moveTo>
                  <a:lnTo>
                    <a:pt x="0" y="603849"/>
                  </a:lnTo>
                  <a:lnTo>
                    <a:pt x="1535502" y="603849"/>
                  </a:lnTo>
                </a:path>
              </a:pathLst>
            </a:custGeom>
            <a:noFill/>
            <a:ln w="28575" cap="flat" cmpd="sng" algn="ctr">
              <a:solidFill>
                <a:sysClr val="windowText" lastClr="000000">
                  <a:lumMod val="50000"/>
                  <a:lumOff val="50000"/>
                </a:sysClr>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905" b="0" i="0" u="none" strike="noStrike" kern="0" cap="none" spc="0" normalizeH="0" baseline="0">
                <a:ln>
                  <a:noFill/>
                </a:ln>
                <a:solidFill>
                  <a:prstClr val="white"/>
                </a:solidFill>
                <a:effectLst/>
                <a:uLnTx/>
                <a:uFillTx/>
                <a:latin typeface="Arial" panose="020B0604020202020204" pitchFamily="34" charset="0"/>
                <a:cs typeface="Arial" panose="020B0604020202020204" pitchFamily="34" charset="0"/>
              </a:endParaRPr>
            </a:p>
          </p:txBody>
        </p:sp>
        <p:sp>
          <p:nvSpPr>
            <p:cNvPr id="91" name="Textfeld 398">
              <a:extLst>
                <a:ext uri="{FF2B5EF4-FFF2-40B4-BE49-F238E27FC236}">
                  <a16:creationId xmlns:a16="http://schemas.microsoft.com/office/drawing/2014/main" id="{1787EE53-E165-1E7B-6F2B-01501CD42658}"/>
                </a:ext>
              </a:extLst>
            </p:cNvPr>
            <p:cNvSpPr txBox="1"/>
            <p:nvPr/>
          </p:nvSpPr>
          <p:spPr>
            <a:xfrm>
              <a:off x="9602394" y="3124480"/>
              <a:ext cx="753398" cy="484747"/>
            </a:xfrm>
            <a:prstGeom prst="rect">
              <a:avLst/>
            </a:prstGeom>
            <a:solidFill>
              <a:sysClr val="window" lastClr="FFFFFF"/>
            </a:solid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rPr>
                <a:t>No operational data</a:t>
              </a:r>
            </a:p>
          </p:txBody>
        </p:sp>
        <p:sp>
          <p:nvSpPr>
            <p:cNvPr id="92" name="Textfeld 399">
              <a:extLst>
                <a:ext uri="{FF2B5EF4-FFF2-40B4-BE49-F238E27FC236}">
                  <a16:creationId xmlns:a16="http://schemas.microsoft.com/office/drawing/2014/main" id="{DD4A1FCD-DC89-0E84-ECC1-995B73AEBBAC}"/>
                </a:ext>
              </a:extLst>
            </p:cNvPr>
            <p:cNvSpPr txBox="1"/>
            <p:nvPr/>
          </p:nvSpPr>
          <p:spPr>
            <a:xfrm>
              <a:off x="4674386" y="3059963"/>
              <a:ext cx="753398" cy="484747"/>
            </a:xfrm>
            <a:prstGeom prst="rect">
              <a:avLst/>
            </a:prstGeom>
            <a:solidFill>
              <a:sysClr val="window" lastClr="FFFFFF"/>
            </a:solid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rPr>
                <a:t>No operational data</a:t>
              </a:r>
            </a:p>
          </p:txBody>
        </p:sp>
        <p:grpSp>
          <p:nvGrpSpPr>
            <p:cNvPr id="158" name="Group 157">
              <a:extLst>
                <a:ext uri="{FF2B5EF4-FFF2-40B4-BE49-F238E27FC236}">
                  <a16:creationId xmlns:a16="http://schemas.microsoft.com/office/drawing/2014/main" id="{44056BE8-71E9-F88D-BA30-68D3A9A5F41F}"/>
                </a:ext>
              </a:extLst>
            </p:cNvPr>
            <p:cNvGrpSpPr/>
            <p:nvPr/>
          </p:nvGrpSpPr>
          <p:grpSpPr>
            <a:xfrm rot="16200000">
              <a:off x="10556039" y="2349517"/>
              <a:ext cx="661340" cy="260174"/>
              <a:chOff x="8327840" y="6037070"/>
              <a:chExt cx="661340" cy="260174"/>
            </a:xfrm>
          </p:grpSpPr>
          <p:sp>
            <p:nvSpPr>
              <p:cNvPr id="155" name="Rechteck 578">
                <a:extLst>
                  <a:ext uri="{FF2B5EF4-FFF2-40B4-BE49-F238E27FC236}">
                    <a16:creationId xmlns:a16="http://schemas.microsoft.com/office/drawing/2014/main" id="{17934225-2170-8A71-EF35-6FCFC5051682}"/>
                  </a:ext>
                </a:extLst>
              </p:cNvPr>
              <p:cNvSpPr/>
              <p:nvPr/>
            </p:nvSpPr>
            <p:spPr>
              <a:xfrm>
                <a:off x="8327840" y="6037070"/>
                <a:ext cx="585419" cy="260174"/>
              </a:xfrm>
              <a:prstGeom prst="rect">
                <a:avLst/>
              </a:prstGeom>
              <a:solidFill>
                <a:schemeClr val="accent1"/>
              </a:solidFill>
              <a:ln w="12700" cap="flat" cmpd="sng" algn="ctr">
                <a:noFill/>
                <a:prstDash val="solid"/>
                <a:miter lim="800000"/>
              </a:ln>
              <a:effectLst/>
            </p:spPr>
            <p:txBody>
              <a:bodyPr lIns="38097" tIns="38097" rIns="38097" bIns="38097"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70" i="0" u="none" strike="noStrike" kern="0" cap="none" spc="0" normalizeH="0" baseline="0">
                    <a:ln>
                      <a:noFill/>
                    </a:ln>
                    <a:solidFill>
                      <a:prstClr val="white"/>
                    </a:solidFill>
                    <a:effectLst/>
                    <a:uLnTx/>
                    <a:uFillTx/>
                    <a:latin typeface="Arial" panose="020B0604020202020204" pitchFamily="34" charset="0"/>
                    <a:cs typeface="Arial" panose="020B0604020202020204" pitchFamily="34" charset="0"/>
                  </a:rPr>
                  <a:t>EDC</a:t>
                </a:r>
              </a:p>
            </p:txBody>
          </p:sp>
          <p:cxnSp>
            <p:nvCxnSpPr>
              <p:cNvPr id="156" name="Gerader Verbinder 581">
                <a:extLst>
                  <a:ext uri="{FF2B5EF4-FFF2-40B4-BE49-F238E27FC236}">
                    <a16:creationId xmlns:a16="http://schemas.microsoft.com/office/drawing/2014/main" id="{99E0DEFD-6948-D313-79FF-76C467B7CEC2}"/>
                  </a:ext>
                </a:extLst>
              </p:cNvPr>
              <p:cNvCxnSpPr>
                <a:cxnSpLocks/>
              </p:cNvCxnSpPr>
              <p:nvPr/>
            </p:nvCxnSpPr>
            <p:spPr>
              <a:xfrm>
                <a:off x="8879632" y="6120015"/>
                <a:ext cx="109548" cy="0"/>
              </a:xfrm>
              <a:prstGeom prst="line">
                <a:avLst/>
              </a:prstGeom>
              <a:noFill/>
              <a:ln w="38100" cap="flat" cmpd="sng" algn="ctr">
                <a:solidFill>
                  <a:schemeClr val="accent1"/>
                </a:solidFill>
                <a:prstDash val="solid"/>
                <a:miter lim="800000"/>
              </a:ln>
              <a:effectLst/>
            </p:spPr>
          </p:cxnSp>
          <p:cxnSp>
            <p:nvCxnSpPr>
              <p:cNvPr id="157" name="Gerader Verbinder 582">
                <a:extLst>
                  <a:ext uri="{FF2B5EF4-FFF2-40B4-BE49-F238E27FC236}">
                    <a16:creationId xmlns:a16="http://schemas.microsoft.com/office/drawing/2014/main" id="{22E2132E-7AAB-B744-83C1-281F634B4ACC}"/>
                  </a:ext>
                </a:extLst>
              </p:cNvPr>
              <p:cNvCxnSpPr>
                <a:cxnSpLocks/>
              </p:cNvCxnSpPr>
              <p:nvPr/>
            </p:nvCxnSpPr>
            <p:spPr>
              <a:xfrm>
                <a:off x="8879631" y="6198015"/>
                <a:ext cx="109548" cy="0"/>
              </a:xfrm>
              <a:prstGeom prst="line">
                <a:avLst/>
              </a:prstGeom>
              <a:noFill/>
              <a:ln w="38100" cap="flat" cmpd="sng" algn="ctr">
                <a:solidFill>
                  <a:schemeClr val="accent1"/>
                </a:solidFill>
                <a:prstDash val="solid"/>
                <a:miter lim="800000"/>
              </a:ln>
              <a:effectLst/>
            </p:spPr>
          </p:cxnSp>
        </p:grpSp>
        <p:grpSp>
          <p:nvGrpSpPr>
            <p:cNvPr id="159" name="Group 158">
              <a:extLst>
                <a:ext uri="{FF2B5EF4-FFF2-40B4-BE49-F238E27FC236}">
                  <a16:creationId xmlns:a16="http://schemas.microsoft.com/office/drawing/2014/main" id="{6DD90B23-E525-544B-E3FE-F41C9EEEC092}"/>
                </a:ext>
              </a:extLst>
            </p:cNvPr>
            <p:cNvGrpSpPr/>
            <p:nvPr/>
          </p:nvGrpSpPr>
          <p:grpSpPr>
            <a:xfrm rot="16200000">
              <a:off x="4033468" y="2349517"/>
              <a:ext cx="661340" cy="260174"/>
              <a:chOff x="8327840" y="6037070"/>
              <a:chExt cx="661340" cy="260174"/>
            </a:xfrm>
          </p:grpSpPr>
          <p:sp>
            <p:nvSpPr>
              <p:cNvPr id="160" name="Rechteck 578">
                <a:extLst>
                  <a:ext uri="{FF2B5EF4-FFF2-40B4-BE49-F238E27FC236}">
                    <a16:creationId xmlns:a16="http://schemas.microsoft.com/office/drawing/2014/main" id="{6C9A2804-BCFD-8DA1-3858-56DD1913115D}"/>
                  </a:ext>
                </a:extLst>
              </p:cNvPr>
              <p:cNvSpPr/>
              <p:nvPr/>
            </p:nvSpPr>
            <p:spPr>
              <a:xfrm>
                <a:off x="8327840" y="6037070"/>
                <a:ext cx="585419" cy="260174"/>
              </a:xfrm>
              <a:prstGeom prst="rect">
                <a:avLst/>
              </a:prstGeom>
              <a:solidFill>
                <a:schemeClr val="accent1"/>
              </a:solidFill>
              <a:ln w="12700" cap="flat" cmpd="sng" algn="ctr">
                <a:noFill/>
                <a:prstDash val="solid"/>
                <a:miter lim="800000"/>
              </a:ln>
              <a:effectLst/>
            </p:spPr>
            <p:txBody>
              <a:bodyPr lIns="38097" tIns="38097" rIns="38097" bIns="38097"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70" i="0" u="none" strike="noStrike" kern="0" cap="none" spc="0" normalizeH="0" baseline="0">
                    <a:ln>
                      <a:noFill/>
                    </a:ln>
                    <a:solidFill>
                      <a:prstClr val="white"/>
                    </a:solidFill>
                    <a:effectLst/>
                    <a:uLnTx/>
                    <a:uFillTx/>
                    <a:latin typeface="Arial" panose="020B0604020202020204" pitchFamily="34" charset="0"/>
                    <a:cs typeface="Arial" panose="020B0604020202020204" pitchFamily="34" charset="0"/>
                  </a:rPr>
                  <a:t>EDC</a:t>
                </a:r>
              </a:p>
            </p:txBody>
          </p:sp>
          <p:cxnSp>
            <p:nvCxnSpPr>
              <p:cNvPr id="161" name="Gerader Verbinder 581">
                <a:extLst>
                  <a:ext uri="{FF2B5EF4-FFF2-40B4-BE49-F238E27FC236}">
                    <a16:creationId xmlns:a16="http://schemas.microsoft.com/office/drawing/2014/main" id="{4390FAD5-6DB2-79EC-D76A-16724C59ECD2}"/>
                  </a:ext>
                </a:extLst>
              </p:cNvPr>
              <p:cNvCxnSpPr>
                <a:cxnSpLocks/>
              </p:cNvCxnSpPr>
              <p:nvPr/>
            </p:nvCxnSpPr>
            <p:spPr>
              <a:xfrm>
                <a:off x="8879632" y="6120015"/>
                <a:ext cx="109548" cy="0"/>
              </a:xfrm>
              <a:prstGeom prst="line">
                <a:avLst/>
              </a:prstGeom>
              <a:noFill/>
              <a:ln w="38100" cap="flat" cmpd="sng" algn="ctr">
                <a:solidFill>
                  <a:schemeClr val="accent1"/>
                </a:solidFill>
                <a:prstDash val="solid"/>
                <a:miter lim="800000"/>
              </a:ln>
              <a:effectLst/>
            </p:spPr>
          </p:cxnSp>
          <p:cxnSp>
            <p:nvCxnSpPr>
              <p:cNvPr id="162" name="Gerader Verbinder 582">
                <a:extLst>
                  <a:ext uri="{FF2B5EF4-FFF2-40B4-BE49-F238E27FC236}">
                    <a16:creationId xmlns:a16="http://schemas.microsoft.com/office/drawing/2014/main" id="{54BCAD4E-D5BD-3ACB-D475-ECCDDB0339AC}"/>
                  </a:ext>
                </a:extLst>
              </p:cNvPr>
              <p:cNvCxnSpPr>
                <a:cxnSpLocks/>
              </p:cNvCxnSpPr>
              <p:nvPr/>
            </p:nvCxnSpPr>
            <p:spPr>
              <a:xfrm>
                <a:off x="8879631" y="6198015"/>
                <a:ext cx="109548" cy="0"/>
              </a:xfrm>
              <a:prstGeom prst="line">
                <a:avLst/>
              </a:prstGeom>
              <a:noFill/>
              <a:ln w="38100" cap="flat" cmpd="sng" algn="ctr">
                <a:solidFill>
                  <a:schemeClr val="accent1"/>
                </a:solidFill>
                <a:prstDash val="solid"/>
                <a:miter lim="800000"/>
              </a:ln>
              <a:effectLst/>
            </p:spPr>
          </p:cxnSp>
        </p:grpSp>
      </p:grpSp>
      <p:grpSp>
        <p:nvGrpSpPr>
          <p:cNvPr id="216" name="Group 215">
            <a:extLst>
              <a:ext uri="{FF2B5EF4-FFF2-40B4-BE49-F238E27FC236}">
                <a16:creationId xmlns:a16="http://schemas.microsoft.com/office/drawing/2014/main" id="{E7F25BC3-0EF5-9198-A6B4-EA5125001220}"/>
              </a:ext>
            </a:extLst>
          </p:cNvPr>
          <p:cNvGrpSpPr/>
          <p:nvPr/>
        </p:nvGrpSpPr>
        <p:grpSpPr>
          <a:xfrm>
            <a:off x="1589369" y="1302329"/>
            <a:ext cx="2523142" cy="1804267"/>
            <a:chOff x="1589369" y="1302329"/>
            <a:chExt cx="2523142" cy="1804267"/>
          </a:xfrm>
        </p:grpSpPr>
        <p:grpSp>
          <p:nvGrpSpPr>
            <p:cNvPr id="64" name="Gruppieren 595">
              <a:extLst>
                <a:ext uri="{FF2B5EF4-FFF2-40B4-BE49-F238E27FC236}">
                  <a16:creationId xmlns:a16="http://schemas.microsoft.com/office/drawing/2014/main" id="{0A83AE03-A9A9-7CB1-1D08-552B0813CB16}"/>
                </a:ext>
              </a:extLst>
            </p:cNvPr>
            <p:cNvGrpSpPr/>
            <p:nvPr/>
          </p:nvGrpSpPr>
          <p:grpSpPr>
            <a:xfrm>
              <a:off x="1589369" y="1316623"/>
              <a:ext cx="2523142" cy="1056403"/>
              <a:chOff x="1496998" y="1202201"/>
              <a:chExt cx="2384173" cy="998217"/>
            </a:xfrm>
          </p:grpSpPr>
          <p:sp>
            <p:nvSpPr>
              <p:cNvPr id="67" name="Rechteck: abgerundete Ecken 599">
                <a:extLst>
                  <a:ext uri="{FF2B5EF4-FFF2-40B4-BE49-F238E27FC236}">
                    <a16:creationId xmlns:a16="http://schemas.microsoft.com/office/drawing/2014/main" id="{6BFA48B2-4664-D474-C70F-722FDC9F6A50}"/>
                  </a:ext>
                </a:extLst>
              </p:cNvPr>
              <p:cNvSpPr/>
              <p:nvPr/>
            </p:nvSpPr>
            <p:spPr>
              <a:xfrm>
                <a:off x="1496998" y="1202201"/>
                <a:ext cx="1819635" cy="856670"/>
              </a:xfrm>
              <a:prstGeom prst="roundRect">
                <a:avLst>
                  <a:gd name="adj" fmla="val 8973"/>
                </a:avLst>
              </a:prstGeom>
              <a:solidFill>
                <a:srgbClr val="CACCC2"/>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905" b="0" i="0" u="none" strike="noStrike" kern="0" cap="none" spc="0" normalizeH="0" baseline="0">
                  <a:ln>
                    <a:noFill/>
                  </a:ln>
                  <a:solidFill>
                    <a:prstClr val="white"/>
                  </a:solidFill>
                  <a:effectLst/>
                  <a:uLnTx/>
                  <a:uFillTx/>
                  <a:latin typeface="Arial" panose="020B0604020202020204" pitchFamily="34" charset="0"/>
                  <a:cs typeface="Arial" panose="020B0604020202020204" pitchFamily="34" charset="0"/>
                </a:endParaRPr>
              </a:p>
            </p:txBody>
          </p:sp>
          <p:cxnSp>
            <p:nvCxnSpPr>
              <p:cNvPr id="68" name="Gerader Verbinder 600">
                <a:extLst>
                  <a:ext uri="{FF2B5EF4-FFF2-40B4-BE49-F238E27FC236}">
                    <a16:creationId xmlns:a16="http://schemas.microsoft.com/office/drawing/2014/main" id="{6FF05731-A6B8-71E0-C678-8525346DD9ED}"/>
                  </a:ext>
                </a:extLst>
              </p:cNvPr>
              <p:cNvCxnSpPr>
                <a:cxnSpLocks/>
              </p:cNvCxnSpPr>
              <p:nvPr/>
            </p:nvCxnSpPr>
            <p:spPr>
              <a:xfrm>
                <a:off x="2526837" y="1680711"/>
                <a:ext cx="0" cy="378159"/>
              </a:xfrm>
              <a:prstGeom prst="line">
                <a:avLst/>
              </a:prstGeom>
              <a:noFill/>
              <a:ln w="12700" cap="flat" cmpd="sng" algn="ctr">
                <a:solidFill>
                  <a:schemeClr val="bg1"/>
                </a:solidFill>
                <a:prstDash val="solid"/>
                <a:miter lim="800000"/>
              </a:ln>
              <a:effectLst/>
            </p:spPr>
          </p:cxnSp>
          <p:cxnSp>
            <p:nvCxnSpPr>
              <p:cNvPr id="69" name="Gerader Verbinder 601">
                <a:extLst>
                  <a:ext uri="{FF2B5EF4-FFF2-40B4-BE49-F238E27FC236}">
                    <a16:creationId xmlns:a16="http://schemas.microsoft.com/office/drawing/2014/main" id="{28BAB43E-CF57-9EF6-0805-0A7C212EDFA0}"/>
                  </a:ext>
                </a:extLst>
              </p:cNvPr>
              <p:cNvCxnSpPr>
                <a:cxnSpLocks/>
              </p:cNvCxnSpPr>
              <p:nvPr/>
            </p:nvCxnSpPr>
            <p:spPr>
              <a:xfrm>
                <a:off x="1975024" y="1680711"/>
                <a:ext cx="0" cy="378159"/>
              </a:xfrm>
              <a:prstGeom prst="line">
                <a:avLst/>
              </a:prstGeom>
              <a:noFill/>
              <a:ln w="12700" cap="flat" cmpd="sng" algn="ctr">
                <a:solidFill>
                  <a:schemeClr val="bg1"/>
                </a:solidFill>
                <a:prstDash val="solid"/>
                <a:miter lim="800000"/>
              </a:ln>
              <a:effectLst/>
            </p:spPr>
          </p:cxnSp>
          <p:sp>
            <p:nvSpPr>
              <p:cNvPr id="70" name="Textfeld 602">
                <a:extLst>
                  <a:ext uri="{FF2B5EF4-FFF2-40B4-BE49-F238E27FC236}">
                    <a16:creationId xmlns:a16="http://schemas.microsoft.com/office/drawing/2014/main" id="{C0D2108E-A903-6E9A-4138-BFFDBF4683CC}"/>
                  </a:ext>
                </a:extLst>
              </p:cNvPr>
              <p:cNvSpPr txBox="1"/>
              <p:nvPr/>
            </p:nvSpPr>
            <p:spPr>
              <a:xfrm>
                <a:off x="2510636" y="1566550"/>
                <a:ext cx="686249" cy="23265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rPr>
                  <a:t>Tenant</a:t>
                </a:r>
              </a:p>
            </p:txBody>
          </p:sp>
          <p:sp>
            <p:nvSpPr>
              <p:cNvPr id="71" name="Textfeld 603">
                <a:extLst>
                  <a:ext uri="{FF2B5EF4-FFF2-40B4-BE49-F238E27FC236}">
                    <a16:creationId xmlns:a16="http://schemas.microsoft.com/office/drawing/2014/main" id="{DB74321C-5294-DDC6-8E77-68B5FA230CE3}"/>
                  </a:ext>
                </a:extLst>
              </p:cNvPr>
              <p:cNvSpPr txBox="1"/>
              <p:nvPr/>
            </p:nvSpPr>
            <p:spPr>
              <a:xfrm>
                <a:off x="1980148" y="1555701"/>
                <a:ext cx="619449" cy="23265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rPr>
                  <a:t>Tenant </a:t>
                </a:r>
              </a:p>
            </p:txBody>
          </p:sp>
          <p:sp>
            <p:nvSpPr>
              <p:cNvPr id="72" name="Textfeld 604">
                <a:extLst>
                  <a:ext uri="{FF2B5EF4-FFF2-40B4-BE49-F238E27FC236}">
                    <a16:creationId xmlns:a16="http://schemas.microsoft.com/office/drawing/2014/main" id="{1E29FE71-3D7A-A1AA-A548-FB6F5023033E}"/>
                  </a:ext>
                </a:extLst>
              </p:cNvPr>
              <p:cNvSpPr txBox="1"/>
              <p:nvPr/>
            </p:nvSpPr>
            <p:spPr>
              <a:xfrm>
                <a:off x="2568898" y="1766697"/>
                <a:ext cx="551894" cy="23265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rPr>
                  <a:t>SME 1</a:t>
                </a:r>
              </a:p>
            </p:txBody>
          </p:sp>
          <p:sp>
            <p:nvSpPr>
              <p:cNvPr id="73" name="Textfeld 612">
                <a:extLst>
                  <a:ext uri="{FF2B5EF4-FFF2-40B4-BE49-F238E27FC236}">
                    <a16:creationId xmlns:a16="http://schemas.microsoft.com/office/drawing/2014/main" id="{6B0C5CC8-5C19-0830-CA71-7E0036CB77BE}"/>
                  </a:ext>
                </a:extLst>
              </p:cNvPr>
              <p:cNvSpPr txBox="1"/>
              <p:nvPr/>
            </p:nvSpPr>
            <p:spPr>
              <a:xfrm>
                <a:off x="1496998" y="1222869"/>
                <a:ext cx="1726711" cy="256532"/>
              </a:xfrm>
              <a:prstGeom prst="rect">
                <a:avLst/>
              </a:prstGeom>
              <a:noFill/>
            </p:spPr>
            <p:txBody>
              <a:bodyPr wrap="square" rtlCol="0">
                <a:spAutoFit/>
              </a:bodyPr>
              <a:lstStyle/>
              <a:p>
                <a:pPr lvl="0">
                  <a:defRPr/>
                </a:pPr>
                <a:r>
                  <a:rPr lang="en-US" sz="1164" kern="0">
                    <a:solidFill>
                      <a:schemeClr val="bg1"/>
                    </a:solidFill>
                    <a:latin typeface="Arial" panose="020B0604020202020204" pitchFamily="34" charset="0"/>
                    <a:cs typeface="Arial" panose="020B0604020202020204" pitchFamily="34" charset="0"/>
                  </a:rPr>
                  <a:t>Open Source  </a:t>
                </a:r>
                <a:r>
                  <a:rPr kumimoji="0" lang="en-US" sz="1164"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rPr>
                  <a:t>SaaS</a:t>
                </a:r>
              </a:p>
            </p:txBody>
          </p:sp>
          <p:cxnSp>
            <p:nvCxnSpPr>
              <p:cNvPr id="74" name="Gerader Verbinder 615">
                <a:extLst>
                  <a:ext uri="{FF2B5EF4-FFF2-40B4-BE49-F238E27FC236}">
                    <a16:creationId xmlns:a16="http://schemas.microsoft.com/office/drawing/2014/main" id="{6353D6B7-A2BB-6D43-8FE0-5D85AF488C3D}"/>
                  </a:ext>
                </a:extLst>
              </p:cNvPr>
              <p:cNvCxnSpPr>
                <a:cxnSpLocks/>
              </p:cNvCxnSpPr>
              <p:nvPr/>
            </p:nvCxnSpPr>
            <p:spPr>
              <a:xfrm flipV="1">
                <a:off x="3016061" y="2200417"/>
                <a:ext cx="865110" cy="1"/>
              </a:xfrm>
              <a:prstGeom prst="line">
                <a:avLst/>
              </a:prstGeom>
              <a:noFill/>
              <a:ln w="28575" cap="flat" cmpd="sng" algn="ctr">
                <a:solidFill>
                  <a:schemeClr val="accent1"/>
                </a:solidFill>
                <a:prstDash val="solid"/>
                <a:miter lim="800000"/>
              </a:ln>
              <a:effectLst/>
            </p:spPr>
          </p:cxnSp>
        </p:grpSp>
        <p:sp>
          <p:nvSpPr>
            <p:cNvPr id="65" name="Freihandform: Form 598">
              <a:extLst>
                <a:ext uri="{FF2B5EF4-FFF2-40B4-BE49-F238E27FC236}">
                  <a16:creationId xmlns:a16="http://schemas.microsoft.com/office/drawing/2014/main" id="{45603C99-C747-13D1-F95F-A00255005F25}"/>
                </a:ext>
              </a:extLst>
            </p:cNvPr>
            <p:cNvSpPr/>
            <p:nvPr/>
          </p:nvSpPr>
          <p:spPr>
            <a:xfrm>
              <a:off x="2881621" y="2695786"/>
              <a:ext cx="118846" cy="410810"/>
            </a:xfrm>
            <a:custGeom>
              <a:avLst/>
              <a:gdLst>
                <a:gd name="connsiteX0" fmla="*/ 0 w 983411"/>
                <a:gd name="connsiteY0" fmla="*/ 388189 h 388189"/>
                <a:gd name="connsiteX1" fmla="*/ 983411 w 983411"/>
                <a:gd name="connsiteY1" fmla="*/ 388189 h 388189"/>
                <a:gd name="connsiteX2" fmla="*/ 983411 w 983411"/>
                <a:gd name="connsiteY2" fmla="*/ 0 h 388189"/>
              </a:gdLst>
              <a:ahLst/>
              <a:cxnLst>
                <a:cxn ang="0">
                  <a:pos x="connsiteX0" y="connsiteY0"/>
                </a:cxn>
                <a:cxn ang="0">
                  <a:pos x="connsiteX1" y="connsiteY1"/>
                </a:cxn>
                <a:cxn ang="0">
                  <a:pos x="connsiteX2" y="connsiteY2"/>
                </a:cxn>
              </a:cxnLst>
              <a:rect l="l" t="t" r="r" b="b"/>
              <a:pathLst>
                <a:path w="983411" h="388189">
                  <a:moveTo>
                    <a:pt x="0" y="388189"/>
                  </a:moveTo>
                  <a:lnTo>
                    <a:pt x="983411" y="388189"/>
                  </a:lnTo>
                  <a:lnTo>
                    <a:pt x="983411" y="0"/>
                  </a:lnTo>
                </a:path>
              </a:pathLst>
            </a:custGeom>
            <a:noFill/>
            <a:ln w="28575" cap="flat" cmpd="sng" algn="ctr">
              <a:solidFill>
                <a:schemeClr val="accent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905" b="0" i="0" u="none" strike="noStrike" kern="0" cap="none" spc="0" normalizeH="0" baseline="0">
                <a:ln>
                  <a:noFill/>
                </a:ln>
                <a:solidFill>
                  <a:prstClr val="black"/>
                </a:solidFill>
                <a:effectLst/>
                <a:uLnTx/>
                <a:uFillTx/>
                <a:latin typeface="Arial" panose="020B0604020202020204" pitchFamily="34" charset="0"/>
                <a:cs typeface="Arial" panose="020B0604020202020204" pitchFamily="34" charset="0"/>
              </a:endParaRPr>
            </a:p>
          </p:txBody>
        </p:sp>
        <p:pic>
          <p:nvPicPr>
            <p:cNvPr id="124" name="Grafik 3">
              <a:extLst>
                <a:ext uri="{FF2B5EF4-FFF2-40B4-BE49-F238E27FC236}">
                  <a16:creationId xmlns:a16="http://schemas.microsoft.com/office/drawing/2014/main" id="{333BEA33-9624-ED74-E6EB-DF41E6CD2E4F}"/>
                </a:ext>
              </a:extLst>
            </p:cNvPr>
            <p:cNvPicPr>
              <a:picLocks noChangeAspect="1"/>
            </p:cNvPicPr>
            <p:nvPr/>
          </p:nvPicPr>
          <p:blipFill>
            <a:blip r:embed="rId19">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063712" y="1302329"/>
              <a:ext cx="336579" cy="336579"/>
            </a:xfrm>
            <a:prstGeom prst="rect">
              <a:avLst/>
            </a:prstGeom>
          </p:spPr>
        </p:pic>
        <p:grpSp>
          <p:nvGrpSpPr>
            <p:cNvPr id="164" name="Group 163">
              <a:extLst>
                <a:ext uri="{FF2B5EF4-FFF2-40B4-BE49-F238E27FC236}">
                  <a16:creationId xmlns:a16="http://schemas.microsoft.com/office/drawing/2014/main" id="{025B5357-C1DC-41B8-7733-351A6EB68ED3}"/>
                </a:ext>
              </a:extLst>
            </p:cNvPr>
            <p:cNvGrpSpPr/>
            <p:nvPr/>
          </p:nvGrpSpPr>
          <p:grpSpPr>
            <a:xfrm rot="16200000">
              <a:off x="2694153" y="2349517"/>
              <a:ext cx="661340" cy="260174"/>
              <a:chOff x="8327840" y="6037070"/>
              <a:chExt cx="661340" cy="260174"/>
            </a:xfrm>
          </p:grpSpPr>
          <p:sp>
            <p:nvSpPr>
              <p:cNvPr id="165" name="Rechteck 578">
                <a:extLst>
                  <a:ext uri="{FF2B5EF4-FFF2-40B4-BE49-F238E27FC236}">
                    <a16:creationId xmlns:a16="http://schemas.microsoft.com/office/drawing/2014/main" id="{67C81454-F9CC-CEB2-B4BD-4F6B61773796}"/>
                  </a:ext>
                </a:extLst>
              </p:cNvPr>
              <p:cNvSpPr/>
              <p:nvPr/>
            </p:nvSpPr>
            <p:spPr>
              <a:xfrm>
                <a:off x="8327840" y="6037070"/>
                <a:ext cx="585419" cy="260174"/>
              </a:xfrm>
              <a:prstGeom prst="rect">
                <a:avLst/>
              </a:prstGeom>
              <a:solidFill>
                <a:schemeClr val="accent1"/>
              </a:solidFill>
              <a:ln w="12700" cap="flat" cmpd="sng" algn="ctr">
                <a:noFill/>
                <a:prstDash val="solid"/>
                <a:miter lim="800000"/>
              </a:ln>
              <a:effectLst/>
            </p:spPr>
            <p:txBody>
              <a:bodyPr lIns="38097" tIns="38097" rIns="38097" bIns="38097"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70" i="0" u="none" strike="noStrike" kern="0" cap="none" spc="0" normalizeH="0" baseline="0">
                    <a:ln>
                      <a:noFill/>
                    </a:ln>
                    <a:solidFill>
                      <a:prstClr val="white"/>
                    </a:solidFill>
                    <a:effectLst/>
                    <a:uLnTx/>
                    <a:uFillTx/>
                    <a:latin typeface="Arial" panose="020B0604020202020204" pitchFamily="34" charset="0"/>
                    <a:cs typeface="Arial" panose="020B0604020202020204" pitchFamily="34" charset="0"/>
                  </a:rPr>
                  <a:t>EDC</a:t>
                </a:r>
              </a:p>
            </p:txBody>
          </p:sp>
          <p:cxnSp>
            <p:nvCxnSpPr>
              <p:cNvPr id="166" name="Gerader Verbinder 581">
                <a:extLst>
                  <a:ext uri="{FF2B5EF4-FFF2-40B4-BE49-F238E27FC236}">
                    <a16:creationId xmlns:a16="http://schemas.microsoft.com/office/drawing/2014/main" id="{3F4ABF5B-9743-61E6-F320-FD14C9CE9A94}"/>
                  </a:ext>
                </a:extLst>
              </p:cNvPr>
              <p:cNvCxnSpPr>
                <a:cxnSpLocks/>
              </p:cNvCxnSpPr>
              <p:nvPr/>
            </p:nvCxnSpPr>
            <p:spPr>
              <a:xfrm>
                <a:off x="8879632" y="6120015"/>
                <a:ext cx="109548" cy="0"/>
              </a:xfrm>
              <a:prstGeom prst="line">
                <a:avLst/>
              </a:prstGeom>
              <a:noFill/>
              <a:ln w="38100" cap="flat" cmpd="sng" algn="ctr">
                <a:solidFill>
                  <a:schemeClr val="accent1"/>
                </a:solidFill>
                <a:prstDash val="solid"/>
                <a:miter lim="800000"/>
              </a:ln>
              <a:effectLst/>
            </p:spPr>
          </p:cxnSp>
          <p:cxnSp>
            <p:nvCxnSpPr>
              <p:cNvPr id="167" name="Gerader Verbinder 582">
                <a:extLst>
                  <a:ext uri="{FF2B5EF4-FFF2-40B4-BE49-F238E27FC236}">
                    <a16:creationId xmlns:a16="http://schemas.microsoft.com/office/drawing/2014/main" id="{D8B4EBF1-115C-C738-1A8A-42A466D83E83}"/>
                  </a:ext>
                </a:extLst>
              </p:cNvPr>
              <p:cNvCxnSpPr>
                <a:cxnSpLocks/>
              </p:cNvCxnSpPr>
              <p:nvPr/>
            </p:nvCxnSpPr>
            <p:spPr>
              <a:xfrm>
                <a:off x="8879631" y="6198015"/>
                <a:ext cx="109548" cy="0"/>
              </a:xfrm>
              <a:prstGeom prst="line">
                <a:avLst/>
              </a:prstGeom>
              <a:noFill/>
              <a:ln w="38100" cap="flat" cmpd="sng" algn="ctr">
                <a:solidFill>
                  <a:schemeClr val="accent1"/>
                </a:solidFill>
                <a:prstDash val="solid"/>
                <a:miter lim="800000"/>
              </a:ln>
              <a:effectLst/>
            </p:spPr>
          </p:cxnSp>
        </p:grpSp>
      </p:grpSp>
      <p:sp>
        <p:nvSpPr>
          <p:cNvPr id="168" name="Fußzeilenplatzhalter 3">
            <a:extLst>
              <a:ext uri="{FF2B5EF4-FFF2-40B4-BE49-F238E27FC236}">
                <a16:creationId xmlns:a16="http://schemas.microsoft.com/office/drawing/2014/main" id="{393E14AF-171C-4589-3681-AFE9D5ED864A}"/>
              </a:ext>
            </a:extLst>
          </p:cNvPr>
          <p:cNvSpPr txBox="1">
            <a:spLocks/>
          </p:cNvSpPr>
          <p:nvPr/>
        </p:nvSpPr>
        <p:spPr>
          <a:xfrm>
            <a:off x="1368178" y="6516000"/>
            <a:ext cx="5616000" cy="167933"/>
          </a:xfrm>
          <a:prstGeom prst="rect">
            <a:avLst/>
          </a:prstGeom>
        </p:spPr>
        <p:txBody>
          <a:bodyPr lIns="0" tIns="0" rIns="0" bIns="0"/>
          <a:ls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900" dirty="0">
                <a:latin typeface="Arial" panose="020B0604020202020204"/>
                <a:cs typeface="Arial"/>
              </a:rPr>
              <a:t>|  </a:t>
            </a:r>
            <a:r>
              <a:rPr lang="en-US" sz="900" dirty="0">
                <a:latin typeface="+mj-lt"/>
                <a:cs typeface="Calibri" panose="020F0502020204030204" pitchFamily="34" charset="0"/>
                <a:sym typeface="Calibri" panose="020F0502020204030204" pitchFamily="34" charset="0"/>
              </a:rPr>
              <a:t>Source: </a:t>
            </a:r>
            <a:r>
              <a:rPr lang="en-US" sz="900" dirty="0">
                <a:latin typeface="Arial" panose="020B0604020202020204"/>
                <a:cs typeface="Arial"/>
                <a:sym typeface="Calibri" panose="020F0502020204030204" pitchFamily="34" charset="0"/>
                <a:hlinkClick r:id="rId20">
                  <a:extLst>
                    <a:ext uri="{A12FA001-AC4F-418D-AE19-62706E023703}">
                      <ahyp:hlinkClr xmlns:ahyp="http://schemas.microsoft.com/office/drawing/2018/hyperlinkcolor" val="tx"/>
                    </a:ext>
                  </a:extLst>
                </a:hlinkClick>
              </a:rPr>
              <a:t>https://catena-x.net/en/1/offers/edc-the-central-component</a:t>
            </a:r>
            <a:r>
              <a:rPr lang="en-US" sz="900" dirty="0">
                <a:latin typeface="Arial" panose="020B0604020202020204"/>
                <a:cs typeface="Arial"/>
                <a:sym typeface="Calibri" panose="020F0502020204030204" pitchFamily="34" charset="0"/>
              </a:rPr>
              <a:t> </a:t>
            </a:r>
          </a:p>
        </p:txBody>
      </p:sp>
      <p:grpSp>
        <p:nvGrpSpPr>
          <p:cNvPr id="3" name="Group 2">
            <a:extLst>
              <a:ext uri="{FF2B5EF4-FFF2-40B4-BE49-F238E27FC236}">
                <a16:creationId xmlns:a16="http://schemas.microsoft.com/office/drawing/2014/main" id="{881E49F9-3861-5ECB-30F2-E8A7C2D152C8}"/>
              </a:ext>
            </a:extLst>
          </p:cNvPr>
          <p:cNvGrpSpPr/>
          <p:nvPr/>
        </p:nvGrpSpPr>
        <p:grpSpPr>
          <a:xfrm>
            <a:off x="4947215" y="2551403"/>
            <a:ext cx="5254378" cy="3171675"/>
            <a:chOff x="4947215" y="2551403"/>
            <a:chExt cx="5254378" cy="3171675"/>
          </a:xfrm>
        </p:grpSpPr>
        <p:cxnSp>
          <p:nvCxnSpPr>
            <p:cNvPr id="61" name="Gerade Verbindung mit Pfeil 590">
              <a:extLst>
                <a:ext uri="{FF2B5EF4-FFF2-40B4-BE49-F238E27FC236}">
                  <a16:creationId xmlns:a16="http://schemas.microsoft.com/office/drawing/2014/main" id="{67D84795-30BF-DB42-F737-A5F31EBFCCA3}"/>
                </a:ext>
              </a:extLst>
            </p:cNvPr>
            <p:cNvCxnSpPr>
              <a:cxnSpLocks/>
            </p:cNvCxnSpPr>
            <p:nvPr/>
          </p:nvCxnSpPr>
          <p:spPr>
            <a:xfrm flipH="1">
              <a:off x="8110602" y="3244887"/>
              <a:ext cx="149630" cy="0"/>
            </a:xfrm>
            <a:prstGeom prst="straightConnector1">
              <a:avLst/>
            </a:prstGeom>
            <a:noFill/>
            <a:ln w="6350" cap="flat" cmpd="sng" algn="ctr">
              <a:solidFill>
                <a:sysClr val="window" lastClr="FFFFFF"/>
              </a:solidFill>
              <a:prstDash val="solid"/>
              <a:miter lim="800000"/>
              <a:tailEnd type="triangle"/>
            </a:ln>
            <a:effectLst/>
          </p:spPr>
        </p:cxnSp>
        <p:cxnSp>
          <p:nvCxnSpPr>
            <p:cNvPr id="62" name="Gerade Verbindung mit Pfeil 592">
              <a:extLst>
                <a:ext uri="{FF2B5EF4-FFF2-40B4-BE49-F238E27FC236}">
                  <a16:creationId xmlns:a16="http://schemas.microsoft.com/office/drawing/2014/main" id="{E4788AB7-1956-5A1C-00E9-9A9C2086074A}"/>
                </a:ext>
              </a:extLst>
            </p:cNvPr>
            <p:cNvCxnSpPr>
              <a:cxnSpLocks/>
            </p:cNvCxnSpPr>
            <p:nvPr/>
          </p:nvCxnSpPr>
          <p:spPr>
            <a:xfrm flipH="1">
              <a:off x="8110599" y="3898112"/>
              <a:ext cx="149631" cy="0"/>
            </a:xfrm>
            <a:prstGeom prst="straightConnector1">
              <a:avLst/>
            </a:prstGeom>
            <a:noFill/>
            <a:ln w="6350" cap="flat" cmpd="sng" algn="ctr">
              <a:solidFill>
                <a:sysClr val="window" lastClr="FFFFFF"/>
              </a:solidFill>
              <a:prstDash val="solid"/>
              <a:miter lim="800000"/>
              <a:tailEnd type="triangle"/>
            </a:ln>
            <a:effectLst/>
          </p:spPr>
        </p:cxnSp>
        <p:sp>
          <p:nvSpPr>
            <p:cNvPr id="188" name="Rechteck: abgerundete Ecken 151">
              <a:extLst>
                <a:ext uri="{FF2B5EF4-FFF2-40B4-BE49-F238E27FC236}">
                  <a16:creationId xmlns:a16="http://schemas.microsoft.com/office/drawing/2014/main" id="{E24BC774-227F-2742-966D-983C200F9F25}"/>
                </a:ext>
              </a:extLst>
            </p:cNvPr>
            <p:cNvSpPr/>
            <p:nvPr/>
          </p:nvSpPr>
          <p:spPr>
            <a:xfrm>
              <a:off x="5858168" y="2551403"/>
              <a:ext cx="3565250" cy="1573281"/>
            </a:xfrm>
            <a:prstGeom prst="roundRect">
              <a:avLst>
                <a:gd name="adj" fmla="val 7082"/>
              </a:avLst>
            </a:prstGeom>
            <a:solidFill>
              <a:schemeClr val="accent1">
                <a:alpha val="75000"/>
              </a:schemeClr>
            </a:solidFill>
            <a:ln w="635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905" b="0" i="0" u="none" strike="noStrike" kern="0" cap="none" spc="0" normalizeH="0" baseline="0">
                <a:ln>
                  <a:noFill/>
                </a:ln>
                <a:solidFill>
                  <a:prstClr val="white"/>
                </a:solidFill>
                <a:effectLst/>
                <a:uLnTx/>
                <a:uFillTx/>
                <a:latin typeface="Arial" panose="020B0604020202020204" pitchFamily="34" charset="0"/>
                <a:cs typeface="Arial" panose="020B0604020202020204" pitchFamily="34" charset="0"/>
              </a:endParaRPr>
            </a:p>
          </p:txBody>
        </p:sp>
        <p:sp>
          <p:nvSpPr>
            <p:cNvPr id="189" name="Rechteck: abgerundete Ecken 150">
              <a:extLst>
                <a:ext uri="{FF2B5EF4-FFF2-40B4-BE49-F238E27FC236}">
                  <a16:creationId xmlns:a16="http://schemas.microsoft.com/office/drawing/2014/main" id="{337996B2-A8C5-47CE-DA0F-2E39FB01C780}"/>
                </a:ext>
              </a:extLst>
            </p:cNvPr>
            <p:cNvSpPr/>
            <p:nvPr/>
          </p:nvSpPr>
          <p:spPr>
            <a:xfrm>
              <a:off x="5806260" y="2612669"/>
              <a:ext cx="3565250" cy="1573281"/>
            </a:xfrm>
            <a:prstGeom prst="roundRect">
              <a:avLst>
                <a:gd name="adj" fmla="val 7082"/>
              </a:avLst>
            </a:prstGeom>
            <a:solidFill>
              <a:schemeClr val="accent1">
                <a:alpha val="75000"/>
              </a:schemeClr>
            </a:solidFill>
            <a:ln w="635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905" b="0" i="0" u="none" strike="noStrike" kern="0" cap="none" spc="0" normalizeH="0" baseline="0">
                <a:ln>
                  <a:noFill/>
                </a:ln>
                <a:solidFill>
                  <a:prstClr val="white"/>
                </a:solidFill>
                <a:effectLst/>
                <a:uLnTx/>
                <a:uFillTx/>
                <a:latin typeface="Arial" panose="020B0604020202020204" pitchFamily="34" charset="0"/>
                <a:cs typeface="Arial" panose="020B0604020202020204" pitchFamily="34" charset="0"/>
              </a:endParaRPr>
            </a:p>
          </p:txBody>
        </p:sp>
        <p:sp>
          <p:nvSpPr>
            <p:cNvPr id="190" name="Freihandform: Form 571">
              <a:extLst>
                <a:ext uri="{FF2B5EF4-FFF2-40B4-BE49-F238E27FC236}">
                  <a16:creationId xmlns:a16="http://schemas.microsoft.com/office/drawing/2014/main" id="{47E4AA3F-11C0-99C4-58E6-17FC00466E4A}"/>
                </a:ext>
              </a:extLst>
            </p:cNvPr>
            <p:cNvSpPr/>
            <p:nvPr/>
          </p:nvSpPr>
          <p:spPr>
            <a:xfrm>
              <a:off x="5365671" y="3717340"/>
              <a:ext cx="573731" cy="1725399"/>
            </a:xfrm>
            <a:custGeom>
              <a:avLst/>
              <a:gdLst>
                <a:gd name="connsiteX0" fmla="*/ 0 w 621102"/>
                <a:gd name="connsiteY0" fmla="*/ 1630392 h 1630392"/>
                <a:gd name="connsiteX1" fmla="*/ 0 w 621102"/>
                <a:gd name="connsiteY1" fmla="*/ 0 h 1630392"/>
                <a:gd name="connsiteX2" fmla="*/ 621102 w 621102"/>
                <a:gd name="connsiteY2" fmla="*/ 0 h 1630392"/>
              </a:gdLst>
              <a:ahLst/>
              <a:cxnLst>
                <a:cxn ang="0">
                  <a:pos x="connsiteX0" y="connsiteY0"/>
                </a:cxn>
                <a:cxn ang="0">
                  <a:pos x="connsiteX1" y="connsiteY1"/>
                </a:cxn>
                <a:cxn ang="0">
                  <a:pos x="connsiteX2" y="connsiteY2"/>
                </a:cxn>
              </a:cxnLst>
              <a:rect l="l" t="t" r="r" b="b"/>
              <a:pathLst>
                <a:path w="621102" h="1630392">
                  <a:moveTo>
                    <a:pt x="0" y="1630392"/>
                  </a:moveTo>
                  <a:lnTo>
                    <a:pt x="0" y="0"/>
                  </a:lnTo>
                  <a:lnTo>
                    <a:pt x="621102" y="0"/>
                  </a:lnTo>
                </a:path>
              </a:pathLst>
            </a:custGeom>
            <a:noFill/>
            <a:ln w="28575" cap="flat" cmpd="sng" algn="ctr">
              <a:solidFill>
                <a:sysClr val="windowText" lastClr="000000">
                  <a:lumMod val="50000"/>
                  <a:lumOff val="50000"/>
                </a:sysClr>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905" b="0" i="0" u="none" strike="noStrike" kern="0" cap="none" spc="0" normalizeH="0" baseline="0">
                <a:ln>
                  <a:noFill/>
                </a:ln>
                <a:solidFill>
                  <a:prstClr val="white"/>
                </a:solidFill>
                <a:effectLst/>
                <a:uLnTx/>
                <a:uFillTx/>
                <a:latin typeface="Arial" panose="020B0604020202020204" pitchFamily="34" charset="0"/>
                <a:cs typeface="Arial" panose="020B0604020202020204" pitchFamily="34" charset="0"/>
              </a:endParaRPr>
            </a:p>
          </p:txBody>
        </p:sp>
        <p:sp>
          <p:nvSpPr>
            <p:cNvPr id="191" name="Freihandform: Form 573">
              <a:extLst>
                <a:ext uri="{FF2B5EF4-FFF2-40B4-BE49-F238E27FC236}">
                  <a16:creationId xmlns:a16="http://schemas.microsoft.com/office/drawing/2014/main" id="{55E48939-5137-F932-62B5-742339E53D3E}"/>
                </a:ext>
              </a:extLst>
            </p:cNvPr>
            <p:cNvSpPr/>
            <p:nvPr/>
          </p:nvSpPr>
          <p:spPr>
            <a:xfrm flipH="1">
              <a:off x="9239583" y="3717340"/>
              <a:ext cx="445402" cy="1725399"/>
            </a:xfrm>
            <a:custGeom>
              <a:avLst/>
              <a:gdLst>
                <a:gd name="connsiteX0" fmla="*/ 0 w 621102"/>
                <a:gd name="connsiteY0" fmla="*/ 1630392 h 1630392"/>
                <a:gd name="connsiteX1" fmla="*/ 0 w 621102"/>
                <a:gd name="connsiteY1" fmla="*/ 0 h 1630392"/>
                <a:gd name="connsiteX2" fmla="*/ 621102 w 621102"/>
                <a:gd name="connsiteY2" fmla="*/ 0 h 1630392"/>
              </a:gdLst>
              <a:ahLst/>
              <a:cxnLst>
                <a:cxn ang="0">
                  <a:pos x="connsiteX0" y="connsiteY0"/>
                </a:cxn>
                <a:cxn ang="0">
                  <a:pos x="connsiteX1" y="connsiteY1"/>
                </a:cxn>
                <a:cxn ang="0">
                  <a:pos x="connsiteX2" y="connsiteY2"/>
                </a:cxn>
              </a:cxnLst>
              <a:rect l="l" t="t" r="r" b="b"/>
              <a:pathLst>
                <a:path w="621102" h="1630392">
                  <a:moveTo>
                    <a:pt x="0" y="1630392"/>
                  </a:moveTo>
                  <a:lnTo>
                    <a:pt x="0" y="0"/>
                  </a:lnTo>
                  <a:lnTo>
                    <a:pt x="621102" y="0"/>
                  </a:lnTo>
                </a:path>
              </a:pathLst>
            </a:custGeom>
            <a:noFill/>
            <a:ln w="28575" cap="flat" cmpd="sng" algn="ctr">
              <a:solidFill>
                <a:sysClr val="windowText" lastClr="000000">
                  <a:lumMod val="50000"/>
                  <a:lumOff val="50000"/>
                </a:sysClr>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905" b="0" i="0" u="none" strike="noStrike" kern="0" cap="none" spc="0" normalizeH="0" baseline="0">
                <a:ln>
                  <a:noFill/>
                </a:ln>
                <a:solidFill>
                  <a:prstClr val="white"/>
                </a:solidFill>
                <a:effectLst/>
                <a:uLnTx/>
                <a:uFillTx/>
                <a:latin typeface="Arial" panose="020B0604020202020204" pitchFamily="34" charset="0"/>
                <a:cs typeface="Arial" panose="020B0604020202020204" pitchFamily="34" charset="0"/>
              </a:endParaRPr>
            </a:p>
          </p:txBody>
        </p:sp>
        <p:sp>
          <p:nvSpPr>
            <p:cNvPr id="192" name="Rechteck: abgerundete Ecken 488">
              <a:extLst>
                <a:ext uri="{FF2B5EF4-FFF2-40B4-BE49-F238E27FC236}">
                  <a16:creationId xmlns:a16="http://schemas.microsoft.com/office/drawing/2014/main" id="{809270F9-5A36-61C2-6038-EA62FED20DF9}"/>
                </a:ext>
              </a:extLst>
            </p:cNvPr>
            <p:cNvSpPr/>
            <p:nvPr/>
          </p:nvSpPr>
          <p:spPr>
            <a:xfrm>
              <a:off x="5753821" y="2675138"/>
              <a:ext cx="3565250" cy="1573281"/>
            </a:xfrm>
            <a:prstGeom prst="roundRect">
              <a:avLst>
                <a:gd name="adj" fmla="val 7082"/>
              </a:avLst>
            </a:prstGeom>
            <a:solidFill>
              <a:schemeClr val="accent1"/>
            </a:solidFill>
            <a:ln w="635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905" b="0" i="0" u="none" strike="noStrike" kern="0" cap="none" spc="0" normalizeH="0" baseline="0">
                <a:ln>
                  <a:noFill/>
                </a:ln>
                <a:solidFill>
                  <a:prstClr val="white"/>
                </a:solidFill>
                <a:effectLst/>
                <a:uLnTx/>
                <a:uFillTx/>
                <a:latin typeface="Arial" panose="020B0604020202020204" pitchFamily="34" charset="0"/>
                <a:cs typeface="Arial" panose="020B0604020202020204" pitchFamily="34" charset="0"/>
              </a:endParaRPr>
            </a:p>
          </p:txBody>
        </p:sp>
        <p:sp>
          <p:nvSpPr>
            <p:cNvPr id="193" name="Rechteck 54">
              <a:extLst>
                <a:ext uri="{FF2B5EF4-FFF2-40B4-BE49-F238E27FC236}">
                  <a16:creationId xmlns:a16="http://schemas.microsoft.com/office/drawing/2014/main" id="{60A60B30-3BF1-D006-D3A2-0458DD5ACE0A}"/>
                </a:ext>
              </a:extLst>
            </p:cNvPr>
            <p:cNvSpPr/>
            <p:nvPr/>
          </p:nvSpPr>
          <p:spPr>
            <a:xfrm>
              <a:off x="7162291" y="3767294"/>
              <a:ext cx="948310" cy="261637"/>
            </a:xfrm>
            <a:prstGeom prst="roundRect">
              <a:avLst/>
            </a:prstGeom>
            <a:solidFill>
              <a:schemeClr val="bg1"/>
            </a:solidFill>
            <a:ln w="6350" cap="flat" cmpd="sng" algn="ctr">
              <a:noFill/>
              <a:prstDash val="solid"/>
              <a:miter lim="800000"/>
            </a:ln>
            <a:effectLst/>
          </p:spPr>
          <p:txBody>
            <a:bodyPr lIns="0" tIns="38097" rIns="0" bIns="38097"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rPr>
                <a:t>Authentica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rPr>
                <a:t>DAPS </a:t>
              </a:r>
              <a:r>
                <a:rPr kumimoji="0" lang="en-US" sz="600"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sym typeface="Wingdings" panose="05000000000000000000" pitchFamily="2" charset="2"/>
                </a:rPr>
                <a:t></a:t>
              </a:r>
              <a:r>
                <a:rPr kumimoji="0" lang="en-US" sz="600"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rPr>
                <a:t> Cust. Wallet </a:t>
              </a:r>
            </a:p>
          </p:txBody>
        </p:sp>
        <p:sp>
          <p:nvSpPr>
            <p:cNvPr id="194" name="Rechteck 59">
              <a:extLst>
                <a:ext uri="{FF2B5EF4-FFF2-40B4-BE49-F238E27FC236}">
                  <a16:creationId xmlns:a16="http://schemas.microsoft.com/office/drawing/2014/main" id="{AE43E8C0-2C8D-0AAF-AA8D-BC06D0251995}"/>
                </a:ext>
              </a:extLst>
            </p:cNvPr>
            <p:cNvSpPr/>
            <p:nvPr/>
          </p:nvSpPr>
          <p:spPr>
            <a:xfrm>
              <a:off x="7162291" y="3114069"/>
              <a:ext cx="948311" cy="261637"/>
            </a:xfrm>
            <a:prstGeom prst="roundRect">
              <a:avLst/>
            </a:prstGeom>
            <a:solidFill>
              <a:schemeClr val="bg1"/>
            </a:solidFill>
            <a:ln w="6350" cap="flat" cmpd="sng" algn="ctr">
              <a:noFill/>
              <a:prstDash val="solid"/>
              <a:miter lim="800000"/>
            </a:ln>
            <a:effectLst/>
          </p:spPr>
          <p:txBody>
            <a:bodyPr lIns="0" tIns="38097" rIns="288000" bIns="38097"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rPr>
                <a:t>Digital Twi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rPr>
                <a:t>Registry</a:t>
              </a:r>
            </a:p>
          </p:txBody>
        </p:sp>
        <p:sp>
          <p:nvSpPr>
            <p:cNvPr id="195" name="Rechteck 60">
              <a:extLst>
                <a:ext uri="{FF2B5EF4-FFF2-40B4-BE49-F238E27FC236}">
                  <a16:creationId xmlns:a16="http://schemas.microsoft.com/office/drawing/2014/main" id="{0D21C03A-87AD-C50E-B579-5C526BD93ABA}"/>
                </a:ext>
              </a:extLst>
            </p:cNvPr>
            <p:cNvSpPr/>
            <p:nvPr/>
          </p:nvSpPr>
          <p:spPr>
            <a:xfrm>
              <a:off x="8260232" y="3114069"/>
              <a:ext cx="948311" cy="261637"/>
            </a:xfrm>
            <a:prstGeom prst="roundRect">
              <a:avLst/>
            </a:prstGeom>
            <a:solidFill>
              <a:schemeClr val="bg1"/>
            </a:solidFill>
            <a:ln w="6350" cap="flat" cmpd="sng" algn="ctr">
              <a:noFill/>
              <a:prstDash val="solid"/>
              <a:miter lim="800000"/>
            </a:ln>
            <a:effectLst/>
          </p:spPr>
          <p:txBody>
            <a:bodyPr lIns="0" tIns="38097" rIns="0" bIns="38097"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rPr>
                <a:t>Semantic</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rPr>
                <a:t>Hub</a:t>
              </a:r>
            </a:p>
          </p:txBody>
        </p:sp>
        <p:sp>
          <p:nvSpPr>
            <p:cNvPr id="196" name="Rechteck 42">
              <a:extLst>
                <a:ext uri="{FF2B5EF4-FFF2-40B4-BE49-F238E27FC236}">
                  <a16:creationId xmlns:a16="http://schemas.microsoft.com/office/drawing/2014/main" id="{A29E0D02-97CF-EDF3-6842-2A7F9E436109}"/>
                </a:ext>
              </a:extLst>
            </p:cNvPr>
            <p:cNvSpPr/>
            <p:nvPr/>
          </p:nvSpPr>
          <p:spPr>
            <a:xfrm>
              <a:off x="6096136" y="3439422"/>
              <a:ext cx="948311" cy="261637"/>
            </a:xfrm>
            <a:prstGeom prst="roundRect">
              <a:avLst/>
            </a:prstGeom>
            <a:solidFill>
              <a:schemeClr val="bg1"/>
            </a:solidFill>
            <a:ln w="6350" cap="flat" cmpd="sng" algn="ctr">
              <a:noFill/>
              <a:prstDash val="solid"/>
              <a:miter lim="800000"/>
            </a:ln>
            <a:effectLst/>
          </p:spPr>
          <p:txBody>
            <a:bodyPr lIns="0" tIns="38097" rIns="0" bIns="38097"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rPr>
                <a:t>Identity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rPr>
                <a:t>Provider</a:t>
              </a:r>
            </a:p>
          </p:txBody>
        </p:sp>
        <p:sp>
          <p:nvSpPr>
            <p:cNvPr id="197" name="Rechteck 42">
              <a:extLst>
                <a:ext uri="{FF2B5EF4-FFF2-40B4-BE49-F238E27FC236}">
                  <a16:creationId xmlns:a16="http://schemas.microsoft.com/office/drawing/2014/main" id="{AA002DB4-4101-A9F8-E269-316C8D66FD90}"/>
                </a:ext>
              </a:extLst>
            </p:cNvPr>
            <p:cNvSpPr/>
            <p:nvPr/>
          </p:nvSpPr>
          <p:spPr>
            <a:xfrm>
              <a:off x="8260232" y="3439422"/>
              <a:ext cx="948311" cy="261637"/>
            </a:xfrm>
            <a:prstGeom prst="roundRect">
              <a:avLst/>
            </a:prstGeom>
            <a:solidFill>
              <a:schemeClr val="bg1"/>
            </a:solidFill>
            <a:ln w="6350" cap="flat" cmpd="sng" algn="ctr">
              <a:noFill/>
              <a:prstDash val="solid"/>
              <a:miter lim="800000"/>
            </a:ln>
            <a:effectLst/>
          </p:spPr>
          <p:txBody>
            <a:bodyPr lIns="0" tIns="38097" rIns="0" bIns="38097"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rPr>
                <a:t>…</a:t>
              </a:r>
            </a:p>
          </p:txBody>
        </p:sp>
        <p:sp>
          <p:nvSpPr>
            <p:cNvPr id="198" name="Rechteck 42">
              <a:extLst>
                <a:ext uri="{FF2B5EF4-FFF2-40B4-BE49-F238E27FC236}">
                  <a16:creationId xmlns:a16="http://schemas.microsoft.com/office/drawing/2014/main" id="{5C7BBA62-EABD-7DA1-E258-1E7C00CC4FC7}"/>
                </a:ext>
              </a:extLst>
            </p:cNvPr>
            <p:cNvSpPr/>
            <p:nvPr/>
          </p:nvSpPr>
          <p:spPr>
            <a:xfrm>
              <a:off x="8260232" y="3767294"/>
              <a:ext cx="948311" cy="261637"/>
            </a:xfrm>
            <a:prstGeom prst="roundRect">
              <a:avLst/>
            </a:prstGeom>
            <a:solidFill>
              <a:schemeClr val="bg1"/>
            </a:solidFill>
            <a:ln w="6350" cap="flat" cmpd="sng" algn="ctr">
              <a:noFill/>
              <a:prstDash val="solid"/>
              <a:miter lim="800000"/>
            </a:ln>
            <a:effectLst/>
          </p:spPr>
          <p:txBody>
            <a:bodyPr lIns="0" tIns="38097" rIns="0" bIns="38097"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rPr>
                <a:t>Self-Description Hub</a:t>
              </a:r>
            </a:p>
          </p:txBody>
        </p:sp>
        <p:sp>
          <p:nvSpPr>
            <p:cNvPr id="199" name="Rechteck 59">
              <a:extLst>
                <a:ext uri="{FF2B5EF4-FFF2-40B4-BE49-F238E27FC236}">
                  <a16:creationId xmlns:a16="http://schemas.microsoft.com/office/drawing/2014/main" id="{18DC34CD-C9C2-DAD2-A2A1-1F13A3578005}"/>
                </a:ext>
              </a:extLst>
            </p:cNvPr>
            <p:cNvSpPr/>
            <p:nvPr/>
          </p:nvSpPr>
          <p:spPr>
            <a:xfrm>
              <a:off x="6096136" y="3114069"/>
              <a:ext cx="948311" cy="261637"/>
            </a:xfrm>
            <a:prstGeom prst="roundRect">
              <a:avLst/>
            </a:prstGeom>
            <a:solidFill>
              <a:schemeClr val="bg1"/>
            </a:solidFill>
            <a:ln w="6350" cap="flat" cmpd="sng" algn="ctr">
              <a:noFill/>
              <a:prstDash val="solid"/>
              <a:miter lim="800000"/>
            </a:ln>
            <a:effectLst/>
          </p:spPr>
          <p:txBody>
            <a:bodyPr lIns="0" tIns="38097" rIns="0" bIns="38097"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rPr>
                <a:t>Portal</a:t>
              </a:r>
            </a:p>
          </p:txBody>
        </p:sp>
        <p:sp>
          <p:nvSpPr>
            <p:cNvPr id="200" name="Rechteck 60">
              <a:extLst>
                <a:ext uri="{FF2B5EF4-FFF2-40B4-BE49-F238E27FC236}">
                  <a16:creationId xmlns:a16="http://schemas.microsoft.com/office/drawing/2014/main" id="{B57901CE-71ED-2DCE-0A82-A1D74BDE5E1A}"/>
                </a:ext>
              </a:extLst>
            </p:cNvPr>
            <p:cNvSpPr/>
            <p:nvPr/>
          </p:nvSpPr>
          <p:spPr>
            <a:xfrm>
              <a:off x="6096136" y="3767294"/>
              <a:ext cx="948311" cy="261637"/>
            </a:xfrm>
            <a:prstGeom prst="roundRect">
              <a:avLst/>
            </a:prstGeom>
            <a:solidFill>
              <a:schemeClr val="bg1"/>
            </a:solidFill>
            <a:ln w="6350" cap="flat" cmpd="sng" algn="ctr">
              <a:noFill/>
              <a:prstDash val="solid"/>
              <a:miter lim="800000"/>
            </a:ln>
            <a:effectLst/>
          </p:spPr>
          <p:txBody>
            <a:bodyPr lIns="0" tIns="38097" rIns="0" bIns="38097"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rPr>
                <a:t>Marketplace</a:t>
              </a:r>
              <a:br>
                <a:rPr kumimoji="0" lang="en-US" sz="800"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rPr>
              </a:br>
              <a:r>
                <a:rPr kumimoji="0" lang="en-US" sz="700" i="0" u="none" strike="noStrike" kern="0" cap="none" spc="0" normalizeH="0" baseline="0" err="1">
                  <a:ln>
                    <a:noFill/>
                  </a:ln>
                  <a:solidFill>
                    <a:schemeClr val="tx1">
                      <a:lumMod val="65000"/>
                      <a:lumOff val="35000"/>
                    </a:schemeClr>
                  </a:solidFill>
                  <a:effectLst/>
                  <a:uLnTx/>
                  <a:uFillTx/>
                  <a:latin typeface="Arial" panose="020B0604020202020204" pitchFamily="34" charset="0"/>
                  <a:cs typeface="Arial" panose="020B0604020202020204" pitchFamily="34" charset="0"/>
                </a:rPr>
                <a:t>Navig</a:t>
              </a:r>
              <a:r>
                <a:rPr kumimoji="0" lang="en-US" sz="700"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rPr>
                <a:t>., Apps, Services</a:t>
              </a:r>
              <a:endParaRPr kumimoji="0" lang="en-US" sz="800"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endParaRPr>
            </a:p>
          </p:txBody>
        </p:sp>
        <p:sp>
          <p:nvSpPr>
            <p:cNvPr id="201" name="Rechteck 42">
              <a:extLst>
                <a:ext uri="{FF2B5EF4-FFF2-40B4-BE49-F238E27FC236}">
                  <a16:creationId xmlns:a16="http://schemas.microsoft.com/office/drawing/2014/main" id="{72154176-E6AA-1D69-B1EC-722D25A9EA3B}"/>
                </a:ext>
              </a:extLst>
            </p:cNvPr>
            <p:cNvSpPr/>
            <p:nvPr/>
          </p:nvSpPr>
          <p:spPr>
            <a:xfrm>
              <a:off x="7162291" y="3439422"/>
              <a:ext cx="948311" cy="261637"/>
            </a:xfrm>
            <a:prstGeom prst="roundRect">
              <a:avLst/>
            </a:prstGeom>
            <a:solidFill>
              <a:schemeClr val="bg1"/>
            </a:solidFill>
            <a:ln w="6350" cap="flat" cmpd="sng" algn="ctr">
              <a:noFill/>
              <a:prstDash val="solid"/>
              <a:miter lim="800000"/>
            </a:ln>
            <a:effectLst/>
          </p:spPr>
          <p:txBody>
            <a:bodyPr lIns="0" tIns="38097" rIns="0" bIns="38097"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rPr>
                <a:t>Marketplac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rPr>
                <a:t>Contracting / …</a:t>
              </a:r>
            </a:p>
          </p:txBody>
        </p:sp>
        <p:sp>
          <p:nvSpPr>
            <p:cNvPr id="202" name="Textfeld 574">
              <a:extLst>
                <a:ext uri="{FF2B5EF4-FFF2-40B4-BE49-F238E27FC236}">
                  <a16:creationId xmlns:a16="http://schemas.microsoft.com/office/drawing/2014/main" id="{807FD8D4-C31A-ED76-DAF1-D040CF8ACBA9}"/>
                </a:ext>
              </a:extLst>
            </p:cNvPr>
            <p:cNvSpPr txBox="1"/>
            <p:nvPr/>
          </p:nvSpPr>
          <p:spPr>
            <a:xfrm>
              <a:off x="9319071" y="3880749"/>
              <a:ext cx="746843" cy="484748"/>
            </a:xfrm>
            <a:prstGeom prst="rect">
              <a:avLst/>
            </a:prstGeom>
            <a:solidFill>
              <a:sysClr val="window" lastClr="FFFFFF"/>
            </a:solid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rPr>
                <a:t>No operational data</a:t>
              </a:r>
            </a:p>
          </p:txBody>
        </p:sp>
        <p:sp>
          <p:nvSpPr>
            <p:cNvPr id="203" name="Textfeld 575">
              <a:extLst>
                <a:ext uri="{FF2B5EF4-FFF2-40B4-BE49-F238E27FC236}">
                  <a16:creationId xmlns:a16="http://schemas.microsoft.com/office/drawing/2014/main" id="{9345349F-CC5C-6AD9-337A-9CFE1763F0F6}"/>
                </a:ext>
              </a:extLst>
            </p:cNvPr>
            <p:cNvSpPr txBox="1"/>
            <p:nvPr/>
          </p:nvSpPr>
          <p:spPr>
            <a:xfrm>
              <a:off x="5030377" y="3880749"/>
              <a:ext cx="693487" cy="484748"/>
            </a:xfrm>
            <a:prstGeom prst="rect">
              <a:avLst/>
            </a:prstGeom>
            <a:solidFill>
              <a:sysClr val="window" lastClr="FFFFFF"/>
            </a:solid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a:ln>
                    <a:noFill/>
                  </a:ln>
                  <a:solidFill>
                    <a:schemeClr val="tx1">
                      <a:lumMod val="65000"/>
                      <a:lumOff val="35000"/>
                    </a:schemeClr>
                  </a:solidFill>
                  <a:effectLst/>
                  <a:uLnTx/>
                  <a:uFillTx/>
                  <a:latin typeface="Arial" panose="020B0604020202020204" pitchFamily="34" charset="0"/>
                  <a:cs typeface="Arial" panose="020B0604020202020204" pitchFamily="34" charset="0"/>
                </a:rPr>
                <a:t>No operational data</a:t>
              </a:r>
            </a:p>
          </p:txBody>
        </p:sp>
        <p:sp>
          <p:nvSpPr>
            <p:cNvPr id="204" name="Textfeld 8">
              <a:extLst>
                <a:ext uri="{FF2B5EF4-FFF2-40B4-BE49-F238E27FC236}">
                  <a16:creationId xmlns:a16="http://schemas.microsoft.com/office/drawing/2014/main" id="{CA8131A7-84BA-E16A-60B1-C595F71D9EC1}"/>
                </a:ext>
              </a:extLst>
            </p:cNvPr>
            <p:cNvSpPr txBox="1"/>
            <p:nvPr/>
          </p:nvSpPr>
          <p:spPr>
            <a:xfrm>
              <a:off x="5723721" y="2682038"/>
              <a:ext cx="3628436" cy="44627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a:ln>
                    <a:noFill/>
                  </a:ln>
                  <a:solidFill>
                    <a:prstClr val="white"/>
                  </a:solidFill>
                  <a:effectLst/>
                  <a:uLnTx/>
                  <a:uFillTx/>
                  <a:latin typeface="Arial" panose="020B0604020202020204" pitchFamily="34" charset="0"/>
                  <a:cs typeface="Arial" panose="020B0604020202020204" pitchFamily="34" charset="0"/>
                </a:rPr>
                <a:t>Catena-X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a:ln>
                    <a:noFill/>
                  </a:ln>
                  <a:solidFill>
                    <a:prstClr val="white"/>
                  </a:solidFill>
                  <a:effectLst/>
                  <a:uLnTx/>
                  <a:uFillTx/>
                  <a:latin typeface="Arial" panose="020B0604020202020204" pitchFamily="34" charset="0"/>
                  <a:cs typeface="Arial" panose="020B0604020202020204" pitchFamily="34" charset="0"/>
                </a:rPr>
                <a:t>Federated Operating Environment</a:t>
              </a:r>
            </a:p>
          </p:txBody>
        </p:sp>
        <p:sp>
          <p:nvSpPr>
            <p:cNvPr id="205" name="Rechteck 578">
              <a:extLst>
                <a:ext uri="{FF2B5EF4-FFF2-40B4-BE49-F238E27FC236}">
                  <a16:creationId xmlns:a16="http://schemas.microsoft.com/office/drawing/2014/main" id="{75DCBFED-A869-AB49-6406-4CA9F1AE1C37}"/>
                </a:ext>
              </a:extLst>
            </p:cNvPr>
            <p:cNvSpPr/>
            <p:nvPr/>
          </p:nvSpPr>
          <p:spPr>
            <a:xfrm>
              <a:off x="9540254" y="5462904"/>
              <a:ext cx="585419" cy="260174"/>
            </a:xfrm>
            <a:prstGeom prst="rect">
              <a:avLst/>
            </a:prstGeom>
            <a:solidFill>
              <a:schemeClr val="accent1"/>
            </a:solidFill>
            <a:ln w="12700" cap="flat" cmpd="sng" algn="ctr">
              <a:noFill/>
              <a:prstDash val="solid"/>
              <a:miter lim="800000"/>
            </a:ln>
            <a:effectLst/>
          </p:spPr>
          <p:txBody>
            <a:bodyPr lIns="38097" tIns="38097" rIns="38097" bIns="38097"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70" i="0" u="none" strike="noStrike" kern="0" cap="none" spc="0" normalizeH="0" baseline="0">
                  <a:ln>
                    <a:noFill/>
                  </a:ln>
                  <a:solidFill>
                    <a:prstClr val="white"/>
                  </a:solidFill>
                  <a:effectLst/>
                  <a:uLnTx/>
                  <a:uFillTx/>
                  <a:latin typeface="Arial" panose="020B0604020202020204" pitchFamily="34" charset="0"/>
                  <a:cs typeface="Arial" panose="020B0604020202020204" pitchFamily="34" charset="0"/>
                </a:rPr>
                <a:t>EDC</a:t>
              </a:r>
            </a:p>
          </p:txBody>
        </p:sp>
        <p:cxnSp>
          <p:nvCxnSpPr>
            <p:cNvPr id="206" name="Gerader Verbinder 581">
              <a:extLst>
                <a:ext uri="{FF2B5EF4-FFF2-40B4-BE49-F238E27FC236}">
                  <a16:creationId xmlns:a16="http://schemas.microsoft.com/office/drawing/2014/main" id="{239CD5FF-BD19-D7C1-B610-9C66A567DF0E}"/>
                </a:ext>
              </a:extLst>
            </p:cNvPr>
            <p:cNvCxnSpPr>
              <a:cxnSpLocks/>
            </p:cNvCxnSpPr>
            <p:nvPr/>
          </p:nvCxnSpPr>
          <p:spPr>
            <a:xfrm>
              <a:off x="10092045" y="5545849"/>
              <a:ext cx="109548" cy="0"/>
            </a:xfrm>
            <a:prstGeom prst="line">
              <a:avLst/>
            </a:prstGeom>
            <a:noFill/>
            <a:ln w="38100" cap="flat" cmpd="sng" algn="ctr">
              <a:solidFill>
                <a:schemeClr val="accent1"/>
              </a:solidFill>
              <a:prstDash val="solid"/>
              <a:miter lim="800000"/>
            </a:ln>
            <a:effectLst/>
          </p:spPr>
        </p:cxnSp>
        <p:cxnSp>
          <p:nvCxnSpPr>
            <p:cNvPr id="207" name="Gerader Verbinder 582">
              <a:extLst>
                <a:ext uri="{FF2B5EF4-FFF2-40B4-BE49-F238E27FC236}">
                  <a16:creationId xmlns:a16="http://schemas.microsoft.com/office/drawing/2014/main" id="{4801F1B8-A035-E5D4-533A-5D2B6092A71E}"/>
                </a:ext>
              </a:extLst>
            </p:cNvPr>
            <p:cNvCxnSpPr>
              <a:cxnSpLocks/>
            </p:cNvCxnSpPr>
            <p:nvPr/>
          </p:nvCxnSpPr>
          <p:spPr>
            <a:xfrm>
              <a:off x="10092045" y="5623849"/>
              <a:ext cx="109548" cy="0"/>
            </a:xfrm>
            <a:prstGeom prst="line">
              <a:avLst/>
            </a:prstGeom>
            <a:noFill/>
            <a:ln w="38100" cap="flat" cmpd="sng" algn="ctr">
              <a:solidFill>
                <a:schemeClr val="accent1"/>
              </a:solidFill>
              <a:prstDash val="solid"/>
              <a:miter lim="800000"/>
            </a:ln>
            <a:effectLst/>
          </p:spPr>
        </p:cxnSp>
        <p:pic>
          <p:nvPicPr>
            <p:cNvPr id="187" name="Grafik 143">
              <a:extLst>
                <a:ext uri="{FF2B5EF4-FFF2-40B4-BE49-F238E27FC236}">
                  <a16:creationId xmlns:a16="http://schemas.microsoft.com/office/drawing/2014/main" id="{46A329F6-87C2-D003-E926-C0B253A15A6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819582" y="3152670"/>
              <a:ext cx="238040" cy="198679"/>
            </a:xfrm>
            <a:prstGeom prst="rect">
              <a:avLst/>
            </a:prstGeom>
          </p:spPr>
        </p:pic>
        <p:grpSp>
          <p:nvGrpSpPr>
            <p:cNvPr id="182" name="Group 181">
              <a:extLst>
                <a:ext uri="{FF2B5EF4-FFF2-40B4-BE49-F238E27FC236}">
                  <a16:creationId xmlns:a16="http://schemas.microsoft.com/office/drawing/2014/main" id="{77946568-AD58-8608-4E8F-A04623373E2D}"/>
                </a:ext>
              </a:extLst>
            </p:cNvPr>
            <p:cNvGrpSpPr/>
            <p:nvPr/>
          </p:nvGrpSpPr>
          <p:grpSpPr>
            <a:xfrm>
              <a:off x="4947215" y="5426945"/>
              <a:ext cx="640193" cy="260174"/>
              <a:chOff x="6342579" y="696398"/>
              <a:chExt cx="640193" cy="260174"/>
            </a:xfrm>
          </p:grpSpPr>
          <p:sp>
            <p:nvSpPr>
              <p:cNvPr id="183" name="Rechteck 457">
                <a:extLst>
                  <a:ext uri="{FF2B5EF4-FFF2-40B4-BE49-F238E27FC236}">
                    <a16:creationId xmlns:a16="http://schemas.microsoft.com/office/drawing/2014/main" id="{BDF60C67-A19B-EFB1-80F6-2A69B27CA3FE}"/>
                  </a:ext>
                </a:extLst>
              </p:cNvPr>
              <p:cNvSpPr/>
              <p:nvPr/>
            </p:nvSpPr>
            <p:spPr>
              <a:xfrm>
                <a:off x="6397353" y="696398"/>
                <a:ext cx="585419" cy="260174"/>
              </a:xfrm>
              <a:prstGeom prst="rect">
                <a:avLst/>
              </a:prstGeom>
              <a:solidFill>
                <a:schemeClr val="accent1"/>
              </a:solidFill>
              <a:ln w="19050" cap="flat" cmpd="sng" algn="ctr">
                <a:solidFill>
                  <a:sysClr val="window" lastClr="FFFFFF"/>
                </a:solidFill>
                <a:prstDash val="solid"/>
                <a:miter lim="800000"/>
              </a:ln>
              <a:effectLst/>
            </p:spPr>
            <p:txBody>
              <a:bodyPr lIns="38097" tIns="38097" rIns="38097" bIns="38097"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70" i="0" u="none" strike="noStrike" kern="0" cap="none" spc="0" normalizeH="0" baseline="0">
                    <a:ln>
                      <a:noFill/>
                    </a:ln>
                    <a:solidFill>
                      <a:prstClr val="white"/>
                    </a:solidFill>
                    <a:effectLst/>
                    <a:uLnTx/>
                    <a:uFillTx/>
                    <a:latin typeface="Arial" panose="020B0604020202020204" pitchFamily="34" charset="0"/>
                    <a:cs typeface="Arial" panose="020B0604020202020204" pitchFamily="34" charset="0"/>
                  </a:rPr>
                  <a:t>EDC</a:t>
                </a:r>
              </a:p>
            </p:txBody>
          </p:sp>
          <p:cxnSp>
            <p:nvCxnSpPr>
              <p:cNvPr id="184" name="Gerader Verbinder 467">
                <a:extLst>
                  <a:ext uri="{FF2B5EF4-FFF2-40B4-BE49-F238E27FC236}">
                    <a16:creationId xmlns:a16="http://schemas.microsoft.com/office/drawing/2014/main" id="{1B45BB15-252C-CF25-CE97-F6AEC52BF69C}"/>
                  </a:ext>
                </a:extLst>
              </p:cNvPr>
              <p:cNvCxnSpPr>
                <a:cxnSpLocks/>
              </p:cNvCxnSpPr>
              <p:nvPr/>
            </p:nvCxnSpPr>
            <p:spPr>
              <a:xfrm>
                <a:off x="6342579" y="787691"/>
                <a:ext cx="109548" cy="0"/>
              </a:xfrm>
              <a:prstGeom prst="line">
                <a:avLst/>
              </a:prstGeom>
              <a:noFill/>
              <a:ln w="38100" cap="flat" cmpd="sng" algn="ctr">
                <a:solidFill>
                  <a:schemeClr val="accent1"/>
                </a:solidFill>
                <a:prstDash val="solid"/>
                <a:miter lim="800000"/>
              </a:ln>
              <a:effectLst/>
            </p:spPr>
          </p:cxnSp>
          <p:cxnSp>
            <p:nvCxnSpPr>
              <p:cNvPr id="185" name="Gerader Verbinder 468">
                <a:extLst>
                  <a:ext uri="{FF2B5EF4-FFF2-40B4-BE49-F238E27FC236}">
                    <a16:creationId xmlns:a16="http://schemas.microsoft.com/office/drawing/2014/main" id="{46578D22-47A5-DB3A-BD5B-B7BB87193256}"/>
                  </a:ext>
                </a:extLst>
              </p:cNvPr>
              <p:cNvCxnSpPr>
                <a:cxnSpLocks/>
              </p:cNvCxnSpPr>
              <p:nvPr/>
            </p:nvCxnSpPr>
            <p:spPr>
              <a:xfrm>
                <a:off x="6342579" y="865691"/>
                <a:ext cx="109548" cy="0"/>
              </a:xfrm>
              <a:prstGeom prst="line">
                <a:avLst/>
              </a:prstGeom>
              <a:noFill/>
              <a:ln w="38100" cap="flat" cmpd="sng" algn="ctr">
                <a:solidFill>
                  <a:schemeClr val="accent1"/>
                </a:solidFill>
                <a:prstDash val="solid"/>
                <a:miter lim="800000"/>
              </a:ln>
              <a:effectLst/>
            </p:spPr>
          </p:cxnSp>
        </p:grpSp>
      </p:grpSp>
      <p:grpSp>
        <p:nvGrpSpPr>
          <p:cNvPr id="208" name="Gruppieren 583">
            <a:extLst>
              <a:ext uri="{FF2B5EF4-FFF2-40B4-BE49-F238E27FC236}">
                <a16:creationId xmlns:a16="http://schemas.microsoft.com/office/drawing/2014/main" id="{6E9DF2C8-5113-8B8C-F1A5-9B145922D2B9}"/>
              </a:ext>
            </a:extLst>
          </p:cNvPr>
          <p:cNvGrpSpPr/>
          <p:nvPr/>
        </p:nvGrpSpPr>
        <p:grpSpPr>
          <a:xfrm>
            <a:off x="5560408" y="5660528"/>
            <a:ext cx="3864942" cy="162801"/>
            <a:chOff x="4963940" y="5251395"/>
            <a:chExt cx="3652124" cy="153836"/>
          </a:xfrm>
        </p:grpSpPr>
        <p:cxnSp>
          <p:nvCxnSpPr>
            <p:cNvPr id="209" name="Gerader Verbinder 584">
              <a:extLst>
                <a:ext uri="{FF2B5EF4-FFF2-40B4-BE49-F238E27FC236}">
                  <a16:creationId xmlns:a16="http://schemas.microsoft.com/office/drawing/2014/main" id="{6717037E-8651-66F9-5BBD-A26741BC3D12}"/>
                </a:ext>
              </a:extLst>
            </p:cNvPr>
            <p:cNvCxnSpPr>
              <a:cxnSpLocks/>
            </p:cNvCxnSpPr>
            <p:nvPr/>
          </p:nvCxnSpPr>
          <p:spPr>
            <a:xfrm>
              <a:off x="4963940" y="5342668"/>
              <a:ext cx="3652124" cy="0"/>
            </a:xfrm>
            <a:prstGeom prst="line">
              <a:avLst/>
            </a:prstGeom>
            <a:noFill/>
            <a:ln w="28575" cap="flat" cmpd="sng" algn="ctr">
              <a:solidFill>
                <a:schemeClr val="accent1"/>
              </a:solidFill>
              <a:prstDash val="solid"/>
              <a:miter lim="800000"/>
            </a:ln>
            <a:effectLst/>
          </p:spPr>
        </p:cxnSp>
        <p:sp>
          <p:nvSpPr>
            <p:cNvPr id="210" name="Textfeld 585">
              <a:extLst>
                <a:ext uri="{FF2B5EF4-FFF2-40B4-BE49-F238E27FC236}">
                  <a16:creationId xmlns:a16="http://schemas.microsoft.com/office/drawing/2014/main" id="{8BA7B61C-9A2B-D076-F82B-800FFD13EF82}"/>
                </a:ext>
              </a:extLst>
            </p:cNvPr>
            <p:cNvSpPr txBox="1"/>
            <p:nvPr/>
          </p:nvSpPr>
          <p:spPr>
            <a:xfrm>
              <a:off x="5908498" y="5251395"/>
              <a:ext cx="1686684" cy="153836"/>
            </a:xfrm>
            <a:prstGeom prst="rect">
              <a:avLst/>
            </a:prstGeom>
            <a:solidFill>
              <a:sysClr val="window" lastClr="FFFFFF"/>
            </a:solidFill>
          </p:spPr>
          <p:txBody>
            <a:bodyPr wrap="square" lIns="76196" tIns="0" rIns="76196"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50" i="0" u="none" strike="noStrike" kern="0" cap="none" spc="0" normalizeH="0" baseline="0">
                  <a:ln>
                    <a:noFill/>
                  </a:ln>
                  <a:solidFill>
                    <a:srgbClr val="FFA600"/>
                  </a:solidFill>
                  <a:effectLst/>
                  <a:uLnTx/>
                  <a:uFillTx/>
                  <a:latin typeface="Manrope SemiBold" pitchFamily="2" charset="0"/>
                  <a:cs typeface="Arial" panose="020B0604020202020204" pitchFamily="34" charset="0"/>
                </a:defRPr>
              </a:lvl1pPr>
            </a:lstStyle>
            <a:p>
              <a:r>
                <a:rPr lang="en-US">
                  <a:solidFill>
                    <a:schemeClr val="tx1">
                      <a:lumMod val="65000"/>
                      <a:lumOff val="35000"/>
                    </a:schemeClr>
                  </a:solidFill>
                  <a:latin typeface="Arial" panose="020B0604020202020204" pitchFamily="34" charset="0"/>
                </a:rPr>
                <a:t>Data Exchange Option A</a:t>
              </a:r>
            </a:p>
          </p:txBody>
        </p:sp>
      </p:grpSp>
    </p:spTree>
    <p:extLst>
      <p:ext uri="{BB962C8B-B14F-4D97-AF65-F5344CB8AC3E}">
        <p14:creationId xmlns:p14="http://schemas.microsoft.com/office/powerpoint/2010/main" val="3491402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linds(horizontal)">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208"/>
                                        </p:tgtEl>
                                        <p:attrNameLst>
                                          <p:attrName>style.visibility</p:attrName>
                                        </p:attrNameLst>
                                      </p:cBhvr>
                                      <p:to>
                                        <p:strVal val="visible"/>
                                      </p:to>
                                    </p:set>
                                    <p:animEffect transition="in" filter="blinds(horizontal)">
                                      <p:cBhvr>
                                        <p:cTn id="12" dur="500"/>
                                        <p:tgtEl>
                                          <p:spTgt spid="208"/>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213"/>
                                        </p:tgtEl>
                                        <p:attrNameLst>
                                          <p:attrName>style.visibility</p:attrName>
                                        </p:attrNameLst>
                                      </p:cBhvr>
                                      <p:to>
                                        <p:strVal val="visible"/>
                                      </p:to>
                                    </p:set>
                                    <p:animEffect transition="in" filter="blinds(horizontal)">
                                      <p:cBhvr>
                                        <p:cTn id="17" dur="500"/>
                                        <p:tgtEl>
                                          <p:spTgt spid="21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214"/>
                                        </p:tgtEl>
                                        <p:attrNameLst>
                                          <p:attrName>style.visibility</p:attrName>
                                        </p:attrNameLst>
                                      </p:cBhvr>
                                      <p:to>
                                        <p:strVal val="visible"/>
                                      </p:to>
                                    </p:set>
                                    <p:animEffect transition="in" filter="blinds(horizontal)">
                                      <p:cBhvr>
                                        <p:cTn id="22" dur="500"/>
                                        <p:tgtEl>
                                          <p:spTgt spid="214"/>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219"/>
                                        </p:tgtEl>
                                        <p:attrNameLst>
                                          <p:attrName>style.visibility</p:attrName>
                                        </p:attrNameLst>
                                      </p:cBhvr>
                                      <p:to>
                                        <p:strVal val="visible"/>
                                      </p:to>
                                    </p:set>
                                    <p:animEffect transition="in" filter="blinds(horizontal)">
                                      <p:cBhvr>
                                        <p:cTn id="27" dur="500"/>
                                        <p:tgtEl>
                                          <p:spTgt spid="219"/>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220"/>
                                        </p:tgtEl>
                                        <p:attrNameLst>
                                          <p:attrName>style.visibility</p:attrName>
                                        </p:attrNameLst>
                                      </p:cBhvr>
                                      <p:to>
                                        <p:strVal val="visible"/>
                                      </p:to>
                                    </p:set>
                                    <p:animEffect transition="in" filter="blinds(horizontal)">
                                      <p:cBhvr>
                                        <p:cTn id="32" dur="500"/>
                                        <p:tgtEl>
                                          <p:spTgt spid="220"/>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nodeType="clickEffect">
                                  <p:stCondLst>
                                    <p:cond delay="0"/>
                                  </p:stCondLst>
                                  <p:childTnLst>
                                    <p:set>
                                      <p:cBhvr>
                                        <p:cTn id="36" dur="1" fill="hold">
                                          <p:stCondLst>
                                            <p:cond delay="0"/>
                                          </p:stCondLst>
                                        </p:cTn>
                                        <p:tgtEl>
                                          <p:spTgt spid="216"/>
                                        </p:tgtEl>
                                        <p:attrNameLst>
                                          <p:attrName>style.visibility</p:attrName>
                                        </p:attrNameLst>
                                      </p:cBhvr>
                                      <p:to>
                                        <p:strVal val="visible"/>
                                      </p:to>
                                    </p:set>
                                    <p:animEffect transition="in" filter="blinds(horizontal)">
                                      <p:cBhvr>
                                        <p:cTn id="37" dur="500"/>
                                        <p:tgtEl>
                                          <p:spTgt spid="2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40D87-ECE5-FAFF-6A1A-7FBC2C9A7719}"/>
              </a:ext>
            </a:extLst>
          </p:cNvPr>
          <p:cNvSpPr>
            <a:spLocks noGrp="1"/>
          </p:cNvSpPr>
          <p:nvPr>
            <p:ph type="title"/>
          </p:nvPr>
        </p:nvSpPr>
        <p:spPr/>
        <p:txBody>
          <a:bodyPr/>
          <a:lstStyle/>
          <a:p>
            <a:r>
              <a:rPr lang="en-US"/>
              <a:t>Green Deal – EU’s Man on the Moon Moment</a:t>
            </a:r>
          </a:p>
        </p:txBody>
      </p:sp>
      <p:sp>
        <p:nvSpPr>
          <p:cNvPr id="4" name="Date Placeholder 3">
            <a:extLst>
              <a:ext uri="{FF2B5EF4-FFF2-40B4-BE49-F238E27FC236}">
                <a16:creationId xmlns:a16="http://schemas.microsoft.com/office/drawing/2014/main" id="{8A9F06AA-8E82-73A5-7B1B-661F4D19C47F}"/>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368FC967-E25B-4DC7-87C0-1C454DF70C3D}"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5" name="Slide Number Placeholder 4">
            <a:extLst>
              <a:ext uri="{FF2B5EF4-FFF2-40B4-BE49-F238E27FC236}">
                <a16:creationId xmlns:a16="http://schemas.microsoft.com/office/drawing/2014/main" id="{3B669D05-1063-5EB8-5D7D-AF63F32335B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3</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pic>
        <p:nvPicPr>
          <p:cNvPr id="3" name="Online Media 2" descr="Von der Leyen: Green deal is Europe's Man on the moon moment">
            <a:hlinkClick r:id="" action="ppaction://media"/>
            <a:extLst>
              <a:ext uri="{FF2B5EF4-FFF2-40B4-BE49-F238E27FC236}">
                <a16:creationId xmlns:a16="http://schemas.microsoft.com/office/drawing/2014/main" id="{2132319A-CD81-C99A-A652-80A31C1A6289}"/>
              </a:ext>
            </a:extLst>
          </p:cNvPr>
          <p:cNvPicPr>
            <a:picLocks noRot="1" noChangeAspect="1"/>
          </p:cNvPicPr>
          <p:nvPr>
            <a:videoFile r:link="rId1"/>
          </p:nvPr>
        </p:nvPicPr>
        <p:blipFill>
          <a:blip r:embed="rId3"/>
          <a:stretch>
            <a:fillRect/>
          </a:stretch>
        </p:blipFill>
        <p:spPr>
          <a:xfrm>
            <a:off x="1680279" y="1025141"/>
            <a:ext cx="8831442" cy="4989765"/>
          </a:xfrm>
          <a:prstGeom prst="rect">
            <a:avLst/>
          </a:prstGeom>
        </p:spPr>
      </p:pic>
      <p:sp>
        <p:nvSpPr>
          <p:cNvPr id="9" name="Fußzeilenplatzhalter 3">
            <a:extLst>
              <a:ext uri="{FF2B5EF4-FFF2-40B4-BE49-F238E27FC236}">
                <a16:creationId xmlns:a16="http://schemas.microsoft.com/office/drawing/2014/main" id="{F46CEE94-5057-6157-B38A-E90FBE3D5C33}"/>
              </a:ext>
            </a:extLst>
          </p:cNvPr>
          <p:cNvSpPr txBox="1">
            <a:spLocks/>
          </p:cNvSpPr>
          <p:nvPr/>
        </p:nvSpPr>
        <p:spPr>
          <a:xfrm>
            <a:off x="1368178" y="6516000"/>
            <a:ext cx="5616000" cy="167933"/>
          </a:xfrm>
          <a:prstGeom prst="rect">
            <a:avLst/>
          </a:prstGeom>
        </p:spPr>
        <p:txBody>
          <a:bodyPr lIns="0" tIns="0" rIns="0" bIns="0"/>
          <a:ls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900">
                <a:latin typeface="Arial" panose="020B0604020202020204"/>
                <a:cs typeface="Arial"/>
              </a:rPr>
              <a:t>|  </a:t>
            </a:r>
            <a:r>
              <a:rPr lang="en-US" sz="900">
                <a:latin typeface="+mj-lt"/>
                <a:cs typeface="Calibri" panose="020F0502020204030204" pitchFamily="34" charset="0"/>
                <a:sym typeface="Calibri" panose="020F0502020204030204" pitchFamily="34" charset="0"/>
              </a:rPr>
              <a:t>Source: </a:t>
            </a:r>
            <a:r>
              <a:rPr lang="en-US" sz="900">
                <a:latin typeface="+mj-lt"/>
                <a:cs typeface="Calibri" panose="020F0502020204030204" pitchFamily="34" charset="0"/>
                <a:sym typeface="Calibri" panose="020F0502020204030204" pitchFamily="34" charset="0"/>
                <a:hlinkClick r:id="rId4">
                  <a:extLst>
                    <a:ext uri="{A12FA001-AC4F-418D-AE19-62706E023703}">
                      <ahyp:hlinkClr xmlns:ahyp="http://schemas.microsoft.com/office/drawing/2018/hyperlinkcolor" val="tx"/>
                    </a:ext>
                  </a:extLst>
                </a:hlinkClick>
              </a:rPr>
              <a:t>https://youtu.be/F2Z7rio5sow?si=ZK8jhl6a6SvvM-Rx</a:t>
            </a:r>
            <a:r>
              <a:rPr lang="en-US" sz="900">
                <a:latin typeface="+mj-lt"/>
                <a:cs typeface="Calibri" panose="020F0502020204030204" pitchFamily="34" charset="0"/>
                <a:sym typeface="Calibri" panose="020F0502020204030204" pitchFamily="34" charset="0"/>
              </a:rPr>
              <a:t> </a:t>
            </a:r>
          </a:p>
          <a:p>
            <a:endParaRPr lang="en-US" sz="900">
              <a:latin typeface="+mj-lt"/>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8057316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Title 91">
            <a:extLst>
              <a:ext uri="{FF2B5EF4-FFF2-40B4-BE49-F238E27FC236}">
                <a16:creationId xmlns:a16="http://schemas.microsoft.com/office/drawing/2014/main" id="{58B0CAE6-6C7A-81D6-A87B-1AF85E0CCA0C}"/>
              </a:ext>
            </a:extLst>
          </p:cNvPr>
          <p:cNvSpPr>
            <a:spLocks noGrp="1"/>
          </p:cNvSpPr>
          <p:nvPr>
            <p:ph type="title"/>
          </p:nvPr>
        </p:nvSpPr>
        <p:spPr/>
        <p:txBody>
          <a:bodyPr/>
          <a:lstStyle/>
          <a:p>
            <a:r>
              <a:rPr lang="en-US"/>
              <a:t>Mind the Product Lifecycle and the Involved Data</a:t>
            </a:r>
          </a:p>
        </p:txBody>
      </p:sp>
      <p:sp>
        <p:nvSpPr>
          <p:cNvPr id="4" name="Date Placeholder 3">
            <a:extLst>
              <a:ext uri="{FF2B5EF4-FFF2-40B4-BE49-F238E27FC236}">
                <a16:creationId xmlns:a16="http://schemas.microsoft.com/office/drawing/2014/main" id="{CC845694-B9FF-2736-0E2F-C6660B586361}"/>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368FC967-E25B-4DC7-87C0-1C454DF70C3D}"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5" name="Slide Number Placeholder 4">
            <a:extLst>
              <a:ext uri="{FF2B5EF4-FFF2-40B4-BE49-F238E27FC236}">
                <a16:creationId xmlns:a16="http://schemas.microsoft.com/office/drawing/2014/main" id="{36301EB5-2866-0245-CA5E-E97F2B9978D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30</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
        <p:nvSpPr>
          <p:cNvPr id="91" name="Text Placeholder 7">
            <a:extLst>
              <a:ext uri="{FF2B5EF4-FFF2-40B4-BE49-F238E27FC236}">
                <a16:creationId xmlns:a16="http://schemas.microsoft.com/office/drawing/2014/main" id="{0A0CB0F0-F7AE-6A10-5764-E5A2B6A62A0B}"/>
              </a:ext>
            </a:extLst>
          </p:cNvPr>
          <p:cNvSpPr>
            <a:spLocks noGrp="1"/>
          </p:cNvSpPr>
          <p:nvPr>
            <p:ph type="body" idx="4294967295"/>
          </p:nvPr>
        </p:nvSpPr>
        <p:spPr>
          <a:xfrm>
            <a:off x="8279061" y="2104831"/>
            <a:ext cx="3608387" cy="2576512"/>
          </a:xfrm>
        </p:spPr>
        <p:txBody>
          <a:bodyPr/>
          <a:lstStyle/>
          <a:p>
            <a:r>
              <a:rPr lang="en-US">
                <a:solidFill>
                  <a:schemeClr val="tx1">
                    <a:lumMod val="65000"/>
                    <a:lumOff val="35000"/>
                  </a:schemeClr>
                </a:solidFill>
              </a:rPr>
              <a:t>Do you know your supply chain </a:t>
            </a:r>
            <a:r>
              <a:rPr lang="en-US" b="1">
                <a:solidFill>
                  <a:schemeClr val="tx1">
                    <a:lumMod val="65000"/>
                    <a:lumOff val="35000"/>
                  </a:schemeClr>
                </a:solidFill>
              </a:rPr>
              <a:t>actors</a:t>
            </a:r>
            <a:r>
              <a:rPr lang="en-US">
                <a:solidFill>
                  <a:schemeClr val="tx1">
                    <a:lumMod val="65000"/>
                    <a:lumOff val="35000"/>
                  </a:schemeClr>
                </a:solidFill>
              </a:rPr>
              <a:t> who can access the DPP data? </a:t>
            </a:r>
          </a:p>
          <a:p>
            <a:r>
              <a:rPr lang="en-US">
                <a:solidFill>
                  <a:schemeClr val="tx1">
                    <a:lumMod val="65000"/>
                    <a:lumOff val="35000"/>
                  </a:schemeClr>
                </a:solidFill>
              </a:rPr>
              <a:t>Right granularity (model, batch, item)?</a:t>
            </a:r>
          </a:p>
          <a:p>
            <a:r>
              <a:rPr lang="en-US">
                <a:solidFill>
                  <a:schemeClr val="tx1">
                    <a:lumMod val="65000"/>
                    <a:lumOff val="35000"/>
                  </a:schemeClr>
                </a:solidFill>
              </a:rPr>
              <a:t>DPP-Data </a:t>
            </a:r>
            <a:r>
              <a:rPr lang="en-US" b="1">
                <a:solidFill>
                  <a:schemeClr val="tx1">
                    <a:lumMod val="65000"/>
                    <a:lumOff val="35000"/>
                  </a:schemeClr>
                </a:solidFill>
              </a:rPr>
              <a:t>available?</a:t>
            </a:r>
          </a:p>
          <a:p>
            <a:r>
              <a:rPr lang="en-US" b="1">
                <a:solidFill>
                  <a:schemeClr val="tx1">
                    <a:lumMod val="65000"/>
                    <a:lumOff val="35000"/>
                  </a:schemeClr>
                </a:solidFill>
              </a:rPr>
              <a:t>Backup</a:t>
            </a:r>
            <a:r>
              <a:rPr lang="en-US">
                <a:solidFill>
                  <a:schemeClr val="tx1">
                    <a:lumMod val="65000"/>
                    <a:lumOff val="35000"/>
                  </a:schemeClr>
                </a:solidFill>
              </a:rPr>
              <a:t> of the DPPs done?</a:t>
            </a:r>
            <a:endParaRPr lang="en-US" b="1">
              <a:solidFill>
                <a:schemeClr val="tx1">
                  <a:lumMod val="65000"/>
                  <a:lumOff val="35000"/>
                </a:schemeClr>
              </a:solidFill>
            </a:endParaRPr>
          </a:p>
          <a:p>
            <a:r>
              <a:rPr lang="en-US" b="1">
                <a:solidFill>
                  <a:schemeClr val="tx1">
                    <a:lumMod val="65000"/>
                    <a:lumOff val="35000"/>
                  </a:schemeClr>
                </a:solidFill>
              </a:rPr>
              <a:t>Market surveillance </a:t>
            </a:r>
            <a:r>
              <a:rPr lang="en-US">
                <a:solidFill>
                  <a:schemeClr val="tx1">
                    <a:lumMod val="65000"/>
                    <a:lumOff val="35000"/>
                  </a:schemeClr>
                </a:solidFill>
              </a:rPr>
              <a:t>mechanisms?</a:t>
            </a:r>
          </a:p>
          <a:p>
            <a:endParaRPr lang="en-US" b="1">
              <a:solidFill>
                <a:schemeClr val="tx1">
                  <a:lumMod val="65000"/>
                  <a:lumOff val="35000"/>
                </a:schemeClr>
              </a:solidFill>
            </a:endParaRPr>
          </a:p>
          <a:p>
            <a:endParaRPr lang="en-US">
              <a:solidFill>
                <a:schemeClr val="tx1">
                  <a:lumMod val="65000"/>
                  <a:lumOff val="35000"/>
                </a:schemeClr>
              </a:solidFill>
            </a:endParaRPr>
          </a:p>
        </p:txBody>
      </p:sp>
      <p:grpSp>
        <p:nvGrpSpPr>
          <p:cNvPr id="90" name="Group 89">
            <a:extLst>
              <a:ext uri="{FF2B5EF4-FFF2-40B4-BE49-F238E27FC236}">
                <a16:creationId xmlns:a16="http://schemas.microsoft.com/office/drawing/2014/main" id="{963E8808-238C-D338-09BC-FD7C4B9018FB}"/>
              </a:ext>
            </a:extLst>
          </p:cNvPr>
          <p:cNvGrpSpPr/>
          <p:nvPr/>
        </p:nvGrpSpPr>
        <p:grpSpPr>
          <a:xfrm>
            <a:off x="226800" y="-1474426"/>
            <a:ext cx="7645046" cy="7636400"/>
            <a:chOff x="586800" y="-2513276"/>
            <a:chExt cx="7645046" cy="7636400"/>
          </a:xfrm>
        </p:grpSpPr>
        <p:sp>
          <p:nvSpPr>
            <p:cNvPr id="13" name="Arc 12">
              <a:extLst>
                <a:ext uri="{FF2B5EF4-FFF2-40B4-BE49-F238E27FC236}">
                  <a16:creationId xmlns:a16="http://schemas.microsoft.com/office/drawing/2014/main" id="{0B3FD030-EE63-FD2C-7FDA-217186C4BB67}"/>
                </a:ext>
              </a:extLst>
            </p:cNvPr>
            <p:cNvSpPr>
              <a:spLocks noChangeAspect="1"/>
            </p:cNvSpPr>
            <p:nvPr/>
          </p:nvSpPr>
          <p:spPr>
            <a:xfrm>
              <a:off x="3777082" y="720000"/>
              <a:ext cx="4320000" cy="4320000"/>
            </a:xfrm>
            <a:prstGeom prst="arc">
              <a:avLst>
                <a:gd name="adj1" fmla="val 16217789"/>
                <a:gd name="adj2" fmla="val 21286908"/>
              </a:avLst>
            </a:prstGeom>
            <a:ln w="482600">
              <a:solidFill>
                <a:schemeClr val="accent1"/>
              </a:solidFill>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en-US"/>
            </a:p>
          </p:txBody>
        </p:sp>
        <p:sp>
          <p:nvSpPr>
            <p:cNvPr id="11" name="Arc 10">
              <a:extLst>
                <a:ext uri="{FF2B5EF4-FFF2-40B4-BE49-F238E27FC236}">
                  <a16:creationId xmlns:a16="http://schemas.microsoft.com/office/drawing/2014/main" id="{44BF4331-99C4-83F6-E51C-49BEAB8847C2}"/>
                </a:ext>
              </a:extLst>
            </p:cNvPr>
            <p:cNvSpPr>
              <a:spLocks noChangeAspect="1"/>
            </p:cNvSpPr>
            <p:nvPr/>
          </p:nvSpPr>
          <p:spPr>
            <a:xfrm>
              <a:off x="921600" y="-2513276"/>
              <a:ext cx="4320000" cy="4320000"/>
            </a:xfrm>
            <a:prstGeom prst="arc">
              <a:avLst>
                <a:gd name="adj1" fmla="val 2676433"/>
                <a:gd name="adj2" fmla="val 5318440"/>
              </a:avLst>
            </a:prstGeom>
            <a:ln w="482600">
              <a:solidFill>
                <a:schemeClr val="accent1"/>
              </a:solidFill>
            </a:ln>
          </p:spPr>
          <p:style>
            <a:lnRef idx="1">
              <a:schemeClr val="accent2"/>
            </a:lnRef>
            <a:fillRef idx="0">
              <a:schemeClr val="accent2"/>
            </a:fillRef>
            <a:effectRef idx="0">
              <a:schemeClr val="accent2"/>
            </a:effectRef>
            <a:fontRef idx="minor">
              <a:schemeClr val="tx1"/>
            </a:fontRef>
          </p:style>
          <p:txBody>
            <a:bodyPr lIns="90000" rtlCol="0" anchor="ctr"/>
            <a:lstStyle/>
            <a:p>
              <a:pPr algn="ctr"/>
              <a:endParaRPr lang="en-US"/>
            </a:p>
          </p:txBody>
        </p:sp>
        <p:cxnSp>
          <p:nvCxnSpPr>
            <p:cNvPr id="85" name="Straight Connector 84">
              <a:extLst>
                <a:ext uri="{FF2B5EF4-FFF2-40B4-BE49-F238E27FC236}">
                  <a16:creationId xmlns:a16="http://schemas.microsoft.com/office/drawing/2014/main" id="{EC7A0834-B2A8-4C7D-C642-E458BEC2CD0F}"/>
                </a:ext>
              </a:extLst>
            </p:cNvPr>
            <p:cNvCxnSpPr>
              <a:cxnSpLocks/>
            </p:cNvCxnSpPr>
            <p:nvPr/>
          </p:nvCxnSpPr>
          <p:spPr>
            <a:xfrm flipH="1">
              <a:off x="586800" y="1806724"/>
              <a:ext cx="1924271" cy="0"/>
            </a:xfrm>
            <a:prstGeom prst="line">
              <a:avLst/>
            </a:prstGeom>
            <a:ln w="482600"/>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3E46796-7128-06CC-3775-64262F16086E}"/>
                </a:ext>
              </a:extLst>
            </p:cNvPr>
            <p:cNvCxnSpPr>
              <a:cxnSpLocks/>
            </p:cNvCxnSpPr>
            <p:nvPr/>
          </p:nvCxnSpPr>
          <p:spPr>
            <a:xfrm flipH="1">
              <a:off x="2471828" y="1806724"/>
              <a:ext cx="684000" cy="0"/>
            </a:xfrm>
            <a:prstGeom prst="line">
              <a:avLst/>
            </a:prstGeom>
            <a:ln w="482600">
              <a:solidFill>
                <a:schemeClr val="accent1"/>
              </a:solidFill>
            </a:ln>
          </p:spPr>
          <p:style>
            <a:lnRef idx="1">
              <a:schemeClr val="accent2"/>
            </a:lnRef>
            <a:fillRef idx="0">
              <a:schemeClr val="accent2"/>
            </a:fillRef>
            <a:effectRef idx="0">
              <a:schemeClr val="accent2"/>
            </a:effectRef>
            <a:fontRef idx="minor">
              <a:schemeClr val="tx1"/>
            </a:fontRef>
          </p:style>
        </p:cxnSp>
        <p:sp>
          <p:nvSpPr>
            <p:cNvPr id="9" name="Arc 8">
              <a:extLst>
                <a:ext uri="{FF2B5EF4-FFF2-40B4-BE49-F238E27FC236}">
                  <a16:creationId xmlns:a16="http://schemas.microsoft.com/office/drawing/2014/main" id="{125CC178-3A5C-801F-38C9-ABE82B936B65}"/>
                </a:ext>
              </a:extLst>
            </p:cNvPr>
            <p:cNvSpPr>
              <a:spLocks noChangeAspect="1"/>
            </p:cNvSpPr>
            <p:nvPr/>
          </p:nvSpPr>
          <p:spPr>
            <a:xfrm>
              <a:off x="3777082" y="720000"/>
              <a:ext cx="4320000" cy="4320000"/>
            </a:xfrm>
            <a:prstGeom prst="arc">
              <a:avLst>
                <a:gd name="adj1" fmla="val 21223195"/>
                <a:gd name="adj2" fmla="val 8201434"/>
              </a:avLst>
            </a:prstGeom>
            <a:ln w="482600">
              <a:gradFill>
                <a:gsLst>
                  <a:gs pos="14000">
                    <a:schemeClr val="accent5"/>
                  </a:gs>
                  <a:gs pos="93000">
                    <a:schemeClr val="accent1"/>
                  </a:gs>
                </a:gsLst>
                <a:lin ang="0" scaled="0"/>
              </a:gradFill>
            </a:ln>
          </p:spPr>
          <p:style>
            <a:lnRef idx="1">
              <a:schemeClr val="accent2"/>
            </a:lnRef>
            <a:fillRef idx="0">
              <a:schemeClr val="accent2"/>
            </a:fillRef>
            <a:effectRef idx="0">
              <a:schemeClr val="accent2"/>
            </a:effectRef>
            <a:fontRef idx="minor">
              <a:schemeClr val="tx1"/>
            </a:fontRef>
          </p:style>
          <p:txBody>
            <a:bodyPr lIns="90000" rtlCol="0" anchor="ctr"/>
            <a:lstStyle/>
            <a:p>
              <a:pPr algn="ctr"/>
              <a:endParaRPr lang="en-US"/>
            </a:p>
          </p:txBody>
        </p:sp>
        <p:sp>
          <p:nvSpPr>
            <p:cNvPr id="10" name="Arc 9">
              <a:extLst>
                <a:ext uri="{FF2B5EF4-FFF2-40B4-BE49-F238E27FC236}">
                  <a16:creationId xmlns:a16="http://schemas.microsoft.com/office/drawing/2014/main" id="{94A3427F-C7CA-3845-520C-C341DA708888}"/>
                </a:ext>
              </a:extLst>
            </p:cNvPr>
            <p:cNvSpPr>
              <a:spLocks noChangeAspect="1"/>
            </p:cNvSpPr>
            <p:nvPr/>
          </p:nvSpPr>
          <p:spPr>
            <a:xfrm>
              <a:off x="3777082" y="720000"/>
              <a:ext cx="4320000" cy="4320000"/>
            </a:xfrm>
            <a:prstGeom prst="arc">
              <a:avLst>
                <a:gd name="adj1" fmla="val 8198067"/>
                <a:gd name="adj2" fmla="val 16419909"/>
              </a:avLst>
            </a:prstGeom>
            <a:ln w="482600">
              <a:gradFill flip="none" rotWithShape="1">
                <a:gsLst>
                  <a:gs pos="36000">
                    <a:schemeClr val="accent1"/>
                  </a:gs>
                  <a:gs pos="57000">
                    <a:schemeClr val="accent5"/>
                  </a:gs>
                </a:gsLst>
                <a:lin ang="2700000" scaled="1"/>
                <a:tileRect/>
              </a:gradFill>
            </a:ln>
          </p:spPr>
          <p:style>
            <a:lnRef idx="1">
              <a:schemeClr val="accent2"/>
            </a:lnRef>
            <a:fillRef idx="0">
              <a:schemeClr val="accent2"/>
            </a:fillRef>
            <a:effectRef idx="0">
              <a:schemeClr val="accent2"/>
            </a:effectRef>
            <a:fontRef idx="minor">
              <a:schemeClr val="tx1"/>
            </a:fontRef>
          </p:style>
          <p:txBody>
            <a:bodyPr lIns="90000" rtlCol="0" anchor="ctr"/>
            <a:lstStyle/>
            <a:p>
              <a:pPr algn="ctr"/>
              <a:endParaRPr lang="en-US"/>
            </a:p>
          </p:txBody>
        </p:sp>
        <p:sp>
          <p:nvSpPr>
            <p:cNvPr id="14" name="Oval 13">
              <a:extLst>
                <a:ext uri="{FF2B5EF4-FFF2-40B4-BE49-F238E27FC236}">
                  <a16:creationId xmlns:a16="http://schemas.microsoft.com/office/drawing/2014/main" id="{FC1191F3-753A-0147-1A56-1C014F8155CE}"/>
                </a:ext>
              </a:extLst>
            </p:cNvPr>
            <p:cNvSpPr>
              <a:spLocks/>
            </p:cNvSpPr>
            <p:nvPr/>
          </p:nvSpPr>
          <p:spPr>
            <a:xfrm>
              <a:off x="4785082" y="1710000"/>
              <a:ext cx="2340000" cy="2340000"/>
            </a:xfrm>
            <a:prstGeom prst="ellipse">
              <a:avLst/>
            </a:prstGeom>
            <a:solidFill>
              <a:schemeClr val="bg1">
                <a:alpha val="33438"/>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b"/>
            <a:lstStyle/>
            <a:p>
              <a:pPr>
                <a:buClr>
                  <a:schemeClr val="bg1"/>
                </a:buClr>
              </a:pPr>
              <a:endParaRPr lang="en-US"/>
            </a:p>
          </p:txBody>
        </p:sp>
        <p:sp>
          <p:nvSpPr>
            <p:cNvPr id="18" name="Rectangle 17">
              <a:extLst>
                <a:ext uri="{FF2B5EF4-FFF2-40B4-BE49-F238E27FC236}">
                  <a16:creationId xmlns:a16="http://schemas.microsoft.com/office/drawing/2014/main" id="{D5959BB6-FF49-DDDB-9C08-ADCE101412FC}"/>
                </a:ext>
              </a:extLst>
            </p:cNvPr>
            <p:cNvSpPr>
              <a:spLocks/>
            </p:cNvSpPr>
            <p:nvPr/>
          </p:nvSpPr>
          <p:spPr>
            <a:xfrm rot="2700000">
              <a:off x="3777082" y="720000"/>
              <a:ext cx="4320000" cy="4320000"/>
            </a:xfrm>
            <a:prstGeom prst="rect">
              <a:avLst/>
            </a:prstGeom>
            <a:noFill/>
          </p:spPr>
          <p:txBody>
            <a:bodyPr wrap="none" lIns="90000" tIns="45720" rIns="91440" bIns="45720">
              <a:prstTxWarp prst="textArchUp">
                <a:avLst>
                  <a:gd name="adj" fmla="val 9490184"/>
                </a:avLst>
              </a:prstTxWarp>
              <a:spAutoFit/>
            </a:bodyPr>
            <a:lstStyle/>
            <a:p>
              <a:pPr algn="ctr"/>
              <a:r>
                <a:rPr lang="en-GB" sz="1800" b="0" cap="none" spc="0">
                  <a:ln w="0">
                    <a:noFill/>
                  </a:ln>
                  <a:solidFill>
                    <a:srgbClr val="FFFFFF"/>
                  </a:solidFill>
                  <a:latin typeface="Calibri" panose="020F0502020204030204" pitchFamily="34" charset="0"/>
                  <a:cs typeface="Calibri" panose="020F0502020204030204" pitchFamily="34" charset="0"/>
                </a:rPr>
                <a:t>Assemble</a:t>
              </a:r>
              <a:endParaRPr lang="en-GB" sz="1600" b="0" cap="none" spc="0">
                <a:ln w="0">
                  <a:noFill/>
                </a:ln>
                <a:solidFill>
                  <a:srgbClr val="FFFFFF"/>
                </a:solidFill>
                <a:latin typeface="Calibri" panose="020F0502020204030204" pitchFamily="34" charset="0"/>
                <a:cs typeface="Calibri" panose="020F0502020204030204" pitchFamily="34" charset="0"/>
              </a:endParaRPr>
            </a:p>
          </p:txBody>
        </p:sp>
        <p:sp>
          <p:nvSpPr>
            <p:cNvPr id="21" name="Rectangle 20">
              <a:extLst>
                <a:ext uri="{FF2B5EF4-FFF2-40B4-BE49-F238E27FC236}">
                  <a16:creationId xmlns:a16="http://schemas.microsoft.com/office/drawing/2014/main" id="{2CD0502A-CB72-D0CB-E267-53FA2BF6E1B6}"/>
                </a:ext>
              </a:extLst>
            </p:cNvPr>
            <p:cNvSpPr>
              <a:spLocks/>
            </p:cNvSpPr>
            <p:nvPr/>
          </p:nvSpPr>
          <p:spPr>
            <a:xfrm rot="16011086">
              <a:off x="3829706" y="803124"/>
              <a:ext cx="4320000" cy="4320000"/>
            </a:xfrm>
            <a:prstGeom prst="rect">
              <a:avLst/>
            </a:prstGeom>
            <a:noFill/>
          </p:spPr>
          <p:txBody>
            <a:bodyPr wrap="none" lIns="90000" tIns="45720" rIns="91440" bIns="45720">
              <a:prstTxWarp prst="textArchUp">
                <a:avLst>
                  <a:gd name="adj" fmla="val 9490184"/>
                </a:avLst>
              </a:prstTxWarp>
              <a:spAutoFit/>
            </a:bodyPr>
            <a:lstStyle/>
            <a:p>
              <a:pPr algn="ctr"/>
              <a:r>
                <a:rPr lang="en-GB" sz="1800" b="0" cap="none" spc="0">
                  <a:ln w="0">
                    <a:noFill/>
                  </a:ln>
                  <a:solidFill>
                    <a:srgbClr val="FFFFFF"/>
                  </a:solidFill>
                  <a:latin typeface="Calibri" panose="020F0502020204030204" pitchFamily="34" charset="0"/>
                  <a:cs typeface="Calibri" panose="020F0502020204030204" pitchFamily="34" charset="0"/>
                </a:rPr>
                <a:t>Recycle</a:t>
              </a:r>
            </a:p>
          </p:txBody>
        </p:sp>
        <p:sp>
          <p:nvSpPr>
            <p:cNvPr id="12" name="Arc 11">
              <a:extLst>
                <a:ext uri="{FF2B5EF4-FFF2-40B4-BE49-F238E27FC236}">
                  <a16:creationId xmlns:a16="http://schemas.microsoft.com/office/drawing/2014/main" id="{488F91A1-D79D-32D8-51D3-8BC1D13FA13E}"/>
                </a:ext>
              </a:extLst>
            </p:cNvPr>
            <p:cNvSpPr>
              <a:spLocks noChangeAspect="1"/>
            </p:cNvSpPr>
            <p:nvPr/>
          </p:nvSpPr>
          <p:spPr>
            <a:xfrm>
              <a:off x="3777082" y="720000"/>
              <a:ext cx="4320000" cy="4320000"/>
            </a:xfrm>
            <a:prstGeom prst="arc">
              <a:avLst>
                <a:gd name="adj1" fmla="val 13912367"/>
                <a:gd name="adj2" fmla="val 16548007"/>
              </a:avLst>
            </a:prstGeom>
            <a:ln w="482600">
              <a:solidFill>
                <a:schemeClr val="accent1"/>
              </a:solidFill>
            </a:ln>
          </p:spPr>
          <p:style>
            <a:lnRef idx="1">
              <a:schemeClr val="accent2"/>
            </a:lnRef>
            <a:fillRef idx="0">
              <a:schemeClr val="accent2"/>
            </a:fillRef>
            <a:effectRef idx="0">
              <a:schemeClr val="accent2"/>
            </a:effectRef>
            <a:fontRef idx="minor">
              <a:schemeClr val="tx1"/>
            </a:fontRef>
          </p:style>
          <p:txBody>
            <a:bodyPr lIns="90000" rtlCol="0" anchor="ctr"/>
            <a:lstStyle/>
            <a:p>
              <a:pPr algn="ctr"/>
              <a:endParaRPr lang="en-US"/>
            </a:p>
          </p:txBody>
        </p:sp>
        <p:sp>
          <p:nvSpPr>
            <p:cNvPr id="23" name="TextBox 22">
              <a:extLst>
                <a:ext uri="{FF2B5EF4-FFF2-40B4-BE49-F238E27FC236}">
                  <a16:creationId xmlns:a16="http://schemas.microsoft.com/office/drawing/2014/main" id="{4D0FBB39-31C3-CD94-A31A-F81B98059D6E}"/>
                </a:ext>
              </a:extLst>
            </p:cNvPr>
            <p:cNvSpPr txBox="1">
              <a:spLocks/>
            </p:cNvSpPr>
            <p:nvPr/>
          </p:nvSpPr>
          <p:spPr>
            <a:xfrm>
              <a:off x="2391341" y="1627389"/>
              <a:ext cx="779701" cy="369332"/>
            </a:xfrm>
            <a:prstGeom prst="rect">
              <a:avLst/>
            </a:prstGeom>
            <a:noFill/>
          </p:spPr>
          <p:txBody>
            <a:bodyPr wrap="none" rtlCol="0">
              <a:spAutoFit/>
            </a:bodyPr>
            <a:lstStyle/>
            <a:p>
              <a:pPr marL="0" indent="0" algn="l">
                <a:buClr>
                  <a:schemeClr val="bg2"/>
                </a:buClr>
                <a:buSzPct val="80000"/>
                <a:buFont typeface="Arial" panose="020B0604020202020204" pitchFamily="34" charset="0"/>
                <a:buNone/>
              </a:pPr>
              <a:r>
                <a:rPr lang="en-US" sz="1800">
                  <a:solidFill>
                    <a:schemeClr val="bg1"/>
                  </a:solidFill>
                  <a:latin typeface="Calibri" panose="020F0502020204030204" pitchFamily="34" charset="0"/>
                  <a:cs typeface="Calibri" panose="020F0502020204030204" pitchFamily="34" charset="0"/>
                  <a:sym typeface="Calibri" panose="020F0502020204030204" pitchFamily="34" charset="0"/>
                </a:rPr>
                <a:t>Refine</a:t>
              </a:r>
              <a:endParaRPr lang="en-US" sz="1800" b="0" i="0" u="none" strike="noStrike" cap="none">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5" name="Isosceles Triangle 28">
              <a:extLst>
                <a:ext uri="{FF2B5EF4-FFF2-40B4-BE49-F238E27FC236}">
                  <a16:creationId xmlns:a16="http://schemas.microsoft.com/office/drawing/2014/main" id="{12AD4FCC-6A6F-3996-0E0F-BC4AE19F5404}"/>
                </a:ext>
              </a:extLst>
            </p:cNvPr>
            <p:cNvSpPr>
              <a:spLocks/>
            </p:cNvSpPr>
            <p:nvPr/>
          </p:nvSpPr>
          <p:spPr>
            <a:xfrm rot="6343744">
              <a:off x="6396887" y="721445"/>
              <a:ext cx="360000" cy="18000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A15E9A66-2744-86F5-0951-533A90E0D578}"/>
                </a:ext>
              </a:extLst>
            </p:cNvPr>
            <p:cNvSpPr>
              <a:spLocks/>
            </p:cNvSpPr>
            <p:nvPr/>
          </p:nvSpPr>
          <p:spPr>
            <a:xfrm rot="7200000">
              <a:off x="3777082" y="720000"/>
              <a:ext cx="4320000" cy="4320000"/>
            </a:xfrm>
            <a:prstGeom prst="rect">
              <a:avLst/>
            </a:prstGeom>
            <a:noFill/>
          </p:spPr>
          <p:txBody>
            <a:bodyPr wrap="none" lIns="90000" tIns="45720" rIns="91440" bIns="45720">
              <a:prstTxWarp prst="textArchUp">
                <a:avLst>
                  <a:gd name="adj" fmla="val 9490184"/>
                </a:avLst>
              </a:prstTxWarp>
              <a:spAutoFit/>
            </a:bodyPr>
            <a:lstStyle/>
            <a:p>
              <a:pPr algn="ctr"/>
              <a:r>
                <a:rPr lang="en-GB" sz="1800" b="0" cap="none" spc="0">
                  <a:ln w="0">
                    <a:noFill/>
                  </a:ln>
                  <a:solidFill>
                    <a:srgbClr val="FFFFFF"/>
                  </a:solidFill>
                  <a:latin typeface="Calibri" panose="020F0502020204030204" pitchFamily="34" charset="0"/>
                  <a:cs typeface="Calibri" panose="020F0502020204030204" pitchFamily="34" charset="0"/>
                </a:rPr>
                <a:t>Use, Re-use, </a:t>
              </a:r>
              <a:r>
                <a:rPr lang="en-GB" sz="1800">
                  <a:ln w="0">
                    <a:noFill/>
                  </a:ln>
                  <a:solidFill>
                    <a:srgbClr val="FFFFFF"/>
                  </a:solidFill>
                  <a:latin typeface="Calibri" panose="020F0502020204030204" pitchFamily="34" charset="0"/>
                  <a:cs typeface="Calibri" panose="020F0502020204030204" pitchFamily="34" charset="0"/>
                </a:rPr>
                <a:t>Repair</a:t>
              </a:r>
              <a:endParaRPr lang="en-GB" sz="1800" b="0" cap="none" spc="0">
                <a:ln w="0">
                  <a:noFill/>
                </a:ln>
                <a:solidFill>
                  <a:srgbClr val="FFFFFF"/>
                </a:solidFill>
                <a:latin typeface="Calibri" panose="020F0502020204030204" pitchFamily="34" charset="0"/>
                <a:cs typeface="Calibri" panose="020F0502020204030204" pitchFamily="34" charset="0"/>
              </a:endParaRPr>
            </a:p>
          </p:txBody>
        </p:sp>
        <p:sp>
          <p:nvSpPr>
            <p:cNvPr id="26" name="Isosceles Triangle 28">
              <a:extLst>
                <a:ext uri="{FF2B5EF4-FFF2-40B4-BE49-F238E27FC236}">
                  <a16:creationId xmlns:a16="http://schemas.microsoft.com/office/drawing/2014/main" id="{03D63FED-DEBC-2305-D08F-DF21610D10A9}"/>
                </a:ext>
              </a:extLst>
            </p:cNvPr>
            <p:cNvSpPr>
              <a:spLocks/>
            </p:cNvSpPr>
            <p:nvPr/>
          </p:nvSpPr>
          <p:spPr>
            <a:xfrm rot="9971010">
              <a:off x="7871846" y="2300933"/>
              <a:ext cx="360000" cy="18000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Isosceles Triangle 28">
              <a:extLst>
                <a:ext uri="{FF2B5EF4-FFF2-40B4-BE49-F238E27FC236}">
                  <a16:creationId xmlns:a16="http://schemas.microsoft.com/office/drawing/2014/main" id="{24976DA2-1B3B-98F4-878D-EB312C5EEDDE}"/>
                </a:ext>
              </a:extLst>
            </p:cNvPr>
            <p:cNvSpPr>
              <a:spLocks/>
            </p:cNvSpPr>
            <p:nvPr/>
          </p:nvSpPr>
          <p:spPr>
            <a:xfrm rot="14621920">
              <a:off x="6581433" y="4803935"/>
              <a:ext cx="360000" cy="18000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Isosceles Triangle 28">
              <a:extLst>
                <a:ext uri="{FF2B5EF4-FFF2-40B4-BE49-F238E27FC236}">
                  <a16:creationId xmlns:a16="http://schemas.microsoft.com/office/drawing/2014/main" id="{DAB56906-4DA0-4CA6-FEA3-8D5B6F7B74D3}"/>
                </a:ext>
              </a:extLst>
            </p:cNvPr>
            <p:cNvSpPr>
              <a:spLocks/>
            </p:cNvSpPr>
            <p:nvPr/>
          </p:nvSpPr>
          <p:spPr>
            <a:xfrm rot="19406845">
              <a:off x="3979160" y="3999359"/>
              <a:ext cx="360000" cy="19633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28">
              <a:extLst>
                <a:ext uri="{FF2B5EF4-FFF2-40B4-BE49-F238E27FC236}">
                  <a16:creationId xmlns:a16="http://schemas.microsoft.com/office/drawing/2014/main" id="{ECA67D10-73DF-8290-F4C1-EB4A4D9F492A}"/>
                </a:ext>
              </a:extLst>
            </p:cNvPr>
            <p:cNvSpPr>
              <a:spLocks/>
            </p:cNvSpPr>
            <p:nvPr/>
          </p:nvSpPr>
          <p:spPr>
            <a:xfrm rot="4855710">
              <a:off x="3367576" y="1674434"/>
              <a:ext cx="360000" cy="18000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Isosceles Triangle 28">
              <a:extLst>
                <a:ext uri="{FF2B5EF4-FFF2-40B4-BE49-F238E27FC236}">
                  <a16:creationId xmlns:a16="http://schemas.microsoft.com/office/drawing/2014/main" id="{34834AFB-BFCB-2BD3-5D16-AD732E6A64AA}"/>
                </a:ext>
              </a:extLst>
            </p:cNvPr>
            <p:cNvSpPr>
              <a:spLocks/>
            </p:cNvSpPr>
            <p:nvPr/>
          </p:nvSpPr>
          <p:spPr>
            <a:xfrm rot="852608">
              <a:off x="3732870" y="1986654"/>
              <a:ext cx="360000" cy="18000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1" name="Group 30">
              <a:extLst>
                <a:ext uri="{FF2B5EF4-FFF2-40B4-BE49-F238E27FC236}">
                  <a16:creationId xmlns:a16="http://schemas.microsoft.com/office/drawing/2014/main" id="{373EA68E-C6FC-9312-74FE-7E792763C490}"/>
                </a:ext>
              </a:extLst>
            </p:cNvPr>
            <p:cNvGrpSpPr>
              <a:grpSpLocks/>
            </p:cNvGrpSpPr>
            <p:nvPr/>
          </p:nvGrpSpPr>
          <p:grpSpPr>
            <a:xfrm rot="15220510">
              <a:off x="5318209" y="1304404"/>
              <a:ext cx="490562" cy="197399"/>
              <a:chOff x="9095334" y="1041893"/>
              <a:chExt cx="683864" cy="316518"/>
            </a:xfrm>
          </p:grpSpPr>
          <p:grpSp>
            <p:nvGrpSpPr>
              <p:cNvPr id="75" name="Group 74">
                <a:extLst>
                  <a:ext uri="{FF2B5EF4-FFF2-40B4-BE49-F238E27FC236}">
                    <a16:creationId xmlns:a16="http://schemas.microsoft.com/office/drawing/2014/main" id="{FDDF32D8-B6E3-3148-C566-64A934F394C9}"/>
                  </a:ext>
                </a:extLst>
              </p:cNvPr>
              <p:cNvGrpSpPr>
                <a:grpSpLocks/>
              </p:cNvGrpSpPr>
              <p:nvPr/>
            </p:nvGrpSpPr>
            <p:grpSpPr>
              <a:xfrm>
                <a:off x="9095334" y="1041893"/>
                <a:ext cx="675199" cy="109574"/>
                <a:chOff x="9095334" y="1041893"/>
                <a:chExt cx="675199" cy="109574"/>
              </a:xfrm>
            </p:grpSpPr>
            <p:cxnSp>
              <p:nvCxnSpPr>
                <p:cNvPr id="79" name="Straight Connector 78">
                  <a:extLst>
                    <a:ext uri="{FF2B5EF4-FFF2-40B4-BE49-F238E27FC236}">
                      <a16:creationId xmlns:a16="http://schemas.microsoft.com/office/drawing/2014/main" id="{1D7CD040-671B-ADD1-83BE-276F897FA168}"/>
                    </a:ext>
                  </a:extLst>
                </p:cNvPr>
                <p:cNvCxnSpPr>
                  <a:cxnSpLocks/>
                </p:cNvCxnSpPr>
                <p:nvPr/>
              </p:nvCxnSpPr>
              <p:spPr>
                <a:xfrm>
                  <a:off x="9095334" y="1151467"/>
                  <a:ext cx="675199" cy="0"/>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EBEE75D4-2FD5-C212-6B70-6C69AAB72029}"/>
                    </a:ext>
                  </a:extLst>
                </p:cNvPr>
                <p:cNvCxnSpPr>
                  <a:cxnSpLocks/>
                </p:cNvCxnSpPr>
                <p:nvPr/>
              </p:nvCxnSpPr>
              <p:spPr>
                <a:xfrm flipH="1" flipV="1">
                  <a:off x="9575321" y="1041893"/>
                  <a:ext cx="195212" cy="109573"/>
                </a:xfrm>
                <a:prstGeom prst="line">
                  <a:avLst/>
                </a:prstGeom>
                <a:ln w="22225"/>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D8D75087-B354-F21E-FCAC-6328D07F0088}"/>
                  </a:ext>
                </a:extLst>
              </p:cNvPr>
              <p:cNvGrpSpPr>
                <a:grpSpLocks/>
              </p:cNvGrpSpPr>
              <p:nvPr/>
            </p:nvGrpSpPr>
            <p:grpSpPr>
              <a:xfrm rot="10800000">
                <a:off x="9103999" y="1248837"/>
                <a:ext cx="675199" cy="109574"/>
                <a:chOff x="9095334" y="1041893"/>
                <a:chExt cx="675199" cy="109574"/>
              </a:xfrm>
            </p:grpSpPr>
            <p:cxnSp>
              <p:nvCxnSpPr>
                <p:cNvPr id="77" name="Straight Connector 76">
                  <a:extLst>
                    <a:ext uri="{FF2B5EF4-FFF2-40B4-BE49-F238E27FC236}">
                      <a16:creationId xmlns:a16="http://schemas.microsoft.com/office/drawing/2014/main" id="{E779BCA7-DD6E-2355-AD9D-D58808F32E9E}"/>
                    </a:ext>
                  </a:extLst>
                </p:cNvPr>
                <p:cNvCxnSpPr>
                  <a:cxnSpLocks/>
                </p:cNvCxnSpPr>
                <p:nvPr/>
              </p:nvCxnSpPr>
              <p:spPr>
                <a:xfrm>
                  <a:off x="9095334" y="1151467"/>
                  <a:ext cx="675199" cy="0"/>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33A9902C-E5F1-5069-E35B-3125FD759E52}"/>
                    </a:ext>
                  </a:extLst>
                </p:cNvPr>
                <p:cNvCxnSpPr>
                  <a:cxnSpLocks/>
                </p:cNvCxnSpPr>
                <p:nvPr/>
              </p:nvCxnSpPr>
              <p:spPr>
                <a:xfrm flipH="1" flipV="1">
                  <a:off x="9575321" y="1041893"/>
                  <a:ext cx="195212" cy="109573"/>
                </a:xfrm>
                <a:prstGeom prst="line">
                  <a:avLst/>
                </a:prstGeom>
                <a:ln w="22225"/>
              </p:spPr>
              <p:style>
                <a:lnRef idx="1">
                  <a:schemeClr val="accent1"/>
                </a:lnRef>
                <a:fillRef idx="0">
                  <a:schemeClr val="accent1"/>
                </a:fillRef>
                <a:effectRef idx="0">
                  <a:schemeClr val="accent1"/>
                </a:effectRef>
                <a:fontRef idx="minor">
                  <a:schemeClr val="tx1"/>
                </a:fontRef>
              </p:style>
            </p:cxnSp>
          </p:grpSp>
        </p:grpSp>
        <p:grpSp>
          <p:nvGrpSpPr>
            <p:cNvPr id="32" name="Group 31">
              <a:extLst>
                <a:ext uri="{FF2B5EF4-FFF2-40B4-BE49-F238E27FC236}">
                  <a16:creationId xmlns:a16="http://schemas.microsoft.com/office/drawing/2014/main" id="{0DEEE801-EA74-96EC-2E61-B96C7DB4863C}"/>
                </a:ext>
              </a:extLst>
            </p:cNvPr>
            <p:cNvGrpSpPr>
              <a:grpSpLocks/>
            </p:cNvGrpSpPr>
            <p:nvPr/>
          </p:nvGrpSpPr>
          <p:grpSpPr>
            <a:xfrm rot="21352607">
              <a:off x="4154860" y="2990305"/>
              <a:ext cx="490562" cy="197399"/>
              <a:chOff x="9095334" y="1041893"/>
              <a:chExt cx="683864" cy="316518"/>
            </a:xfrm>
          </p:grpSpPr>
          <p:grpSp>
            <p:nvGrpSpPr>
              <p:cNvPr id="69" name="Group 68">
                <a:extLst>
                  <a:ext uri="{FF2B5EF4-FFF2-40B4-BE49-F238E27FC236}">
                    <a16:creationId xmlns:a16="http://schemas.microsoft.com/office/drawing/2014/main" id="{695E3ACC-00F3-C294-8318-5B6E3E12E1BD}"/>
                  </a:ext>
                </a:extLst>
              </p:cNvPr>
              <p:cNvGrpSpPr>
                <a:grpSpLocks/>
              </p:cNvGrpSpPr>
              <p:nvPr/>
            </p:nvGrpSpPr>
            <p:grpSpPr>
              <a:xfrm>
                <a:off x="9095334" y="1041893"/>
                <a:ext cx="675199" cy="109574"/>
                <a:chOff x="9095334" y="1041893"/>
                <a:chExt cx="675199" cy="109574"/>
              </a:xfrm>
            </p:grpSpPr>
            <p:cxnSp>
              <p:nvCxnSpPr>
                <p:cNvPr id="73" name="Straight Connector 72">
                  <a:extLst>
                    <a:ext uri="{FF2B5EF4-FFF2-40B4-BE49-F238E27FC236}">
                      <a16:creationId xmlns:a16="http://schemas.microsoft.com/office/drawing/2014/main" id="{EBC19B74-C2E0-7087-8903-B412CB11596F}"/>
                    </a:ext>
                  </a:extLst>
                </p:cNvPr>
                <p:cNvCxnSpPr>
                  <a:cxnSpLocks/>
                </p:cNvCxnSpPr>
                <p:nvPr/>
              </p:nvCxnSpPr>
              <p:spPr>
                <a:xfrm>
                  <a:off x="9095334" y="1151467"/>
                  <a:ext cx="675199" cy="0"/>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C1DEF1A-F9EB-1D4C-3906-59DEE9258B4B}"/>
                    </a:ext>
                  </a:extLst>
                </p:cNvPr>
                <p:cNvCxnSpPr>
                  <a:cxnSpLocks/>
                </p:cNvCxnSpPr>
                <p:nvPr/>
              </p:nvCxnSpPr>
              <p:spPr>
                <a:xfrm flipH="1" flipV="1">
                  <a:off x="9575321" y="1041893"/>
                  <a:ext cx="195212" cy="109573"/>
                </a:xfrm>
                <a:prstGeom prst="line">
                  <a:avLst/>
                </a:prstGeom>
                <a:ln w="22225"/>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3B7DA15B-BC9E-5741-B9D9-4834CAEB5EC7}"/>
                  </a:ext>
                </a:extLst>
              </p:cNvPr>
              <p:cNvGrpSpPr>
                <a:grpSpLocks/>
              </p:cNvGrpSpPr>
              <p:nvPr/>
            </p:nvGrpSpPr>
            <p:grpSpPr>
              <a:xfrm rot="10800000">
                <a:off x="9103999" y="1248837"/>
                <a:ext cx="675199" cy="109574"/>
                <a:chOff x="9095334" y="1041893"/>
                <a:chExt cx="675199" cy="109574"/>
              </a:xfrm>
            </p:grpSpPr>
            <p:cxnSp>
              <p:nvCxnSpPr>
                <p:cNvPr id="71" name="Straight Connector 70">
                  <a:extLst>
                    <a:ext uri="{FF2B5EF4-FFF2-40B4-BE49-F238E27FC236}">
                      <a16:creationId xmlns:a16="http://schemas.microsoft.com/office/drawing/2014/main" id="{3C5928D4-E43D-0628-7619-5E46FB353439}"/>
                    </a:ext>
                  </a:extLst>
                </p:cNvPr>
                <p:cNvCxnSpPr>
                  <a:cxnSpLocks/>
                </p:cNvCxnSpPr>
                <p:nvPr/>
              </p:nvCxnSpPr>
              <p:spPr>
                <a:xfrm>
                  <a:off x="9095334" y="1151467"/>
                  <a:ext cx="675199" cy="0"/>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C1818C2C-6CBD-987F-B9A2-F41CD9D9C9DF}"/>
                    </a:ext>
                  </a:extLst>
                </p:cNvPr>
                <p:cNvCxnSpPr>
                  <a:cxnSpLocks/>
                </p:cNvCxnSpPr>
                <p:nvPr/>
              </p:nvCxnSpPr>
              <p:spPr>
                <a:xfrm flipH="1" flipV="1">
                  <a:off x="9575321" y="1041893"/>
                  <a:ext cx="195212" cy="109573"/>
                </a:xfrm>
                <a:prstGeom prst="line">
                  <a:avLst/>
                </a:prstGeom>
                <a:ln w="22225"/>
              </p:spPr>
              <p:style>
                <a:lnRef idx="1">
                  <a:schemeClr val="accent1"/>
                </a:lnRef>
                <a:fillRef idx="0">
                  <a:schemeClr val="accent1"/>
                </a:fillRef>
                <a:effectRef idx="0">
                  <a:schemeClr val="accent1"/>
                </a:effectRef>
                <a:fontRef idx="minor">
                  <a:schemeClr val="tx1"/>
                </a:fontRef>
              </p:style>
            </p:cxnSp>
          </p:grpSp>
        </p:grpSp>
        <p:grpSp>
          <p:nvGrpSpPr>
            <p:cNvPr id="33" name="Group 32">
              <a:extLst>
                <a:ext uri="{FF2B5EF4-FFF2-40B4-BE49-F238E27FC236}">
                  <a16:creationId xmlns:a16="http://schemas.microsoft.com/office/drawing/2014/main" id="{9365B4F9-ECA6-E5FD-4716-CA65C06C9B0C}"/>
                </a:ext>
              </a:extLst>
            </p:cNvPr>
            <p:cNvGrpSpPr>
              <a:grpSpLocks/>
            </p:cNvGrpSpPr>
            <p:nvPr/>
          </p:nvGrpSpPr>
          <p:grpSpPr>
            <a:xfrm rot="16948673">
              <a:off x="5370598" y="4284142"/>
              <a:ext cx="490562" cy="197399"/>
              <a:chOff x="9095334" y="1041893"/>
              <a:chExt cx="683864" cy="316518"/>
            </a:xfrm>
          </p:grpSpPr>
          <p:grpSp>
            <p:nvGrpSpPr>
              <p:cNvPr id="63" name="Group 62">
                <a:extLst>
                  <a:ext uri="{FF2B5EF4-FFF2-40B4-BE49-F238E27FC236}">
                    <a16:creationId xmlns:a16="http://schemas.microsoft.com/office/drawing/2014/main" id="{48F5B5A6-DD83-ECD9-8ED4-73C0F24F91D3}"/>
                  </a:ext>
                </a:extLst>
              </p:cNvPr>
              <p:cNvGrpSpPr>
                <a:grpSpLocks/>
              </p:cNvGrpSpPr>
              <p:nvPr/>
            </p:nvGrpSpPr>
            <p:grpSpPr>
              <a:xfrm>
                <a:off x="9095334" y="1041893"/>
                <a:ext cx="675199" cy="109574"/>
                <a:chOff x="9095334" y="1041893"/>
                <a:chExt cx="675199" cy="109574"/>
              </a:xfrm>
            </p:grpSpPr>
            <p:cxnSp>
              <p:nvCxnSpPr>
                <p:cNvPr id="67" name="Straight Connector 66">
                  <a:extLst>
                    <a:ext uri="{FF2B5EF4-FFF2-40B4-BE49-F238E27FC236}">
                      <a16:creationId xmlns:a16="http://schemas.microsoft.com/office/drawing/2014/main" id="{6DD8180B-B0D8-99FF-703E-E76B65CCFE23}"/>
                    </a:ext>
                  </a:extLst>
                </p:cNvPr>
                <p:cNvCxnSpPr>
                  <a:cxnSpLocks/>
                </p:cNvCxnSpPr>
                <p:nvPr/>
              </p:nvCxnSpPr>
              <p:spPr>
                <a:xfrm>
                  <a:off x="9095334" y="1151467"/>
                  <a:ext cx="675199" cy="0"/>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BAA9D9F9-5ECC-E381-2BE7-B23F5DD77A44}"/>
                    </a:ext>
                  </a:extLst>
                </p:cNvPr>
                <p:cNvCxnSpPr>
                  <a:cxnSpLocks/>
                </p:cNvCxnSpPr>
                <p:nvPr/>
              </p:nvCxnSpPr>
              <p:spPr>
                <a:xfrm flipH="1" flipV="1">
                  <a:off x="9575321" y="1041893"/>
                  <a:ext cx="195212" cy="109573"/>
                </a:xfrm>
                <a:prstGeom prst="line">
                  <a:avLst/>
                </a:prstGeom>
                <a:ln w="22225"/>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161774D9-FD48-6CB5-3474-088987711C16}"/>
                  </a:ext>
                </a:extLst>
              </p:cNvPr>
              <p:cNvGrpSpPr>
                <a:grpSpLocks/>
              </p:cNvGrpSpPr>
              <p:nvPr/>
            </p:nvGrpSpPr>
            <p:grpSpPr>
              <a:xfrm rot="10800000">
                <a:off x="9103999" y="1248837"/>
                <a:ext cx="675199" cy="109574"/>
                <a:chOff x="9095334" y="1041893"/>
                <a:chExt cx="675199" cy="109574"/>
              </a:xfrm>
            </p:grpSpPr>
            <p:cxnSp>
              <p:nvCxnSpPr>
                <p:cNvPr id="65" name="Straight Connector 64">
                  <a:extLst>
                    <a:ext uri="{FF2B5EF4-FFF2-40B4-BE49-F238E27FC236}">
                      <a16:creationId xmlns:a16="http://schemas.microsoft.com/office/drawing/2014/main" id="{81289115-D8E3-2A29-4181-7E4A91E18C01}"/>
                    </a:ext>
                  </a:extLst>
                </p:cNvPr>
                <p:cNvCxnSpPr>
                  <a:cxnSpLocks/>
                </p:cNvCxnSpPr>
                <p:nvPr/>
              </p:nvCxnSpPr>
              <p:spPr>
                <a:xfrm>
                  <a:off x="9095334" y="1151467"/>
                  <a:ext cx="675199" cy="0"/>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335B494-5269-576A-33F3-4F17D678A386}"/>
                    </a:ext>
                  </a:extLst>
                </p:cNvPr>
                <p:cNvCxnSpPr>
                  <a:cxnSpLocks/>
                </p:cNvCxnSpPr>
                <p:nvPr/>
              </p:nvCxnSpPr>
              <p:spPr>
                <a:xfrm flipH="1" flipV="1">
                  <a:off x="9575321" y="1041893"/>
                  <a:ext cx="195212" cy="109573"/>
                </a:xfrm>
                <a:prstGeom prst="line">
                  <a:avLst/>
                </a:prstGeom>
                <a:ln w="22225"/>
              </p:spPr>
              <p:style>
                <a:lnRef idx="1">
                  <a:schemeClr val="accent1"/>
                </a:lnRef>
                <a:fillRef idx="0">
                  <a:schemeClr val="accent1"/>
                </a:fillRef>
                <a:effectRef idx="0">
                  <a:schemeClr val="accent1"/>
                </a:effectRef>
                <a:fontRef idx="minor">
                  <a:schemeClr val="tx1"/>
                </a:fontRef>
              </p:style>
            </p:cxnSp>
          </p:grpSp>
        </p:grpSp>
        <p:grpSp>
          <p:nvGrpSpPr>
            <p:cNvPr id="35" name="Group 34">
              <a:extLst>
                <a:ext uri="{FF2B5EF4-FFF2-40B4-BE49-F238E27FC236}">
                  <a16:creationId xmlns:a16="http://schemas.microsoft.com/office/drawing/2014/main" id="{52ACD734-5A1E-63D1-C986-EF7B4DF62079}"/>
                </a:ext>
              </a:extLst>
            </p:cNvPr>
            <p:cNvGrpSpPr>
              <a:grpSpLocks/>
            </p:cNvGrpSpPr>
            <p:nvPr/>
          </p:nvGrpSpPr>
          <p:grpSpPr>
            <a:xfrm rot="1860362">
              <a:off x="7043365" y="3516168"/>
              <a:ext cx="490562" cy="197399"/>
              <a:chOff x="9095334" y="1041893"/>
              <a:chExt cx="683864" cy="316518"/>
            </a:xfrm>
          </p:grpSpPr>
          <p:grpSp>
            <p:nvGrpSpPr>
              <p:cNvPr id="51" name="Group 50">
                <a:extLst>
                  <a:ext uri="{FF2B5EF4-FFF2-40B4-BE49-F238E27FC236}">
                    <a16:creationId xmlns:a16="http://schemas.microsoft.com/office/drawing/2014/main" id="{BFECE06F-9990-6664-82AC-359FCBE425D8}"/>
                  </a:ext>
                </a:extLst>
              </p:cNvPr>
              <p:cNvGrpSpPr>
                <a:grpSpLocks/>
              </p:cNvGrpSpPr>
              <p:nvPr/>
            </p:nvGrpSpPr>
            <p:grpSpPr>
              <a:xfrm>
                <a:off x="9095334" y="1041893"/>
                <a:ext cx="675199" cy="109574"/>
                <a:chOff x="9095334" y="1041893"/>
                <a:chExt cx="675199" cy="109574"/>
              </a:xfrm>
            </p:grpSpPr>
            <p:cxnSp>
              <p:nvCxnSpPr>
                <p:cNvPr id="55" name="Straight Connector 54">
                  <a:extLst>
                    <a:ext uri="{FF2B5EF4-FFF2-40B4-BE49-F238E27FC236}">
                      <a16:creationId xmlns:a16="http://schemas.microsoft.com/office/drawing/2014/main" id="{6CF959A4-5EE0-E96A-56A6-5E9ED7BDAAEF}"/>
                    </a:ext>
                  </a:extLst>
                </p:cNvPr>
                <p:cNvCxnSpPr>
                  <a:cxnSpLocks/>
                </p:cNvCxnSpPr>
                <p:nvPr/>
              </p:nvCxnSpPr>
              <p:spPr>
                <a:xfrm>
                  <a:off x="9095334" y="1151467"/>
                  <a:ext cx="675199" cy="0"/>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38760F4-673E-39B8-4171-5D30D28F2ABA}"/>
                    </a:ext>
                  </a:extLst>
                </p:cNvPr>
                <p:cNvCxnSpPr>
                  <a:cxnSpLocks/>
                </p:cNvCxnSpPr>
                <p:nvPr/>
              </p:nvCxnSpPr>
              <p:spPr>
                <a:xfrm flipH="1" flipV="1">
                  <a:off x="9575321" y="1041893"/>
                  <a:ext cx="195212" cy="109573"/>
                </a:xfrm>
                <a:prstGeom prst="line">
                  <a:avLst/>
                </a:prstGeom>
                <a:ln w="22225"/>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FBFEE77B-CA2A-DB9B-739A-DCCBACBEECFE}"/>
                  </a:ext>
                </a:extLst>
              </p:cNvPr>
              <p:cNvGrpSpPr>
                <a:grpSpLocks/>
              </p:cNvGrpSpPr>
              <p:nvPr/>
            </p:nvGrpSpPr>
            <p:grpSpPr>
              <a:xfrm rot="10800000">
                <a:off x="9103999" y="1248837"/>
                <a:ext cx="675199" cy="109574"/>
                <a:chOff x="9095334" y="1041893"/>
                <a:chExt cx="675199" cy="109574"/>
              </a:xfrm>
            </p:grpSpPr>
            <p:cxnSp>
              <p:nvCxnSpPr>
                <p:cNvPr id="53" name="Straight Connector 52">
                  <a:extLst>
                    <a:ext uri="{FF2B5EF4-FFF2-40B4-BE49-F238E27FC236}">
                      <a16:creationId xmlns:a16="http://schemas.microsoft.com/office/drawing/2014/main" id="{7DE3C3B8-DCD7-FB43-8ED8-68121018B7EF}"/>
                    </a:ext>
                  </a:extLst>
                </p:cNvPr>
                <p:cNvCxnSpPr>
                  <a:cxnSpLocks/>
                </p:cNvCxnSpPr>
                <p:nvPr/>
              </p:nvCxnSpPr>
              <p:spPr>
                <a:xfrm>
                  <a:off x="9095334" y="1151467"/>
                  <a:ext cx="675199" cy="0"/>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046F7CE0-2703-14FA-EECC-0682DA3E0472}"/>
                    </a:ext>
                  </a:extLst>
                </p:cNvPr>
                <p:cNvCxnSpPr>
                  <a:cxnSpLocks/>
                </p:cNvCxnSpPr>
                <p:nvPr/>
              </p:nvCxnSpPr>
              <p:spPr>
                <a:xfrm flipH="1" flipV="1">
                  <a:off x="9575321" y="1041893"/>
                  <a:ext cx="195212" cy="109573"/>
                </a:xfrm>
                <a:prstGeom prst="line">
                  <a:avLst/>
                </a:prstGeom>
                <a:ln w="22225"/>
              </p:spPr>
              <p:style>
                <a:lnRef idx="1">
                  <a:schemeClr val="accent1"/>
                </a:lnRef>
                <a:fillRef idx="0">
                  <a:schemeClr val="accent1"/>
                </a:fillRef>
                <a:effectRef idx="0">
                  <a:schemeClr val="accent1"/>
                </a:effectRef>
                <a:fontRef idx="minor">
                  <a:schemeClr val="tx1"/>
                </a:fontRef>
              </p:style>
            </p:cxnSp>
          </p:grpSp>
        </p:grpSp>
        <p:grpSp>
          <p:nvGrpSpPr>
            <p:cNvPr id="36" name="Group 35">
              <a:extLst>
                <a:ext uri="{FF2B5EF4-FFF2-40B4-BE49-F238E27FC236}">
                  <a16:creationId xmlns:a16="http://schemas.microsoft.com/office/drawing/2014/main" id="{647F83BF-51A8-CEC1-E188-0160EC892800}"/>
                </a:ext>
              </a:extLst>
            </p:cNvPr>
            <p:cNvGrpSpPr>
              <a:grpSpLocks/>
            </p:cNvGrpSpPr>
            <p:nvPr/>
          </p:nvGrpSpPr>
          <p:grpSpPr>
            <a:xfrm rot="18857258">
              <a:off x="6747900" y="1685063"/>
              <a:ext cx="490562" cy="197399"/>
              <a:chOff x="9095334" y="1041893"/>
              <a:chExt cx="683864" cy="316518"/>
            </a:xfrm>
          </p:grpSpPr>
          <p:grpSp>
            <p:nvGrpSpPr>
              <p:cNvPr id="45" name="Group 44">
                <a:extLst>
                  <a:ext uri="{FF2B5EF4-FFF2-40B4-BE49-F238E27FC236}">
                    <a16:creationId xmlns:a16="http://schemas.microsoft.com/office/drawing/2014/main" id="{AFD30657-A734-F3FC-9854-93408CDF078D}"/>
                  </a:ext>
                </a:extLst>
              </p:cNvPr>
              <p:cNvGrpSpPr>
                <a:grpSpLocks/>
              </p:cNvGrpSpPr>
              <p:nvPr/>
            </p:nvGrpSpPr>
            <p:grpSpPr>
              <a:xfrm>
                <a:off x="9095334" y="1041893"/>
                <a:ext cx="675199" cy="109574"/>
                <a:chOff x="9095334" y="1041893"/>
                <a:chExt cx="675199" cy="109574"/>
              </a:xfrm>
            </p:grpSpPr>
            <p:cxnSp>
              <p:nvCxnSpPr>
                <p:cNvPr id="49" name="Straight Connector 48">
                  <a:extLst>
                    <a:ext uri="{FF2B5EF4-FFF2-40B4-BE49-F238E27FC236}">
                      <a16:creationId xmlns:a16="http://schemas.microsoft.com/office/drawing/2014/main" id="{A9F6DA41-35A6-D66A-968A-C2B5D4C24053}"/>
                    </a:ext>
                  </a:extLst>
                </p:cNvPr>
                <p:cNvCxnSpPr>
                  <a:cxnSpLocks/>
                </p:cNvCxnSpPr>
                <p:nvPr/>
              </p:nvCxnSpPr>
              <p:spPr>
                <a:xfrm>
                  <a:off x="9095334" y="1151467"/>
                  <a:ext cx="675199" cy="0"/>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3878BD0-9875-86D4-F854-7C5C7617D505}"/>
                    </a:ext>
                  </a:extLst>
                </p:cNvPr>
                <p:cNvCxnSpPr>
                  <a:cxnSpLocks/>
                </p:cNvCxnSpPr>
                <p:nvPr/>
              </p:nvCxnSpPr>
              <p:spPr>
                <a:xfrm flipH="1" flipV="1">
                  <a:off x="9575321" y="1041893"/>
                  <a:ext cx="195212" cy="109573"/>
                </a:xfrm>
                <a:prstGeom prst="line">
                  <a:avLst/>
                </a:prstGeom>
                <a:ln w="22225"/>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A79380FF-4989-A453-3939-7B7F73AC5E8C}"/>
                  </a:ext>
                </a:extLst>
              </p:cNvPr>
              <p:cNvGrpSpPr>
                <a:grpSpLocks/>
              </p:cNvGrpSpPr>
              <p:nvPr/>
            </p:nvGrpSpPr>
            <p:grpSpPr>
              <a:xfrm rot="10800000">
                <a:off x="9103999" y="1248837"/>
                <a:ext cx="675199" cy="109574"/>
                <a:chOff x="9095334" y="1041893"/>
                <a:chExt cx="675199" cy="109574"/>
              </a:xfrm>
            </p:grpSpPr>
            <p:cxnSp>
              <p:nvCxnSpPr>
                <p:cNvPr id="47" name="Straight Connector 46">
                  <a:extLst>
                    <a:ext uri="{FF2B5EF4-FFF2-40B4-BE49-F238E27FC236}">
                      <a16:creationId xmlns:a16="http://schemas.microsoft.com/office/drawing/2014/main" id="{6711943E-3AED-E09D-5B5E-5BB557AF0AEF}"/>
                    </a:ext>
                  </a:extLst>
                </p:cNvPr>
                <p:cNvCxnSpPr>
                  <a:cxnSpLocks/>
                </p:cNvCxnSpPr>
                <p:nvPr/>
              </p:nvCxnSpPr>
              <p:spPr>
                <a:xfrm>
                  <a:off x="9095334" y="1151467"/>
                  <a:ext cx="675199" cy="0"/>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BA21785-EC6A-C121-C99C-CE99B4AB84C9}"/>
                    </a:ext>
                  </a:extLst>
                </p:cNvPr>
                <p:cNvCxnSpPr>
                  <a:cxnSpLocks/>
                </p:cNvCxnSpPr>
                <p:nvPr/>
              </p:nvCxnSpPr>
              <p:spPr>
                <a:xfrm flipH="1" flipV="1">
                  <a:off x="9575321" y="1041893"/>
                  <a:ext cx="195212" cy="109573"/>
                </a:xfrm>
                <a:prstGeom prst="line">
                  <a:avLst/>
                </a:prstGeom>
                <a:ln w="22225"/>
              </p:spPr>
              <p:style>
                <a:lnRef idx="1">
                  <a:schemeClr val="accent1"/>
                </a:lnRef>
                <a:fillRef idx="0">
                  <a:schemeClr val="accent1"/>
                </a:fillRef>
                <a:effectRef idx="0">
                  <a:schemeClr val="accent1"/>
                </a:effectRef>
                <a:fontRef idx="minor">
                  <a:schemeClr val="tx1"/>
                </a:fontRef>
              </p:style>
            </p:cxnSp>
          </p:grpSp>
        </p:grpSp>
        <p:sp>
          <p:nvSpPr>
            <p:cNvPr id="38" name="TextBox 37">
              <a:extLst>
                <a:ext uri="{FF2B5EF4-FFF2-40B4-BE49-F238E27FC236}">
                  <a16:creationId xmlns:a16="http://schemas.microsoft.com/office/drawing/2014/main" id="{74EA7EDA-78AE-44CD-4F8E-764014E239E5}"/>
                </a:ext>
              </a:extLst>
            </p:cNvPr>
            <p:cNvSpPr txBox="1">
              <a:spLocks/>
            </p:cNvSpPr>
            <p:nvPr/>
          </p:nvSpPr>
          <p:spPr>
            <a:xfrm>
              <a:off x="4773087" y="1929429"/>
              <a:ext cx="2368780" cy="1754326"/>
            </a:xfrm>
            <a:prstGeom prst="rect">
              <a:avLst/>
            </a:prstGeom>
            <a:noFill/>
          </p:spPr>
          <p:txBody>
            <a:bodyPr wrap="square" rtlCol="0">
              <a:spAutoFit/>
            </a:bodyPr>
            <a:lstStyle/>
            <a:p>
              <a:pPr marR="0" lvl="0" algn="ctr" defTabSz="914400" rtl="0" eaLnBrk="1" fontAlgn="auto" latinLnBrk="0" hangingPunct="1">
                <a:lnSpc>
                  <a:spcPct val="100000"/>
                </a:lnSpc>
                <a:spcBef>
                  <a:spcPts val="0"/>
                </a:spcBef>
                <a:spcAft>
                  <a:spcPts val="1200"/>
                </a:spcAft>
                <a:buClr>
                  <a:srgbClr val="FFFFFF"/>
                </a:buClr>
                <a:buSzTx/>
                <a:tabLst/>
                <a:defRPr/>
              </a:pPr>
              <a:r>
                <a:rPr kumimoji="0" lang="en-US" sz="1800" b="1" i="0" u="none" strike="noStrike" kern="0" cap="none" spc="0" normalizeH="0" baseline="0" noProof="0">
                  <a:ln>
                    <a:noFill/>
                  </a:ln>
                  <a:solidFill>
                    <a:srgbClr val="FFFFFF"/>
                  </a:solidFill>
                  <a:effectLst/>
                  <a:uLnTx/>
                  <a:uFillTx/>
                  <a:latin typeface="Calibri" panose="020F0502020204030204"/>
                  <a:ea typeface="+mn-ea"/>
                  <a:cs typeface="+mn-cs"/>
                  <a:sym typeface="Arial"/>
                </a:rPr>
                <a:t>DPP</a:t>
              </a:r>
              <a:endParaRPr kumimoji="0" lang="en-US" sz="1600" b="1" i="0" u="none" strike="noStrike" kern="0" cap="none" spc="0" normalizeH="0" baseline="0" noProof="0">
                <a:ln>
                  <a:noFill/>
                </a:ln>
                <a:solidFill>
                  <a:srgbClr val="FFFFFF"/>
                </a:solidFill>
                <a:effectLst/>
                <a:uLnTx/>
                <a:uFillTx/>
                <a:latin typeface="Calibri" panose="020F0502020204030204"/>
                <a:ea typeface="+mn-ea"/>
                <a:cs typeface="+mn-cs"/>
                <a:sym typeface="Arial"/>
              </a:endParaRPr>
            </a:p>
            <a:p>
              <a:pPr marL="171450" marR="0" lvl="0" indent="-171450" algn="l" defTabSz="914400"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sz="1600" b="0" i="0" u="none" strike="noStrike" kern="0" cap="none" spc="0" normalizeH="0" baseline="0" noProof="0">
                  <a:ln>
                    <a:noFill/>
                  </a:ln>
                  <a:solidFill>
                    <a:srgbClr val="FFFFFF"/>
                  </a:solidFill>
                  <a:effectLst/>
                  <a:uLnTx/>
                  <a:uFillTx/>
                  <a:latin typeface="Calibri" panose="020F0502020204030204"/>
                  <a:ea typeface="+mn-ea"/>
                  <a:cs typeface="+mn-cs"/>
                  <a:sym typeface="Arial"/>
                </a:rPr>
                <a:t>Digital Twin</a:t>
              </a:r>
            </a:p>
            <a:p>
              <a:pPr marL="171450" marR="0" lvl="0" indent="-171450" algn="l" defTabSz="914400"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sz="1600" b="0" i="0" u="none" strike="noStrike" kern="0" cap="none" spc="0" normalizeH="0" baseline="0" noProof="0">
                  <a:ln>
                    <a:noFill/>
                  </a:ln>
                  <a:solidFill>
                    <a:srgbClr val="FFFFFF"/>
                  </a:solidFill>
                  <a:effectLst/>
                  <a:uLnTx/>
                  <a:uFillTx/>
                  <a:latin typeface="Calibri" panose="020F0502020204030204"/>
                  <a:ea typeface="+mn-ea"/>
                  <a:cs typeface="+mn-cs"/>
                  <a:sym typeface="Arial"/>
                </a:rPr>
                <a:t>Life Cycle Management</a:t>
              </a:r>
            </a:p>
            <a:p>
              <a:pPr marL="171450" marR="0" lvl="0" indent="-171450" algn="l" defTabSz="914400"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sz="1600" b="0" i="0" u="none" strike="noStrike" kern="0" cap="none" spc="0" normalizeH="0" baseline="0" noProof="0">
                  <a:ln>
                    <a:noFill/>
                  </a:ln>
                  <a:solidFill>
                    <a:srgbClr val="FFFFFF"/>
                  </a:solidFill>
                  <a:effectLst/>
                  <a:uLnTx/>
                  <a:uFillTx/>
                  <a:latin typeface="Calibri" panose="020F0502020204030204"/>
                  <a:ea typeface="+mn-ea"/>
                  <a:cs typeface="+mn-cs"/>
                  <a:sym typeface="Arial"/>
                </a:rPr>
                <a:t>Substances of Concern</a:t>
              </a:r>
            </a:p>
            <a:p>
              <a:pPr marL="171450" indent="-171450">
                <a:buClr>
                  <a:srgbClr val="FFFFFF"/>
                </a:buClr>
                <a:buFont typeface="Arial" panose="020B0604020202020204" pitchFamily="34" charset="0"/>
                <a:buChar char="•"/>
                <a:defRPr/>
              </a:pPr>
              <a:r>
                <a:rPr kumimoji="0" lang="en-US" sz="1600" b="0" i="0" u="none" strike="noStrike" kern="0" cap="none" spc="0" normalizeH="0" baseline="0" noProof="0">
                  <a:ln>
                    <a:noFill/>
                  </a:ln>
                  <a:solidFill>
                    <a:srgbClr val="FFFFFF"/>
                  </a:solidFill>
                  <a:effectLst/>
                  <a:uLnTx/>
                  <a:uFillTx/>
                  <a:latin typeface="Calibri" panose="020F0502020204030204"/>
                  <a:ea typeface="+mn-ea"/>
                  <a:cs typeface="+mn-cs"/>
                  <a:sym typeface="Arial"/>
                </a:rPr>
                <a:t>Sustainablity &amp;       Circularity</a:t>
              </a:r>
            </a:p>
          </p:txBody>
        </p:sp>
        <p:grpSp>
          <p:nvGrpSpPr>
            <p:cNvPr id="83" name="Group 82">
              <a:extLst>
                <a:ext uri="{FF2B5EF4-FFF2-40B4-BE49-F238E27FC236}">
                  <a16:creationId xmlns:a16="http://schemas.microsoft.com/office/drawing/2014/main" id="{971C9DBF-0DDA-1CDB-8D2E-C280D34B7C7D}"/>
                </a:ext>
              </a:extLst>
            </p:cNvPr>
            <p:cNvGrpSpPr/>
            <p:nvPr/>
          </p:nvGrpSpPr>
          <p:grpSpPr>
            <a:xfrm>
              <a:off x="4748425" y="1700145"/>
              <a:ext cx="2368780" cy="2340000"/>
              <a:chOff x="4911797" y="1862400"/>
              <a:chExt cx="2368780" cy="2340000"/>
            </a:xfrm>
          </p:grpSpPr>
          <p:sp>
            <p:nvSpPr>
              <p:cNvPr id="81" name="Oval 80">
                <a:extLst>
                  <a:ext uri="{FF2B5EF4-FFF2-40B4-BE49-F238E27FC236}">
                    <a16:creationId xmlns:a16="http://schemas.microsoft.com/office/drawing/2014/main" id="{C32304B3-9C84-3DA3-D12D-C5AB3DBE8CD0}"/>
                  </a:ext>
                </a:extLst>
              </p:cNvPr>
              <p:cNvSpPr>
                <a:spLocks/>
              </p:cNvSpPr>
              <p:nvPr/>
            </p:nvSpPr>
            <p:spPr>
              <a:xfrm>
                <a:off x="4923792" y="1862400"/>
                <a:ext cx="2340000" cy="2340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b"/>
              <a:lstStyle/>
              <a:p>
                <a:pPr>
                  <a:buClr>
                    <a:schemeClr val="bg1"/>
                  </a:buClr>
                </a:pPr>
                <a:endParaRPr lang="en-US"/>
              </a:p>
            </p:txBody>
          </p:sp>
          <p:sp>
            <p:nvSpPr>
              <p:cNvPr id="82" name="TextBox 81">
                <a:extLst>
                  <a:ext uri="{FF2B5EF4-FFF2-40B4-BE49-F238E27FC236}">
                    <a16:creationId xmlns:a16="http://schemas.microsoft.com/office/drawing/2014/main" id="{F028B4D7-1834-6D7F-8264-1182A631FA23}"/>
                  </a:ext>
                </a:extLst>
              </p:cNvPr>
              <p:cNvSpPr txBox="1">
                <a:spLocks/>
              </p:cNvSpPr>
              <p:nvPr/>
            </p:nvSpPr>
            <p:spPr>
              <a:xfrm>
                <a:off x="4911797" y="2081829"/>
                <a:ext cx="2368780" cy="1769715"/>
              </a:xfrm>
              <a:prstGeom prst="rect">
                <a:avLst/>
              </a:prstGeom>
              <a:noFill/>
            </p:spPr>
            <p:txBody>
              <a:bodyPr wrap="square" rtlCol="0">
                <a:spAutoFit/>
              </a:bodyPr>
              <a:lstStyle/>
              <a:p>
                <a:pPr marR="0" lvl="0" algn="ctr" defTabSz="914400" rtl="0" eaLnBrk="1" fontAlgn="auto" latinLnBrk="0" hangingPunct="1">
                  <a:lnSpc>
                    <a:spcPct val="100000"/>
                  </a:lnSpc>
                  <a:spcBef>
                    <a:spcPts val="0"/>
                  </a:spcBef>
                  <a:spcAft>
                    <a:spcPts val="1200"/>
                  </a:spcAft>
                  <a:buClr>
                    <a:srgbClr val="FFFFFF"/>
                  </a:buClr>
                  <a:buSzTx/>
                  <a:tabLst/>
                  <a:defRPr/>
                </a:pPr>
                <a:r>
                  <a:rPr kumimoji="0" lang="en-US" sz="2400" b="1" i="0" u="none" strike="noStrike" kern="0" cap="none" spc="0" normalizeH="0" baseline="0" noProof="0">
                    <a:ln>
                      <a:noFill/>
                    </a:ln>
                    <a:solidFill>
                      <a:srgbClr val="FFFFFF"/>
                    </a:solidFill>
                    <a:effectLst/>
                    <a:uLnTx/>
                    <a:uFillTx/>
                    <a:latin typeface="Calibri" panose="020F0502020204030204"/>
                    <a:ea typeface="+mn-ea"/>
                    <a:cs typeface="+mn-cs"/>
                    <a:sym typeface="Arial"/>
                  </a:rPr>
                  <a:t>DPP</a:t>
                </a:r>
                <a:endParaRPr kumimoji="0" lang="en-US" sz="1600" b="1" i="0" u="none" strike="noStrike" kern="0" cap="none" spc="0" normalizeH="0" baseline="0" noProof="0">
                  <a:ln>
                    <a:noFill/>
                  </a:ln>
                  <a:solidFill>
                    <a:srgbClr val="FFFFFF"/>
                  </a:solidFill>
                  <a:effectLst/>
                  <a:uLnTx/>
                  <a:uFillTx/>
                  <a:latin typeface="Calibri" panose="020F0502020204030204"/>
                  <a:ea typeface="+mn-ea"/>
                  <a:cs typeface="+mn-cs"/>
                  <a:sym typeface="Arial"/>
                </a:endParaRPr>
              </a:p>
              <a:p>
                <a:pPr marL="285750" marR="0" lvl="0" indent="-285750" algn="l" defTabSz="914400" rtl="0" eaLnBrk="1" fontAlgn="auto" latinLnBrk="0" hangingPunct="1">
                  <a:lnSpc>
                    <a:spcPct val="100000"/>
                  </a:lnSpc>
                  <a:spcBef>
                    <a:spcPts val="0"/>
                  </a:spcBef>
                  <a:spcAft>
                    <a:spcPts val="0"/>
                  </a:spcAft>
                  <a:buClr>
                    <a:srgbClr val="FFFFFF"/>
                  </a:buClr>
                  <a:buSzTx/>
                  <a:buFont typeface="Wingdings" pitchFamily="2" charset="2"/>
                  <a:buChar char="§"/>
                  <a:tabLst/>
                  <a:defRPr/>
                </a:pPr>
                <a:r>
                  <a:rPr kumimoji="0" lang="en-US" sz="1500" b="0" i="0" u="none" strike="noStrike" kern="0" cap="none" spc="0" normalizeH="0" baseline="0" noProof="0">
                    <a:ln>
                      <a:noFill/>
                    </a:ln>
                    <a:solidFill>
                      <a:srgbClr val="FFFFFF"/>
                    </a:solidFill>
                    <a:effectLst/>
                    <a:uLnTx/>
                    <a:uFillTx/>
                    <a:latin typeface="Calibri" panose="020F0502020204030204"/>
                    <a:ea typeface="+mn-ea"/>
                    <a:cs typeface="+mn-cs"/>
                    <a:sym typeface="Arial"/>
                  </a:rPr>
                  <a:t>Digital Twin</a:t>
                </a:r>
              </a:p>
              <a:p>
                <a:pPr marL="285750" marR="0" lvl="0" indent="-285750" algn="l" defTabSz="914400" rtl="0" eaLnBrk="1" fontAlgn="auto" latinLnBrk="0" hangingPunct="1">
                  <a:lnSpc>
                    <a:spcPct val="100000"/>
                  </a:lnSpc>
                  <a:spcBef>
                    <a:spcPts val="0"/>
                  </a:spcBef>
                  <a:spcAft>
                    <a:spcPts val="0"/>
                  </a:spcAft>
                  <a:buClr>
                    <a:srgbClr val="FFFFFF"/>
                  </a:buClr>
                  <a:buSzTx/>
                  <a:buFont typeface="Wingdings" pitchFamily="2" charset="2"/>
                  <a:buChar char="§"/>
                  <a:tabLst/>
                  <a:defRPr/>
                </a:pPr>
                <a:r>
                  <a:rPr kumimoji="0" lang="en-US" sz="1500" b="0" i="0" u="none" strike="noStrike" kern="0" cap="none" spc="0" normalizeH="0" baseline="0" noProof="0">
                    <a:ln>
                      <a:noFill/>
                    </a:ln>
                    <a:solidFill>
                      <a:srgbClr val="FFFFFF"/>
                    </a:solidFill>
                    <a:effectLst/>
                    <a:uLnTx/>
                    <a:uFillTx/>
                    <a:latin typeface="Calibri" panose="020F0502020204030204"/>
                    <a:ea typeface="+mn-ea"/>
                    <a:cs typeface="+mn-cs"/>
                    <a:sym typeface="Arial"/>
                  </a:rPr>
                  <a:t>Life Cycle Management</a:t>
                </a:r>
              </a:p>
              <a:p>
                <a:pPr marL="285750" marR="0" lvl="0" indent="-285750" algn="l" defTabSz="914400" rtl="0" eaLnBrk="1" fontAlgn="auto" latinLnBrk="0" hangingPunct="1">
                  <a:lnSpc>
                    <a:spcPct val="100000"/>
                  </a:lnSpc>
                  <a:spcBef>
                    <a:spcPts val="0"/>
                  </a:spcBef>
                  <a:spcAft>
                    <a:spcPts val="0"/>
                  </a:spcAft>
                  <a:buClr>
                    <a:srgbClr val="FFFFFF"/>
                  </a:buClr>
                  <a:buSzTx/>
                  <a:buFont typeface="Wingdings" pitchFamily="2" charset="2"/>
                  <a:buChar char="§"/>
                  <a:tabLst/>
                  <a:defRPr/>
                </a:pPr>
                <a:r>
                  <a:rPr kumimoji="0" lang="en-US" sz="1500" b="0" i="0" u="none" strike="noStrike" kern="0" cap="none" spc="0" normalizeH="0" baseline="0" noProof="0">
                    <a:ln>
                      <a:noFill/>
                    </a:ln>
                    <a:solidFill>
                      <a:srgbClr val="FFFFFF"/>
                    </a:solidFill>
                    <a:effectLst/>
                    <a:uLnTx/>
                    <a:uFillTx/>
                    <a:latin typeface="Calibri" panose="020F0502020204030204"/>
                    <a:ea typeface="+mn-ea"/>
                    <a:cs typeface="+mn-cs"/>
                    <a:sym typeface="Arial"/>
                  </a:rPr>
                  <a:t>Substances of Concern</a:t>
                </a:r>
              </a:p>
              <a:p>
                <a:pPr marL="285750" indent="-285750">
                  <a:buClr>
                    <a:srgbClr val="FFFFFF"/>
                  </a:buClr>
                  <a:buFont typeface="Wingdings" pitchFamily="2" charset="2"/>
                  <a:buChar char="§"/>
                  <a:defRPr/>
                </a:pPr>
                <a:r>
                  <a:rPr kumimoji="0" lang="en-US" sz="1500" b="0" i="0" u="none" strike="noStrike" kern="0" cap="none" spc="0" normalizeH="0" baseline="0" noProof="0">
                    <a:ln>
                      <a:noFill/>
                    </a:ln>
                    <a:solidFill>
                      <a:srgbClr val="FFFFFF"/>
                    </a:solidFill>
                    <a:effectLst/>
                    <a:uLnTx/>
                    <a:uFillTx/>
                    <a:latin typeface="Calibri" panose="020F0502020204030204"/>
                    <a:ea typeface="+mn-ea"/>
                    <a:cs typeface="+mn-cs"/>
                    <a:sym typeface="Arial"/>
                  </a:rPr>
                  <a:t>Sustainability &amp;       Circularity</a:t>
                </a:r>
              </a:p>
            </p:txBody>
          </p:sp>
        </p:grpSp>
        <p:sp>
          <p:nvSpPr>
            <p:cNvPr id="87" name="TextBox 86">
              <a:extLst>
                <a:ext uri="{FF2B5EF4-FFF2-40B4-BE49-F238E27FC236}">
                  <a16:creationId xmlns:a16="http://schemas.microsoft.com/office/drawing/2014/main" id="{37D05F9D-F73F-8F4A-34F6-FD61E86DE5DA}"/>
                </a:ext>
              </a:extLst>
            </p:cNvPr>
            <p:cNvSpPr txBox="1">
              <a:spLocks/>
            </p:cNvSpPr>
            <p:nvPr/>
          </p:nvSpPr>
          <p:spPr>
            <a:xfrm>
              <a:off x="857347" y="1610640"/>
              <a:ext cx="824072" cy="369332"/>
            </a:xfrm>
            <a:prstGeom prst="rect">
              <a:avLst/>
            </a:prstGeom>
            <a:noFill/>
          </p:spPr>
          <p:txBody>
            <a:bodyPr wrap="none" rtlCol="0">
              <a:spAutoFit/>
            </a:bodyPr>
            <a:lstStyle/>
            <a:p>
              <a:pPr marL="0" indent="0" algn="l">
                <a:buClr>
                  <a:schemeClr val="bg2"/>
                </a:buClr>
                <a:buSzPct val="80000"/>
                <a:buFont typeface="Arial" panose="020B0604020202020204" pitchFamily="34" charset="0"/>
                <a:buNone/>
              </a:pPr>
              <a:r>
                <a:rPr lang="en-US" sz="1800">
                  <a:solidFill>
                    <a:schemeClr val="bg1"/>
                  </a:solidFill>
                  <a:latin typeface="Calibri" panose="020F0502020204030204" pitchFamily="34" charset="0"/>
                  <a:cs typeface="Calibri" panose="020F0502020204030204" pitchFamily="34" charset="0"/>
                  <a:sym typeface="Calibri" panose="020F0502020204030204" pitchFamily="34" charset="0"/>
                </a:rPr>
                <a:t>Source</a:t>
              </a:r>
              <a:endParaRPr lang="en-US" sz="1800" b="0" i="0" u="none" strike="noStrike" cap="none">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88" name="Isosceles Triangle 28">
              <a:extLst>
                <a:ext uri="{FF2B5EF4-FFF2-40B4-BE49-F238E27FC236}">
                  <a16:creationId xmlns:a16="http://schemas.microsoft.com/office/drawing/2014/main" id="{F48590E4-6839-8186-8C17-DB25ACBC234B}"/>
                </a:ext>
              </a:extLst>
            </p:cNvPr>
            <p:cNvSpPr>
              <a:spLocks/>
            </p:cNvSpPr>
            <p:nvPr/>
          </p:nvSpPr>
          <p:spPr>
            <a:xfrm rot="5400000">
              <a:off x="1883816" y="1716724"/>
              <a:ext cx="360000" cy="18000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0A17692F-4BA8-D05E-A8F8-E20BC389D4C1}"/>
                </a:ext>
              </a:extLst>
            </p:cNvPr>
            <p:cNvSpPr>
              <a:spLocks/>
            </p:cNvSpPr>
            <p:nvPr/>
          </p:nvSpPr>
          <p:spPr>
            <a:xfrm rot="11700000">
              <a:off x="3777082" y="720000"/>
              <a:ext cx="4320000" cy="4320000"/>
            </a:xfrm>
            <a:prstGeom prst="rect">
              <a:avLst/>
            </a:prstGeom>
            <a:noFill/>
          </p:spPr>
          <p:txBody>
            <a:bodyPr wrap="none" lIns="90000" tIns="45720" rIns="91440" bIns="45720">
              <a:prstTxWarp prst="textArchUp">
                <a:avLst>
                  <a:gd name="adj" fmla="val 9490184"/>
                </a:avLst>
              </a:prstTxWarp>
              <a:spAutoFit/>
            </a:bodyPr>
            <a:lstStyle/>
            <a:p>
              <a:pPr algn="ctr"/>
              <a:r>
                <a:rPr lang="en-GB" sz="1800" b="0" cap="none" spc="0">
                  <a:ln w="0">
                    <a:noFill/>
                  </a:ln>
                  <a:solidFill>
                    <a:srgbClr val="FFFFFF"/>
                  </a:solidFill>
                  <a:latin typeface="Calibri" panose="020F0502020204030204" pitchFamily="34" charset="0"/>
                  <a:cs typeface="Calibri" panose="020F0502020204030204" pitchFamily="34" charset="0"/>
                </a:rPr>
                <a:t>Collect &amp; Dismantle</a:t>
              </a:r>
            </a:p>
          </p:txBody>
        </p:sp>
        <p:sp>
          <p:nvSpPr>
            <p:cNvPr id="17" name="Rectangle 16">
              <a:extLst>
                <a:ext uri="{FF2B5EF4-FFF2-40B4-BE49-F238E27FC236}">
                  <a16:creationId xmlns:a16="http://schemas.microsoft.com/office/drawing/2014/main" id="{7E9D8D43-F888-DB4F-E388-BB1E0A4F5523}"/>
                </a:ext>
              </a:extLst>
            </p:cNvPr>
            <p:cNvSpPr>
              <a:spLocks/>
            </p:cNvSpPr>
            <p:nvPr/>
          </p:nvSpPr>
          <p:spPr>
            <a:xfrm rot="19800000">
              <a:off x="3777082" y="720000"/>
              <a:ext cx="4320000" cy="4320000"/>
            </a:xfrm>
            <a:prstGeom prst="rect">
              <a:avLst/>
            </a:prstGeom>
            <a:noFill/>
          </p:spPr>
          <p:txBody>
            <a:bodyPr wrap="none" lIns="90000" tIns="45720" rIns="91440" bIns="45720">
              <a:prstTxWarp prst="textArchUp">
                <a:avLst>
                  <a:gd name="adj" fmla="val 9490184"/>
                </a:avLst>
              </a:prstTxWarp>
              <a:spAutoFit/>
            </a:bodyPr>
            <a:lstStyle/>
            <a:p>
              <a:pPr algn="ctr"/>
              <a:r>
                <a:rPr lang="en-GB" sz="1800" b="0" cap="none" spc="0">
                  <a:ln w="0">
                    <a:noFill/>
                  </a:ln>
                  <a:solidFill>
                    <a:srgbClr val="FFFFFF"/>
                  </a:solidFill>
                  <a:latin typeface="Calibri" panose="020F0502020204030204" pitchFamily="34" charset="0"/>
                  <a:cs typeface="Calibri" panose="020F0502020204030204" pitchFamily="34" charset="0"/>
                </a:rPr>
                <a:t>Manufacture</a:t>
              </a:r>
              <a:endParaRPr lang="en-GB" sz="1600" b="0" cap="none" spc="0">
                <a:ln w="0">
                  <a:noFill/>
                </a:ln>
                <a:solidFill>
                  <a:srgbClr val="FFFFFF"/>
                </a:solidFill>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10905528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57A59E-101C-65CE-B50F-8FFD0C225341}"/>
            </a:ext>
          </a:extLst>
        </p:cNvPr>
        <p:cNvGrpSpPr/>
        <p:nvPr/>
      </p:nvGrpSpPr>
      <p:grpSpPr>
        <a:xfrm>
          <a:off x="0" y="0"/>
          <a:ext cx="0" cy="0"/>
          <a:chOff x="0" y="0"/>
          <a:chExt cx="0" cy="0"/>
        </a:xfrm>
      </p:grpSpPr>
      <p:cxnSp>
        <p:nvCxnSpPr>
          <p:cNvPr id="71" name="Straight Arrow Connector 70">
            <a:extLst>
              <a:ext uri="{FF2B5EF4-FFF2-40B4-BE49-F238E27FC236}">
                <a16:creationId xmlns:a16="http://schemas.microsoft.com/office/drawing/2014/main" id="{3B6A7497-2E1E-61C4-E00A-2A4225955D4D}"/>
              </a:ext>
            </a:extLst>
          </p:cNvPr>
          <p:cNvCxnSpPr>
            <a:cxnSpLocks/>
          </p:cNvCxnSpPr>
          <p:nvPr/>
        </p:nvCxnSpPr>
        <p:spPr>
          <a:xfrm flipV="1">
            <a:off x="360137" y="3265438"/>
            <a:ext cx="11471725" cy="43926"/>
          </a:xfrm>
          <a:prstGeom prst="straightConnector1">
            <a:avLst/>
          </a:prstGeom>
          <a:ln w="22225">
            <a:tailEnd type="triangle" w="lg" len="lg"/>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E5958413-E74D-125C-54D4-DE2BD2964E8C}"/>
              </a:ext>
            </a:extLst>
          </p:cNvPr>
          <p:cNvSpPr>
            <a:spLocks noGrp="1"/>
          </p:cNvSpPr>
          <p:nvPr>
            <p:ph type="title"/>
          </p:nvPr>
        </p:nvSpPr>
        <p:spPr/>
        <p:txBody>
          <a:bodyPr/>
          <a:lstStyle/>
          <a:p>
            <a:r>
              <a:rPr lang="en-US"/>
              <a:t>Timeline</a:t>
            </a:r>
          </a:p>
        </p:txBody>
      </p:sp>
      <p:sp>
        <p:nvSpPr>
          <p:cNvPr id="3" name="Date Placeholder 2">
            <a:extLst>
              <a:ext uri="{FF2B5EF4-FFF2-40B4-BE49-F238E27FC236}">
                <a16:creationId xmlns:a16="http://schemas.microsoft.com/office/drawing/2014/main" id="{C15647E6-AD43-95F1-72F3-12FF8D30E52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2E752000-55A0-4553-BBD4-CFFEEB173D51}"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4" name="Slide Number Placeholder 3">
            <a:extLst>
              <a:ext uri="{FF2B5EF4-FFF2-40B4-BE49-F238E27FC236}">
                <a16:creationId xmlns:a16="http://schemas.microsoft.com/office/drawing/2014/main" id="{45ADED63-A121-D2DA-9B17-EB1D9038F44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31</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
        <p:nvSpPr>
          <p:cNvPr id="6" name="TextBox 5">
            <a:extLst>
              <a:ext uri="{FF2B5EF4-FFF2-40B4-BE49-F238E27FC236}">
                <a16:creationId xmlns:a16="http://schemas.microsoft.com/office/drawing/2014/main" id="{AAA22C1A-F2F3-2537-AF88-BB31AEDA561B}"/>
              </a:ext>
            </a:extLst>
          </p:cNvPr>
          <p:cNvSpPr txBox="1"/>
          <p:nvPr/>
        </p:nvSpPr>
        <p:spPr>
          <a:xfrm>
            <a:off x="282188" y="3889106"/>
            <a:ext cx="1487587" cy="584775"/>
          </a:xfrm>
          <a:prstGeom prst="rect">
            <a:avLst/>
          </a:prstGeom>
          <a:noFill/>
        </p:spPr>
        <p:txBody>
          <a:bodyPr wrap="none" lIns="0" tIns="0" rIns="0" bIns="0" rtlCol="0" anchor="t">
            <a:spAutoFit/>
          </a:bodyPr>
          <a:lstStyle/>
          <a:p>
            <a:pPr algn="ctr"/>
            <a:r>
              <a:rPr lang="en-US" sz="2000" b="1">
                <a:solidFill>
                  <a:schemeClr val="accent1"/>
                </a:solidFill>
              </a:rPr>
              <a:t>Mar '22</a:t>
            </a:r>
          </a:p>
          <a:p>
            <a:pPr algn="ctr"/>
            <a:r>
              <a:rPr lang="en-US">
                <a:solidFill>
                  <a:schemeClr val="tx1">
                    <a:lumMod val="75000"/>
                    <a:lumOff val="25000"/>
                  </a:schemeClr>
                </a:solidFill>
              </a:rPr>
              <a:t>COM proposal</a:t>
            </a:r>
          </a:p>
        </p:txBody>
      </p:sp>
      <p:sp>
        <p:nvSpPr>
          <p:cNvPr id="7" name="TextBox 6">
            <a:extLst>
              <a:ext uri="{FF2B5EF4-FFF2-40B4-BE49-F238E27FC236}">
                <a16:creationId xmlns:a16="http://schemas.microsoft.com/office/drawing/2014/main" id="{3E7D48D0-3167-A016-49D7-7B8E9B1394F5}"/>
              </a:ext>
            </a:extLst>
          </p:cNvPr>
          <p:cNvSpPr txBox="1"/>
          <p:nvPr/>
        </p:nvSpPr>
        <p:spPr>
          <a:xfrm>
            <a:off x="1690788" y="1762314"/>
            <a:ext cx="1256754" cy="861774"/>
          </a:xfrm>
          <a:prstGeom prst="rect">
            <a:avLst/>
          </a:prstGeom>
          <a:noFill/>
        </p:spPr>
        <p:txBody>
          <a:bodyPr wrap="none" lIns="0" tIns="0" rIns="0" bIns="0" rtlCol="0" anchor="t">
            <a:spAutoFit/>
          </a:bodyPr>
          <a:lstStyle/>
          <a:p>
            <a:pPr algn="ctr"/>
            <a:r>
              <a:rPr lang="en-US" sz="2000" b="1">
                <a:solidFill>
                  <a:schemeClr val="accent1"/>
                </a:solidFill>
              </a:rPr>
              <a:t>Dec '23</a:t>
            </a:r>
          </a:p>
          <a:p>
            <a:pPr algn="ctr"/>
            <a:r>
              <a:rPr lang="en-US">
                <a:solidFill>
                  <a:schemeClr val="tx1">
                    <a:lumMod val="75000"/>
                    <a:lumOff val="25000"/>
                  </a:schemeClr>
                </a:solidFill>
              </a:rPr>
              <a:t>Trilogue</a:t>
            </a:r>
          </a:p>
          <a:p>
            <a:pPr algn="ctr"/>
            <a:r>
              <a:rPr lang="en-US">
                <a:solidFill>
                  <a:schemeClr val="tx1">
                    <a:lumMod val="75000"/>
                    <a:lumOff val="25000"/>
                  </a:schemeClr>
                </a:solidFill>
              </a:rPr>
              <a:t>compromise</a:t>
            </a:r>
          </a:p>
        </p:txBody>
      </p:sp>
      <p:sp>
        <p:nvSpPr>
          <p:cNvPr id="8" name="TextBox 7">
            <a:extLst>
              <a:ext uri="{FF2B5EF4-FFF2-40B4-BE49-F238E27FC236}">
                <a16:creationId xmlns:a16="http://schemas.microsoft.com/office/drawing/2014/main" id="{8A51DC55-4027-0236-D0F6-9D64EB53D1ED}"/>
              </a:ext>
            </a:extLst>
          </p:cNvPr>
          <p:cNvSpPr txBox="1"/>
          <p:nvPr/>
        </p:nvSpPr>
        <p:spPr>
          <a:xfrm>
            <a:off x="4344820" y="1762314"/>
            <a:ext cx="1768359" cy="861774"/>
          </a:xfrm>
          <a:prstGeom prst="rect">
            <a:avLst/>
          </a:prstGeom>
          <a:noFill/>
        </p:spPr>
        <p:txBody>
          <a:bodyPr wrap="square" lIns="0" tIns="0" rIns="0" bIns="0" rtlCol="0" anchor="t">
            <a:spAutoFit/>
          </a:bodyPr>
          <a:lstStyle/>
          <a:p>
            <a:pPr algn="ctr"/>
            <a:r>
              <a:rPr lang="en-US" sz="2000" b="1">
                <a:solidFill>
                  <a:schemeClr val="accent1"/>
                </a:solidFill>
              </a:rPr>
              <a:t>July '24</a:t>
            </a:r>
          </a:p>
          <a:p>
            <a:pPr algn="ctr"/>
            <a:r>
              <a:rPr lang="en-US">
                <a:solidFill>
                  <a:schemeClr val="tx1">
                    <a:lumMod val="75000"/>
                    <a:lumOff val="25000"/>
                  </a:schemeClr>
                </a:solidFill>
              </a:rPr>
              <a:t>Entry into force</a:t>
            </a:r>
          </a:p>
          <a:p>
            <a:pPr algn="ctr"/>
            <a:r>
              <a:rPr lang="en-US">
                <a:solidFill>
                  <a:schemeClr val="tx1">
                    <a:lumMod val="75000"/>
                    <a:lumOff val="25000"/>
                  </a:schemeClr>
                </a:solidFill>
              </a:rPr>
              <a:t>18.07.2024</a:t>
            </a:r>
          </a:p>
        </p:txBody>
      </p:sp>
      <p:sp>
        <p:nvSpPr>
          <p:cNvPr id="9" name="TextBox 8">
            <a:extLst>
              <a:ext uri="{FF2B5EF4-FFF2-40B4-BE49-F238E27FC236}">
                <a16:creationId xmlns:a16="http://schemas.microsoft.com/office/drawing/2014/main" id="{A3BFC7E3-6A5C-864A-4184-C2B71A529C26}"/>
              </a:ext>
            </a:extLst>
          </p:cNvPr>
          <p:cNvSpPr txBox="1"/>
          <p:nvPr/>
        </p:nvSpPr>
        <p:spPr>
          <a:xfrm>
            <a:off x="870302" y="3368650"/>
            <a:ext cx="1256753" cy="430887"/>
          </a:xfrm>
          <a:prstGeom prst="rect">
            <a:avLst/>
          </a:prstGeom>
          <a:noFill/>
        </p:spPr>
        <p:txBody>
          <a:bodyPr wrap="square" lIns="0" tIns="0" rIns="0" bIns="0" rtlCol="0">
            <a:spAutoFit/>
          </a:bodyPr>
          <a:lstStyle/>
          <a:p>
            <a:pPr algn="ctr"/>
            <a:r>
              <a:rPr lang="en-US" sz="1400" i="1">
                <a:solidFill>
                  <a:schemeClr val="bg1">
                    <a:lumMod val="50000"/>
                  </a:schemeClr>
                </a:solidFill>
              </a:rPr>
              <a:t>Legislative</a:t>
            </a:r>
          </a:p>
          <a:p>
            <a:pPr algn="ctr"/>
            <a:r>
              <a:rPr lang="en-US" sz="1400" i="1">
                <a:solidFill>
                  <a:schemeClr val="bg1">
                    <a:lumMod val="50000"/>
                  </a:schemeClr>
                </a:solidFill>
              </a:rPr>
              <a:t>procedure</a:t>
            </a:r>
          </a:p>
        </p:txBody>
      </p:sp>
      <p:sp>
        <p:nvSpPr>
          <p:cNvPr id="10" name="TextBox 9">
            <a:extLst>
              <a:ext uri="{FF2B5EF4-FFF2-40B4-BE49-F238E27FC236}">
                <a16:creationId xmlns:a16="http://schemas.microsoft.com/office/drawing/2014/main" id="{6A3D9184-61BE-36F7-0318-10C807352B3C}"/>
              </a:ext>
            </a:extLst>
          </p:cNvPr>
          <p:cNvSpPr txBox="1"/>
          <p:nvPr/>
        </p:nvSpPr>
        <p:spPr>
          <a:xfrm>
            <a:off x="6721938" y="1762314"/>
            <a:ext cx="1487587" cy="861774"/>
          </a:xfrm>
          <a:prstGeom prst="rect">
            <a:avLst/>
          </a:prstGeom>
          <a:noFill/>
        </p:spPr>
        <p:txBody>
          <a:bodyPr wrap="square" lIns="0" tIns="0" rIns="0" bIns="0" rtlCol="0" anchor="t">
            <a:spAutoFit/>
          </a:bodyPr>
          <a:lstStyle/>
          <a:p>
            <a:pPr algn="ctr"/>
            <a:r>
              <a:rPr lang="en-US" sz="2000" b="1">
                <a:solidFill>
                  <a:schemeClr val="accent1"/>
                </a:solidFill>
              </a:rPr>
              <a:t>April '25</a:t>
            </a:r>
          </a:p>
          <a:p>
            <a:pPr algn="ctr"/>
            <a:r>
              <a:rPr lang="en-US">
                <a:solidFill>
                  <a:schemeClr val="tx1">
                    <a:lumMod val="75000"/>
                    <a:lumOff val="25000"/>
                  </a:schemeClr>
                </a:solidFill>
              </a:rPr>
              <a:t>First ESPR working plan</a:t>
            </a:r>
          </a:p>
        </p:txBody>
      </p:sp>
      <p:sp>
        <p:nvSpPr>
          <p:cNvPr id="11" name="TextBox 10">
            <a:extLst>
              <a:ext uri="{FF2B5EF4-FFF2-40B4-BE49-F238E27FC236}">
                <a16:creationId xmlns:a16="http://schemas.microsoft.com/office/drawing/2014/main" id="{21C8BD7E-344C-7932-B61F-AFEC23A8BBB3}"/>
              </a:ext>
            </a:extLst>
          </p:cNvPr>
          <p:cNvSpPr txBox="1"/>
          <p:nvPr/>
        </p:nvSpPr>
        <p:spPr>
          <a:xfrm>
            <a:off x="10204046" y="1762314"/>
            <a:ext cx="1862126" cy="1138773"/>
          </a:xfrm>
          <a:prstGeom prst="rect">
            <a:avLst/>
          </a:prstGeom>
          <a:noFill/>
        </p:spPr>
        <p:txBody>
          <a:bodyPr wrap="square" lIns="0" tIns="0" rIns="0" bIns="0" rtlCol="0" anchor="t">
            <a:spAutoFit/>
          </a:bodyPr>
          <a:lstStyle/>
          <a:p>
            <a:pPr algn="ctr"/>
            <a:r>
              <a:rPr lang="en-US" sz="2000" b="1">
                <a:solidFill>
                  <a:schemeClr val="accent1"/>
                </a:solidFill>
              </a:rPr>
              <a:t>2027</a:t>
            </a:r>
          </a:p>
          <a:p>
            <a:pPr algn="ctr"/>
            <a:r>
              <a:rPr lang="en-US">
                <a:solidFill>
                  <a:schemeClr val="tx1">
                    <a:lumMod val="75000"/>
                    <a:lumOff val="25000"/>
                  </a:schemeClr>
                </a:solidFill>
              </a:rPr>
              <a:t>Enforcement of first DA's for product groups</a:t>
            </a:r>
          </a:p>
        </p:txBody>
      </p:sp>
      <p:sp>
        <p:nvSpPr>
          <p:cNvPr id="12" name="TextBox 11">
            <a:extLst>
              <a:ext uri="{FF2B5EF4-FFF2-40B4-BE49-F238E27FC236}">
                <a16:creationId xmlns:a16="http://schemas.microsoft.com/office/drawing/2014/main" id="{402F67CE-8B56-DF76-95DE-B1A1292C8DE3}"/>
              </a:ext>
            </a:extLst>
          </p:cNvPr>
          <p:cNvSpPr txBox="1"/>
          <p:nvPr/>
        </p:nvSpPr>
        <p:spPr>
          <a:xfrm>
            <a:off x="2829069" y="3680062"/>
            <a:ext cx="2131018" cy="861774"/>
          </a:xfrm>
          <a:prstGeom prst="rect">
            <a:avLst/>
          </a:prstGeom>
          <a:noFill/>
        </p:spPr>
        <p:txBody>
          <a:bodyPr wrap="square" lIns="0" tIns="0" rIns="0" bIns="0" rtlCol="0" anchor="t">
            <a:spAutoFit/>
          </a:bodyPr>
          <a:lstStyle/>
          <a:p>
            <a:pPr algn="ctr"/>
            <a:r>
              <a:rPr lang="en-US" sz="2000" b="1">
                <a:solidFill>
                  <a:schemeClr val="accent1"/>
                </a:solidFill>
              </a:rPr>
              <a:t>Apr/May '24</a:t>
            </a:r>
          </a:p>
          <a:p>
            <a:pPr algn="ctr"/>
            <a:r>
              <a:rPr lang="en-US">
                <a:solidFill>
                  <a:schemeClr val="tx1">
                    <a:lumMod val="75000"/>
                    <a:lumOff val="25000"/>
                  </a:schemeClr>
                </a:solidFill>
              </a:rPr>
              <a:t>Parliament approval Council approval</a:t>
            </a:r>
            <a:endParaRPr lang="en-US" b="1">
              <a:solidFill>
                <a:srgbClr val="FF0000"/>
              </a:solidFill>
            </a:endParaRPr>
          </a:p>
        </p:txBody>
      </p:sp>
      <p:grpSp>
        <p:nvGrpSpPr>
          <p:cNvPr id="90" name="Group 89">
            <a:extLst>
              <a:ext uri="{FF2B5EF4-FFF2-40B4-BE49-F238E27FC236}">
                <a16:creationId xmlns:a16="http://schemas.microsoft.com/office/drawing/2014/main" id="{48496546-1016-FE38-1DE7-9D74FDFD3366}"/>
              </a:ext>
            </a:extLst>
          </p:cNvPr>
          <p:cNvGrpSpPr/>
          <p:nvPr/>
        </p:nvGrpSpPr>
        <p:grpSpPr>
          <a:xfrm>
            <a:off x="2123206" y="3071401"/>
            <a:ext cx="430589" cy="432001"/>
            <a:chOff x="2123206" y="3089140"/>
            <a:chExt cx="430589" cy="432001"/>
          </a:xfrm>
        </p:grpSpPr>
        <p:sp>
          <p:nvSpPr>
            <p:cNvPr id="73" name="Oval 72">
              <a:extLst>
                <a:ext uri="{FF2B5EF4-FFF2-40B4-BE49-F238E27FC236}">
                  <a16:creationId xmlns:a16="http://schemas.microsoft.com/office/drawing/2014/main" id="{93E25682-A46B-C47A-DEF6-EA9A51A0BE80}"/>
                </a:ext>
              </a:extLst>
            </p:cNvPr>
            <p:cNvSpPr/>
            <p:nvPr/>
          </p:nvSpPr>
          <p:spPr>
            <a:xfrm>
              <a:off x="2183162" y="3138938"/>
              <a:ext cx="332404" cy="3324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afik 64">
              <a:extLst>
                <a:ext uri="{FF2B5EF4-FFF2-40B4-BE49-F238E27FC236}">
                  <a16:creationId xmlns:a16="http://schemas.microsoft.com/office/drawing/2014/main" id="{DEF28B78-9FF1-3F5D-C0D1-3F1B314A9412}"/>
                </a:ext>
              </a:extLst>
            </p:cNvPr>
            <p:cNvGrpSpPr/>
            <p:nvPr/>
          </p:nvGrpSpPr>
          <p:grpSpPr>
            <a:xfrm rot="1323096">
              <a:off x="2123206" y="3089140"/>
              <a:ext cx="430589" cy="432001"/>
              <a:chOff x="2939022" y="4455366"/>
              <a:chExt cx="503447" cy="505097"/>
            </a:xfrm>
            <a:solidFill>
              <a:schemeClr val="accent1"/>
            </a:solidFill>
          </p:grpSpPr>
          <p:sp>
            <p:nvSpPr>
              <p:cNvPr id="14" name="Freihandform 86">
                <a:extLst>
                  <a:ext uri="{FF2B5EF4-FFF2-40B4-BE49-F238E27FC236}">
                    <a16:creationId xmlns:a16="http://schemas.microsoft.com/office/drawing/2014/main" id="{FBC7321E-28C2-A6A3-3540-C312C59CAD84}"/>
                  </a:ext>
                </a:extLst>
              </p:cNvPr>
              <p:cNvSpPr>
                <a:spLocks noChangeAspect="1"/>
              </p:cNvSpPr>
              <p:nvPr/>
            </p:nvSpPr>
            <p:spPr>
              <a:xfrm>
                <a:off x="3149689" y="4876280"/>
                <a:ext cx="84171" cy="84183"/>
              </a:xfrm>
              <a:custGeom>
                <a:avLst/>
                <a:gdLst>
                  <a:gd name="connsiteX0" fmla="*/ 0 w 42085"/>
                  <a:gd name="connsiteY0" fmla="*/ 21046 h 42091"/>
                  <a:gd name="connsiteX1" fmla="*/ 21046 w 42085"/>
                  <a:gd name="connsiteY1" fmla="*/ 0 h 42091"/>
                  <a:gd name="connsiteX2" fmla="*/ 42085 w 42085"/>
                  <a:gd name="connsiteY2" fmla="*/ 21046 h 42091"/>
                  <a:gd name="connsiteX3" fmla="*/ 21046 w 42085"/>
                  <a:gd name="connsiteY3" fmla="*/ 42091 h 42091"/>
                  <a:gd name="connsiteX4" fmla="*/ 0 w 42085"/>
                  <a:gd name="connsiteY4" fmla="*/ 21046 h 42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85" h="42091">
                    <a:moveTo>
                      <a:pt x="0" y="21046"/>
                    </a:moveTo>
                    <a:cubicBezTo>
                      <a:pt x="0" y="9471"/>
                      <a:pt x="9357" y="0"/>
                      <a:pt x="21046" y="0"/>
                    </a:cubicBezTo>
                    <a:cubicBezTo>
                      <a:pt x="32615" y="0"/>
                      <a:pt x="42085" y="9357"/>
                      <a:pt x="42085" y="21046"/>
                    </a:cubicBezTo>
                    <a:cubicBezTo>
                      <a:pt x="42085" y="32615"/>
                      <a:pt x="32728" y="42091"/>
                      <a:pt x="21046" y="42091"/>
                    </a:cubicBezTo>
                    <a:cubicBezTo>
                      <a:pt x="9471" y="42091"/>
                      <a:pt x="0" y="32615"/>
                      <a:pt x="0" y="21046"/>
                    </a:cubicBezTo>
                    <a:close/>
                  </a:path>
                </a:pathLst>
              </a:custGeom>
              <a:grpFill/>
              <a:ln w="524" cap="flat">
                <a:noFill/>
                <a:prstDash val="solid"/>
                <a:miter/>
              </a:ln>
            </p:spPr>
            <p:txBody>
              <a:bodyPr rtlCol="0" anchor="ctr"/>
              <a:lstStyle/>
              <a:p>
                <a:endParaRPr lang="de-DE"/>
              </a:p>
            </p:txBody>
          </p:sp>
          <p:sp>
            <p:nvSpPr>
              <p:cNvPr id="15" name="Freihandform 87">
                <a:extLst>
                  <a:ext uri="{FF2B5EF4-FFF2-40B4-BE49-F238E27FC236}">
                    <a16:creationId xmlns:a16="http://schemas.microsoft.com/office/drawing/2014/main" id="{942C2D2E-F5A0-307D-0CF4-8179E756DBD2}"/>
                  </a:ext>
                </a:extLst>
              </p:cNvPr>
              <p:cNvSpPr>
                <a:spLocks noChangeAspect="1"/>
              </p:cNvSpPr>
              <p:nvPr/>
            </p:nvSpPr>
            <p:spPr>
              <a:xfrm>
                <a:off x="3000898" y="4814876"/>
                <a:ext cx="84178" cy="84183"/>
              </a:xfrm>
              <a:custGeom>
                <a:avLst/>
                <a:gdLst>
                  <a:gd name="connsiteX0" fmla="*/ 6206 w 42045"/>
                  <a:gd name="connsiteY0" fmla="*/ 35937 h 42047"/>
                  <a:gd name="connsiteX1" fmla="*/ 6101 w 42045"/>
                  <a:gd name="connsiteY1" fmla="*/ 6157 h 42047"/>
                  <a:gd name="connsiteX2" fmla="*/ 35882 w 42045"/>
                  <a:gd name="connsiteY2" fmla="*/ 6157 h 42047"/>
                  <a:gd name="connsiteX3" fmla="*/ 35987 w 42045"/>
                  <a:gd name="connsiteY3" fmla="*/ 35824 h 42047"/>
                  <a:gd name="connsiteX4" fmla="*/ 21045 w 42045"/>
                  <a:gd name="connsiteY4" fmla="*/ 42047 h 42047"/>
                  <a:gd name="connsiteX5" fmla="*/ 6207 w 42045"/>
                  <a:gd name="connsiteY5" fmla="*/ 35937 h 42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045" h="42047">
                    <a:moveTo>
                      <a:pt x="6206" y="35937"/>
                    </a:moveTo>
                    <a:cubicBezTo>
                      <a:pt x="-1994" y="27723"/>
                      <a:pt x="-2107" y="14366"/>
                      <a:pt x="6101" y="6157"/>
                    </a:cubicBezTo>
                    <a:cubicBezTo>
                      <a:pt x="14302" y="-2052"/>
                      <a:pt x="27673" y="-2052"/>
                      <a:pt x="35882" y="6157"/>
                    </a:cubicBezTo>
                    <a:cubicBezTo>
                      <a:pt x="44083" y="14366"/>
                      <a:pt x="44083" y="27630"/>
                      <a:pt x="35987" y="35824"/>
                    </a:cubicBezTo>
                    <a:cubicBezTo>
                      <a:pt x="31883" y="40048"/>
                      <a:pt x="26412" y="42047"/>
                      <a:pt x="21045" y="42047"/>
                    </a:cubicBezTo>
                    <a:cubicBezTo>
                      <a:pt x="15677" y="42039"/>
                      <a:pt x="10311" y="40040"/>
                      <a:pt x="6207" y="35937"/>
                    </a:cubicBezTo>
                    <a:close/>
                  </a:path>
                </a:pathLst>
              </a:custGeom>
              <a:grpFill/>
              <a:ln w="524" cap="flat">
                <a:noFill/>
                <a:prstDash val="solid"/>
                <a:miter/>
              </a:ln>
            </p:spPr>
            <p:txBody>
              <a:bodyPr rtlCol="0" anchor="ctr"/>
              <a:lstStyle/>
              <a:p>
                <a:endParaRPr lang="de-DE"/>
              </a:p>
            </p:txBody>
          </p:sp>
          <p:sp>
            <p:nvSpPr>
              <p:cNvPr id="16" name="Freihandform 88">
                <a:extLst>
                  <a:ext uri="{FF2B5EF4-FFF2-40B4-BE49-F238E27FC236}">
                    <a16:creationId xmlns:a16="http://schemas.microsoft.com/office/drawing/2014/main" id="{B56E1B30-00A4-D304-6D78-C7E154991880}"/>
                  </a:ext>
                </a:extLst>
              </p:cNvPr>
              <p:cNvSpPr>
                <a:spLocks noChangeAspect="1"/>
              </p:cNvSpPr>
              <p:nvPr/>
            </p:nvSpPr>
            <p:spPr>
              <a:xfrm>
                <a:off x="3298334" y="4814559"/>
                <a:ext cx="84244" cy="84183"/>
              </a:xfrm>
              <a:custGeom>
                <a:avLst/>
                <a:gdLst>
                  <a:gd name="connsiteX0" fmla="*/ 6250 w 42074"/>
                  <a:gd name="connsiteY0" fmla="*/ 35933 h 42043"/>
                  <a:gd name="connsiteX1" fmla="*/ 6131 w 42074"/>
                  <a:gd name="connsiteY1" fmla="*/ 6161 h 42043"/>
                  <a:gd name="connsiteX2" fmla="*/ 35917 w 42074"/>
                  <a:gd name="connsiteY2" fmla="*/ 6161 h 42043"/>
                  <a:gd name="connsiteX3" fmla="*/ 35917 w 42074"/>
                  <a:gd name="connsiteY3" fmla="*/ 35933 h 42043"/>
                  <a:gd name="connsiteX4" fmla="*/ 21081 w 42074"/>
                  <a:gd name="connsiteY4" fmla="*/ 42043 h 42043"/>
                  <a:gd name="connsiteX5" fmla="*/ 6250 w 42074"/>
                  <a:gd name="connsiteY5" fmla="*/ 35933 h 42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074" h="42043">
                    <a:moveTo>
                      <a:pt x="6250" y="35933"/>
                    </a:moveTo>
                    <a:cubicBezTo>
                      <a:pt x="-2063" y="27724"/>
                      <a:pt x="-2063" y="14368"/>
                      <a:pt x="6131" y="6161"/>
                    </a:cubicBezTo>
                    <a:cubicBezTo>
                      <a:pt x="14346" y="-2054"/>
                      <a:pt x="27709" y="-2054"/>
                      <a:pt x="35917" y="6161"/>
                    </a:cubicBezTo>
                    <a:cubicBezTo>
                      <a:pt x="44126" y="14370"/>
                      <a:pt x="44126" y="27727"/>
                      <a:pt x="35917" y="35933"/>
                    </a:cubicBezTo>
                    <a:cubicBezTo>
                      <a:pt x="31813" y="40038"/>
                      <a:pt x="26447" y="42043"/>
                      <a:pt x="21081" y="42043"/>
                    </a:cubicBezTo>
                    <a:cubicBezTo>
                      <a:pt x="15713" y="42043"/>
                      <a:pt x="10354" y="40035"/>
                      <a:pt x="6250" y="35933"/>
                    </a:cubicBezTo>
                    <a:close/>
                  </a:path>
                </a:pathLst>
              </a:custGeom>
              <a:grpFill/>
              <a:ln w="524" cap="flat">
                <a:noFill/>
                <a:prstDash val="solid"/>
                <a:miter/>
              </a:ln>
            </p:spPr>
            <p:txBody>
              <a:bodyPr rtlCol="0" anchor="ctr"/>
              <a:lstStyle/>
              <a:p>
                <a:endParaRPr lang="de-DE"/>
              </a:p>
            </p:txBody>
          </p:sp>
          <p:sp>
            <p:nvSpPr>
              <p:cNvPr id="17" name="Freihandform 89">
                <a:extLst>
                  <a:ext uri="{FF2B5EF4-FFF2-40B4-BE49-F238E27FC236}">
                    <a16:creationId xmlns:a16="http://schemas.microsoft.com/office/drawing/2014/main" id="{085117A2-4850-32B2-8D0D-26F227620C2C}"/>
                  </a:ext>
                </a:extLst>
              </p:cNvPr>
              <p:cNvSpPr/>
              <p:nvPr/>
            </p:nvSpPr>
            <p:spPr>
              <a:xfrm>
                <a:off x="2939022" y="4666245"/>
                <a:ext cx="84183" cy="84183"/>
              </a:xfrm>
              <a:custGeom>
                <a:avLst/>
                <a:gdLst>
                  <a:gd name="connsiteX0" fmla="*/ 0 w 42091"/>
                  <a:gd name="connsiteY0" fmla="*/ 21150 h 42091"/>
                  <a:gd name="connsiteX1" fmla="*/ 21046 w 42091"/>
                  <a:gd name="connsiteY1" fmla="*/ 0 h 42091"/>
                  <a:gd name="connsiteX2" fmla="*/ 42091 w 42091"/>
                  <a:gd name="connsiteY2" fmla="*/ 21046 h 42091"/>
                  <a:gd name="connsiteX3" fmla="*/ 21046 w 42091"/>
                  <a:gd name="connsiteY3" fmla="*/ 42091 h 42091"/>
                  <a:gd name="connsiteX4" fmla="*/ 0 w 42091"/>
                  <a:gd name="connsiteY4" fmla="*/ 21150 h 42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1" h="42091">
                    <a:moveTo>
                      <a:pt x="0" y="21150"/>
                    </a:moveTo>
                    <a:cubicBezTo>
                      <a:pt x="0" y="9471"/>
                      <a:pt x="9357" y="0"/>
                      <a:pt x="21046" y="0"/>
                    </a:cubicBezTo>
                    <a:cubicBezTo>
                      <a:pt x="32615" y="0"/>
                      <a:pt x="42091" y="9357"/>
                      <a:pt x="42091" y="21046"/>
                    </a:cubicBezTo>
                    <a:cubicBezTo>
                      <a:pt x="42091" y="32615"/>
                      <a:pt x="32726" y="42091"/>
                      <a:pt x="21046" y="42091"/>
                    </a:cubicBezTo>
                    <a:cubicBezTo>
                      <a:pt x="9471" y="42098"/>
                      <a:pt x="0" y="32726"/>
                      <a:pt x="0" y="21150"/>
                    </a:cubicBezTo>
                    <a:close/>
                  </a:path>
                </a:pathLst>
              </a:custGeom>
              <a:grpFill/>
              <a:ln w="524" cap="flat">
                <a:noFill/>
                <a:prstDash val="solid"/>
                <a:miter/>
              </a:ln>
            </p:spPr>
            <p:txBody>
              <a:bodyPr rtlCol="0" anchor="ctr"/>
              <a:lstStyle/>
              <a:p>
                <a:endParaRPr lang="de-DE"/>
              </a:p>
            </p:txBody>
          </p:sp>
          <p:sp>
            <p:nvSpPr>
              <p:cNvPr id="18" name="Freihandform 90">
                <a:extLst>
                  <a:ext uri="{FF2B5EF4-FFF2-40B4-BE49-F238E27FC236}">
                    <a16:creationId xmlns:a16="http://schemas.microsoft.com/office/drawing/2014/main" id="{DB53E2B5-9CB0-85F1-59FC-ABCA1E125ADF}"/>
                  </a:ext>
                </a:extLst>
              </p:cNvPr>
              <p:cNvSpPr>
                <a:spLocks noChangeAspect="1"/>
              </p:cNvSpPr>
              <p:nvPr/>
            </p:nvSpPr>
            <p:spPr>
              <a:xfrm>
                <a:off x="3359933" y="4664980"/>
                <a:ext cx="82536" cy="84183"/>
              </a:xfrm>
              <a:custGeom>
                <a:avLst/>
                <a:gdLst>
                  <a:gd name="connsiteX0" fmla="*/ 1 w 42092"/>
                  <a:gd name="connsiteY0" fmla="*/ 21887 h 42932"/>
                  <a:gd name="connsiteX1" fmla="*/ 1 w 42092"/>
                  <a:gd name="connsiteY1" fmla="*/ 21151 h 42932"/>
                  <a:gd name="connsiteX2" fmla="*/ 20942 w 42092"/>
                  <a:gd name="connsiteY2" fmla="*/ 1 h 42932"/>
                  <a:gd name="connsiteX3" fmla="*/ 42092 w 42092"/>
                  <a:gd name="connsiteY3" fmla="*/ 20934 h 42932"/>
                  <a:gd name="connsiteX4" fmla="*/ 42092 w 42092"/>
                  <a:gd name="connsiteY4" fmla="*/ 21466 h 42932"/>
                  <a:gd name="connsiteX5" fmla="*/ 42092 w 42092"/>
                  <a:gd name="connsiteY5" fmla="*/ 21887 h 42932"/>
                  <a:gd name="connsiteX6" fmla="*/ 21047 w 42092"/>
                  <a:gd name="connsiteY6" fmla="*/ 42933 h 42932"/>
                  <a:gd name="connsiteX7" fmla="*/ 1 w 42092"/>
                  <a:gd name="connsiteY7" fmla="*/ 21887 h 42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092" h="42932">
                    <a:moveTo>
                      <a:pt x="1" y="21887"/>
                    </a:moveTo>
                    <a:lnTo>
                      <a:pt x="1" y="21151"/>
                    </a:lnTo>
                    <a:cubicBezTo>
                      <a:pt x="-104" y="9472"/>
                      <a:pt x="9358" y="1"/>
                      <a:pt x="20942" y="1"/>
                    </a:cubicBezTo>
                    <a:cubicBezTo>
                      <a:pt x="32511" y="-112"/>
                      <a:pt x="41988" y="9262"/>
                      <a:pt x="42092" y="20934"/>
                    </a:cubicBezTo>
                    <a:lnTo>
                      <a:pt x="42092" y="21466"/>
                    </a:lnTo>
                    <a:lnTo>
                      <a:pt x="42092" y="21887"/>
                    </a:lnTo>
                    <a:cubicBezTo>
                      <a:pt x="42092" y="33456"/>
                      <a:pt x="32615" y="42933"/>
                      <a:pt x="21047" y="42933"/>
                    </a:cubicBezTo>
                    <a:cubicBezTo>
                      <a:pt x="9471" y="42933"/>
                      <a:pt x="1" y="33456"/>
                      <a:pt x="1" y="21887"/>
                    </a:cubicBezTo>
                    <a:close/>
                  </a:path>
                </a:pathLst>
              </a:custGeom>
              <a:grpFill/>
              <a:ln w="524" cap="flat">
                <a:noFill/>
                <a:prstDash val="solid"/>
                <a:miter/>
              </a:ln>
            </p:spPr>
            <p:txBody>
              <a:bodyPr rtlCol="0" anchor="ctr"/>
              <a:lstStyle/>
              <a:p>
                <a:endParaRPr lang="de-DE"/>
              </a:p>
            </p:txBody>
          </p:sp>
          <p:sp>
            <p:nvSpPr>
              <p:cNvPr id="19" name="Freihandform 91">
                <a:extLst>
                  <a:ext uri="{FF2B5EF4-FFF2-40B4-BE49-F238E27FC236}">
                    <a16:creationId xmlns:a16="http://schemas.microsoft.com/office/drawing/2014/main" id="{5B2BBEAC-839F-2828-AC69-0D428296FF58}"/>
                  </a:ext>
                </a:extLst>
              </p:cNvPr>
              <p:cNvSpPr/>
              <p:nvPr/>
            </p:nvSpPr>
            <p:spPr>
              <a:xfrm>
                <a:off x="3000261" y="4517395"/>
                <a:ext cx="84183" cy="84183"/>
              </a:xfrm>
              <a:custGeom>
                <a:avLst/>
                <a:gdLst>
                  <a:gd name="connsiteX0" fmla="*/ 6206 w 42090"/>
                  <a:gd name="connsiteY0" fmla="*/ 35937 h 42041"/>
                  <a:gd name="connsiteX1" fmla="*/ 6101 w 42090"/>
                  <a:gd name="connsiteY1" fmla="*/ 6157 h 42041"/>
                  <a:gd name="connsiteX2" fmla="*/ 6206 w 42090"/>
                  <a:gd name="connsiteY2" fmla="*/ 6157 h 42041"/>
                  <a:gd name="connsiteX3" fmla="*/ 35880 w 42090"/>
                  <a:gd name="connsiteY3" fmla="*/ 6157 h 42041"/>
                  <a:gd name="connsiteX4" fmla="*/ 35984 w 42090"/>
                  <a:gd name="connsiteY4" fmla="*/ 35937 h 42041"/>
                  <a:gd name="connsiteX5" fmla="*/ 21043 w 42090"/>
                  <a:gd name="connsiteY5" fmla="*/ 42042 h 42041"/>
                  <a:gd name="connsiteX6" fmla="*/ 6206 w 42090"/>
                  <a:gd name="connsiteY6" fmla="*/ 35937 h 4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90" h="42041">
                    <a:moveTo>
                      <a:pt x="6206" y="35937"/>
                    </a:moveTo>
                    <a:cubicBezTo>
                      <a:pt x="-1994" y="27728"/>
                      <a:pt x="-2107" y="14470"/>
                      <a:pt x="6101" y="6157"/>
                    </a:cubicBezTo>
                    <a:lnTo>
                      <a:pt x="6206" y="6157"/>
                    </a:lnTo>
                    <a:cubicBezTo>
                      <a:pt x="14308" y="-2052"/>
                      <a:pt x="27679" y="-2052"/>
                      <a:pt x="35880" y="6157"/>
                    </a:cubicBezTo>
                    <a:cubicBezTo>
                      <a:pt x="44088" y="14258"/>
                      <a:pt x="44199" y="27630"/>
                      <a:pt x="35984" y="35937"/>
                    </a:cubicBezTo>
                    <a:cubicBezTo>
                      <a:pt x="31880" y="40042"/>
                      <a:pt x="26514" y="42042"/>
                      <a:pt x="21043" y="42042"/>
                    </a:cubicBezTo>
                    <a:cubicBezTo>
                      <a:pt x="15683" y="42033"/>
                      <a:pt x="10316" y="40042"/>
                      <a:pt x="6206" y="35937"/>
                    </a:cubicBezTo>
                    <a:close/>
                  </a:path>
                </a:pathLst>
              </a:custGeom>
              <a:grpFill/>
              <a:ln w="524" cap="flat">
                <a:noFill/>
                <a:prstDash val="solid"/>
                <a:miter/>
              </a:ln>
            </p:spPr>
            <p:txBody>
              <a:bodyPr rtlCol="0" anchor="ctr"/>
              <a:lstStyle/>
              <a:p>
                <a:endParaRPr lang="de-DE"/>
              </a:p>
            </p:txBody>
          </p:sp>
          <p:sp>
            <p:nvSpPr>
              <p:cNvPr id="20" name="Freihandform 92">
                <a:extLst>
                  <a:ext uri="{FF2B5EF4-FFF2-40B4-BE49-F238E27FC236}">
                    <a16:creationId xmlns:a16="http://schemas.microsoft.com/office/drawing/2014/main" id="{4C576C4A-3BEC-D0E6-D364-7063FB9B82DE}"/>
                  </a:ext>
                </a:extLst>
              </p:cNvPr>
              <p:cNvSpPr>
                <a:spLocks noChangeAspect="1"/>
              </p:cNvSpPr>
              <p:nvPr/>
            </p:nvSpPr>
            <p:spPr>
              <a:xfrm>
                <a:off x="3297743" y="4516462"/>
                <a:ext cx="84113" cy="84183"/>
              </a:xfrm>
              <a:custGeom>
                <a:avLst/>
                <a:gdLst>
                  <a:gd name="connsiteX0" fmla="*/ 6211 w 42098"/>
                  <a:gd name="connsiteY0" fmla="*/ 36029 h 42133"/>
                  <a:gd name="connsiteX1" fmla="*/ 6107 w 42098"/>
                  <a:gd name="connsiteY1" fmla="*/ 6248 h 42133"/>
                  <a:gd name="connsiteX2" fmla="*/ 35887 w 42098"/>
                  <a:gd name="connsiteY2" fmla="*/ 6144 h 42133"/>
                  <a:gd name="connsiteX3" fmla="*/ 35992 w 42098"/>
                  <a:gd name="connsiteY3" fmla="*/ 35924 h 42133"/>
                  <a:gd name="connsiteX4" fmla="*/ 21051 w 42098"/>
                  <a:gd name="connsiteY4" fmla="*/ 42133 h 42133"/>
                  <a:gd name="connsiteX5" fmla="*/ 6212 w 42098"/>
                  <a:gd name="connsiteY5" fmla="*/ 36029 h 4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098" h="42133">
                    <a:moveTo>
                      <a:pt x="6211" y="36029"/>
                    </a:moveTo>
                    <a:cubicBezTo>
                      <a:pt x="-1997" y="27820"/>
                      <a:pt x="-2108" y="14457"/>
                      <a:pt x="6107" y="6248"/>
                    </a:cubicBezTo>
                    <a:cubicBezTo>
                      <a:pt x="14321" y="-2065"/>
                      <a:pt x="27678" y="-2065"/>
                      <a:pt x="35887" y="6144"/>
                    </a:cubicBezTo>
                    <a:cubicBezTo>
                      <a:pt x="44096" y="14352"/>
                      <a:pt x="44207" y="27611"/>
                      <a:pt x="35992" y="35924"/>
                    </a:cubicBezTo>
                    <a:cubicBezTo>
                      <a:pt x="31888" y="40029"/>
                      <a:pt x="26515" y="42133"/>
                      <a:pt x="21051" y="42133"/>
                    </a:cubicBezTo>
                    <a:cubicBezTo>
                      <a:pt x="15683" y="42131"/>
                      <a:pt x="10308" y="40027"/>
                      <a:pt x="6212" y="36029"/>
                    </a:cubicBezTo>
                    <a:close/>
                  </a:path>
                </a:pathLst>
              </a:custGeom>
              <a:grpFill/>
              <a:ln w="524" cap="flat">
                <a:noFill/>
                <a:prstDash val="solid"/>
                <a:miter/>
              </a:ln>
            </p:spPr>
            <p:txBody>
              <a:bodyPr rtlCol="0" anchor="ctr"/>
              <a:lstStyle/>
              <a:p>
                <a:endParaRPr lang="de-DE"/>
              </a:p>
            </p:txBody>
          </p:sp>
          <p:sp>
            <p:nvSpPr>
              <p:cNvPr id="21" name="Freihandform 93">
                <a:extLst>
                  <a:ext uri="{FF2B5EF4-FFF2-40B4-BE49-F238E27FC236}">
                    <a16:creationId xmlns:a16="http://schemas.microsoft.com/office/drawing/2014/main" id="{0C256D73-4715-89B6-E2E4-0323AC08DA37}"/>
                  </a:ext>
                </a:extLst>
              </p:cNvPr>
              <p:cNvSpPr>
                <a:spLocks noChangeAspect="1"/>
              </p:cNvSpPr>
              <p:nvPr/>
            </p:nvSpPr>
            <p:spPr>
              <a:xfrm>
                <a:off x="3148845" y="4455366"/>
                <a:ext cx="84185" cy="84183"/>
              </a:xfrm>
              <a:custGeom>
                <a:avLst/>
                <a:gdLst>
                  <a:gd name="connsiteX0" fmla="*/ 1 w 42092"/>
                  <a:gd name="connsiteY0" fmla="*/ 21150 h 42091"/>
                  <a:gd name="connsiteX1" fmla="*/ 20942 w 42092"/>
                  <a:gd name="connsiteY1" fmla="*/ 0 h 42091"/>
                  <a:gd name="connsiteX2" fmla="*/ 42092 w 42092"/>
                  <a:gd name="connsiteY2" fmla="*/ 20933 h 42091"/>
                  <a:gd name="connsiteX3" fmla="*/ 21053 w 42092"/>
                  <a:gd name="connsiteY3" fmla="*/ 42091 h 42091"/>
                  <a:gd name="connsiteX4" fmla="*/ 1 w 42092"/>
                  <a:gd name="connsiteY4" fmla="*/ 21150 h 42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2" h="42091">
                    <a:moveTo>
                      <a:pt x="1" y="21150"/>
                    </a:moveTo>
                    <a:cubicBezTo>
                      <a:pt x="-104" y="9471"/>
                      <a:pt x="9358" y="0"/>
                      <a:pt x="20942" y="0"/>
                    </a:cubicBezTo>
                    <a:cubicBezTo>
                      <a:pt x="32630" y="0"/>
                      <a:pt x="41988" y="9357"/>
                      <a:pt x="42092" y="20933"/>
                    </a:cubicBezTo>
                    <a:cubicBezTo>
                      <a:pt x="42092" y="32612"/>
                      <a:pt x="32726" y="42091"/>
                      <a:pt x="21053" y="42091"/>
                    </a:cubicBezTo>
                    <a:cubicBezTo>
                      <a:pt x="9358" y="42091"/>
                      <a:pt x="1" y="32726"/>
                      <a:pt x="1" y="21150"/>
                    </a:cubicBezTo>
                    <a:close/>
                  </a:path>
                </a:pathLst>
              </a:custGeom>
              <a:grpFill/>
              <a:ln w="524" cap="flat">
                <a:noFill/>
                <a:prstDash val="solid"/>
                <a:miter/>
              </a:ln>
            </p:spPr>
            <p:txBody>
              <a:bodyPr rtlCol="0" anchor="ctr"/>
              <a:lstStyle/>
              <a:p>
                <a:endParaRPr lang="de-DE"/>
              </a:p>
            </p:txBody>
          </p:sp>
        </p:grpSp>
      </p:grpSp>
      <p:grpSp>
        <p:nvGrpSpPr>
          <p:cNvPr id="91" name="Group 90">
            <a:extLst>
              <a:ext uri="{FF2B5EF4-FFF2-40B4-BE49-F238E27FC236}">
                <a16:creationId xmlns:a16="http://schemas.microsoft.com/office/drawing/2014/main" id="{AE693C98-84EF-D0CA-8075-7082E9D6AC95}"/>
              </a:ext>
            </a:extLst>
          </p:cNvPr>
          <p:cNvGrpSpPr/>
          <p:nvPr/>
        </p:nvGrpSpPr>
        <p:grpSpPr>
          <a:xfrm>
            <a:off x="3602523" y="3071401"/>
            <a:ext cx="430589" cy="432001"/>
            <a:chOff x="3602523" y="3080109"/>
            <a:chExt cx="430589" cy="432001"/>
          </a:xfrm>
        </p:grpSpPr>
        <p:sp>
          <p:nvSpPr>
            <p:cNvPr id="74" name="Oval 73">
              <a:extLst>
                <a:ext uri="{FF2B5EF4-FFF2-40B4-BE49-F238E27FC236}">
                  <a16:creationId xmlns:a16="http://schemas.microsoft.com/office/drawing/2014/main" id="{06371976-FCE5-9C8C-5673-16947F6D893D}"/>
                </a:ext>
              </a:extLst>
            </p:cNvPr>
            <p:cNvSpPr/>
            <p:nvPr/>
          </p:nvSpPr>
          <p:spPr>
            <a:xfrm>
              <a:off x="3662479" y="3129907"/>
              <a:ext cx="332404" cy="3324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afik 64">
              <a:extLst>
                <a:ext uri="{FF2B5EF4-FFF2-40B4-BE49-F238E27FC236}">
                  <a16:creationId xmlns:a16="http://schemas.microsoft.com/office/drawing/2014/main" id="{C62506C3-9C29-4433-7B2E-2B92718E51B1}"/>
                </a:ext>
              </a:extLst>
            </p:cNvPr>
            <p:cNvGrpSpPr/>
            <p:nvPr/>
          </p:nvGrpSpPr>
          <p:grpSpPr>
            <a:xfrm rot="1323096">
              <a:off x="3602523" y="3080109"/>
              <a:ext cx="430589" cy="432001"/>
              <a:chOff x="2939022" y="4455366"/>
              <a:chExt cx="503447" cy="505097"/>
            </a:xfrm>
            <a:solidFill>
              <a:schemeClr val="accent1"/>
            </a:solidFill>
          </p:grpSpPr>
          <p:sp>
            <p:nvSpPr>
              <p:cNvPr id="23" name="Freihandform 96">
                <a:extLst>
                  <a:ext uri="{FF2B5EF4-FFF2-40B4-BE49-F238E27FC236}">
                    <a16:creationId xmlns:a16="http://schemas.microsoft.com/office/drawing/2014/main" id="{AE793856-659D-84CF-10E3-C18DCA1513A5}"/>
                  </a:ext>
                </a:extLst>
              </p:cNvPr>
              <p:cNvSpPr>
                <a:spLocks noChangeAspect="1"/>
              </p:cNvSpPr>
              <p:nvPr/>
            </p:nvSpPr>
            <p:spPr>
              <a:xfrm>
                <a:off x="3149689" y="4876280"/>
                <a:ext cx="84171" cy="84183"/>
              </a:xfrm>
              <a:custGeom>
                <a:avLst/>
                <a:gdLst>
                  <a:gd name="connsiteX0" fmla="*/ 0 w 42085"/>
                  <a:gd name="connsiteY0" fmla="*/ 21046 h 42091"/>
                  <a:gd name="connsiteX1" fmla="*/ 21046 w 42085"/>
                  <a:gd name="connsiteY1" fmla="*/ 0 h 42091"/>
                  <a:gd name="connsiteX2" fmla="*/ 42085 w 42085"/>
                  <a:gd name="connsiteY2" fmla="*/ 21046 h 42091"/>
                  <a:gd name="connsiteX3" fmla="*/ 21046 w 42085"/>
                  <a:gd name="connsiteY3" fmla="*/ 42091 h 42091"/>
                  <a:gd name="connsiteX4" fmla="*/ 0 w 42085"/>
                  <a:gd name="connsiteY4" fmla="*/ 21046 h 42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85" h="42091">
                    <a:moveTo>
                      <a:pt x="0" y="21046"/>
                    </a:moveTo>
                    <a:cubicBezTo>
                      <a:pt x="0" y="9471"/>
                      <a:pt x="9357" y="0"/>
                      <a:pt x="21046" y="0"/>
                    </a:cubicBezTo>
                    <a:cubicBezTo>
                      <a:pt x="32615" y="0"/>
                      <a:pt x="42085" y="9357"/>
                      <a:pt x="42085" y="21046"/>
                    </a:cubicBezTo>
                    <a:cubicBezTo>
                      <a:pt x="42085" y="32615"/>
                      <a:pt x="32728" y="42091"/>
                      <a:pt x="21046" y="42091"/>
                    </a:cubicBezTo>
                    <a:cubicBezTo>
                      <a:pt x="9471" y="42091"/>
                      <a:pt x="0" y="32615"/>
                      <a:pt x="0" y="21046"/>
                    </a:cubicBezTo>
                    <a:close/>
                  </a:path>
                </a:pathLst>
              </a:custGeom>
              <a:grpFill/>
              <a:ln w="524" cap="flat">
                <a:noFill/>
                <a:prstDash val="solid"/>
                <a:miter/>
              </a:ln>
            </p:spPr>
            <p:txBody>
              <a:bodyPr rtlCol="0" anchor="ctr"/>
              <a:lstStyle/>
              <a:p>
                <a:endParaRPr lang="de-DE"/>
              </a:p>
            </p:txBody>
          </p:sp>
          <p:sp>
            <p:nvSpPr>
              <p:cNvPr id="24" name="Freihandform 97">
                <a:extLst>
                  <a:ext uri="{FF2B5EF4-FFF2-40B4-BE49-F238E27FC236}">
                    <a16:creationId xmlns:a16="http://schemas.microsoft.com/office/drawing/2014/main" id="{0BCD842A-2DE4-3306-BEC4-0FC52A1D1CC6}"/>
                  </a:ext>
                </a:extLst>
              </p:cNvPr>
              <p:cNvSpPr>
                <a:spLocks noChangeAspect="1"/>
              </p:cNvSpPr>
              <p:nvPr/>
            </p:nvSpPr>
            <p:spPr>
              <a:xfrm>
                <a:off x="3000898" y="4814876"/>
                <a:ext cx="84178" cy="84183"/>
              </a:xfrm>
              <a:custGeom>
                <a:avLst/>
                <a:gdLst>
                  <a:gd name="connsiteX0" fmla="*/ 6206 w 42045"/>
                  <a:gd name="connsiteY0" fmla="*/ 35937 h 42047"/>
                  <a:gd name="connsiteX1" fmla="*/ 6101 w 42045"/>
                  <a:gd name="connsiteY1" fmla="*/ 6157 h 42047"/>
                  <a:gd name="connsiteX2" fmla="*/ 35882 w 42045"/>
                  <a:gd name="connsiteY2" fmla="*/ 6157 h 42047"/>
                  <a:gd name="connsiteX3" fmla="*/ 35987 w 42045"/>
                  <a:gd name="connsiteY3" fmla="*/ 35824 h 42047"/>
                  <a:gd name="connsiteX4" fmla="*/ 21045 w 42045"/>
                  <a:gd name="connsiteY4" fmla="*/ 42047 h 42047"/>
                  <a:gd name="connsiteX5" fmla="*/ 6207 w 42045"/>
                  <a:gd name="connsiteY5" fmla="*/ 35937 h 42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045" h="42047">
                    <a:moveTo>
                      <a:pt x="6206" y="35937"/>
                    </a:moveTo>
                    <a:cubicBezTo>
                      <a:pt x="-1994" y="27723"/>
                      <a:pt x="-2107" y="14366"/>
                      <a:pt x="6101" y="6157"/>
                    </a:cubicBezTo>
                    <a:cubicBezTo>
                      <a:pt x="14302" y="-2052"/>
                      <a:pt x="27673" y="-2052"/>
                      <a:pt x="35882" y="6157"/>
                    </a:cubicBezTo>
                    <a:cubicBezTo>
                      <a:pt x="44083" y="14366"/>
                      <a:pt x="44083" y="27630"/>
                      <a:pt x="35987" y="35824"/>
                    </a:cubicBezTo>
                    <a:cubicBezTo>
                      <a:pt x="31883" y="40048"/>
                      <a:pt x="26412" y="42047"/>
                      <a:pt x="21045" y="42047"/>
                    </a:cubicBezTo>
                    <a:cubicBezTo>
                      <a:pt x="15677" y="42039"/>
                      <a:pt x="10311" y="40040"/>
                      <a:pt x="6207" y="35937"/>
                    </a:cubicBezTo>
                    <a:close/>
                  </a:path>
                </a:pathLst>
              </a:custGeom>
              <a:grpFill/>
              <a:ln w="524" cap="flat">
                <a:noFill/>
                <a:prstDash val="solid"/>
                <a:miter/>
              </a:ln>
            </p:spPr>
            <p:txBody>
              <a:bodyPr rtlCol="0" anchor="ctr"/>
              <a:lstStyle/>
              <a:p>
                <a:endParaRPr lang="de-DE"/>
              </a:p>
            </p:txBody>
          </p:sp>
          <p:sp>
            <p:nvSpPr>
              <p:cNvPr id="25" name="Freihandform 98">
                <a:extLst>
                  <a:ext uri="{FF2B5EF4-FFF2-40B4-BE49-F238E27FC236}">
                    <a16:creationId xmlns:a16="http://schemas.microsoft.com/office/drawing/2014/main" id="{7E78F3A5-337C-B19C-8E41-41B0F0215E39}"/>
                  </a:ext>
                </a:extLst>
              </p:cNvPr>
              <p:cNvSpPr>
                <a:spLocks noChangeAspect="1"/>
              </p:cNvSpPr>
              <p:nvPr/>
            </p:nvSpPr>
            <p:spPr>
              <a:xfrm>
                <a:off x="3298334" y="4814559"/>
                <a:ext cx="84244" cy="84183"/>
              </a:xfrm>
              <a:custGeom>
                <a:avLst/>
                <a:gdLst>
                  <a:gd name="connsiteX0" fmla="*/ 6250 w 42074"/>
                  <a:gd name="connsiteY0" fmla="*/ 35933 h 42043"/>
                  <a:gd name="connsiteX1" fmla="*/ 6131 w 42074"/>
                  <a:gd name="connsiteY1" fmla="*/ 6161 h 42043"/>
                  <a:gd name="connsiteX2" fmla="*/ 35917 w 42074"/>
                  <a:gd name="connsiteY2" fmla="*/ 6161 h 42043"/>
                  <a:gd name="connsiteX3" fmla="*/ 35917 w 42074"/>
                  <a:gd name="connsiteY3" fmla="*/ 35933 h 42043"/>
                  <a:gd name="connsiteX4" fmla="*/ 21081 w 42074"/>
                  <a:gd name="connsiteY4" fmla="*/ 42043 h 42043"/>
                  <a:gd name="connsiteX5" fmla="*/ 6250 w 42074"/>
                  <a:gd name="connsiteY5" fmla="*/ 35933 h 42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074" h="42043">
                    <a:moveTo>
                      <a:pt x="6250" y="35933"/>
                    </a:moveTo>
                    <a:cubicBezTo>
                      <a:pt x="-2063" y="27724"/>
                      <a:pt x="-2063" y="14368"/>
                      <a:pt x="6131" y="6161"/>
                    </a:cubicBezTo>
                    <a:cubicBezTo>
                      <a:pt x="14346" y="-2054"/>
                      <a:pt x="27709" y="-2054"/>
                      <a:pt x="35917" y="6161"/>
                    </a:cubicBezTo>
                    <a:cubicBezTo>
                      <a:pt x="44126" y="14370"/>
                      <a:pt x="44126" y="27727"/>
                      <a:pt x="35917" y="35933"/>
                    </a:cubicBezTo>
                    <a:cubicBezTo>
                      <a:pt x="31813" y="40038"/>
                      <a:pt x="26447" y="42043"/>
                      <a:pt x="21081" y="42043"/>
                    </a:cubicBezTo>
                    <a:cubicBezTo>
                      <a:pt x="15713" y="42043"/>
                      <a:pt x="10354" y="40035"/>
                      <a:pt x="6250" y="35933"/>
                    </a:cubicBezTo>
                    <a:close/>
                  </a:path>
                </a:pathLst>
              </a:custGeom>
              <a:grpFill/>
              <a:ln w="524" cap="flat">
                <a:noFill/>
                <a:prstDash val="solid"/>
                <a:miter/>
              </a:ln>
            </p:spPr>
            <p:txBody>
              <a:bodyPr rtlCol="0" anchor="ctr"/>
              <a:lstStyle/>
              <a:p>
                <a:endParaRPr lang="de-DE"/>
              </a:p>
            </p:txBody>
          </p:sp>
          <p:sp>
            <p:nvSpPr>
              <p:cNvPr id="26" name="Freihandform 99">
                <a:extLst>
                  <a:ext uri="{FF2B5EF4-FFF2-40B4-BE49-F238E27FC236}">
                    <a16:creationId xmlns:a16="http://schemas.microsoft.com/office/drawing/2014/main" id="{654D56CB-C366-1301-A2C6-615A511D6636}"/>
                  </a:ext>
                </a:extLst>
              </p:cNvPr>
              <p:cNvSpPr/>
              <p:nvPr/>
            </p:nvSpPr>
            <p:spPr>
              <a:xfrm>
                <a:off x="2939022" y="4666245"/>
                <a:ext cx="84183" cy="84183"/>
              </a:xfrm>
              <a:custGeom>
                <a:avLst/>
                <a:gdLst>
                  <a:gd name="connsiteX0" fmla="*/ 0 w 42091"/>
                  <a:gd name="connsiteY0" fmla="*/ 21150 h 42091"/>
                  <a:gd name="connsiteX1" fmla="*/ 21046 w 42091"/>
                  <a:gd name="connsiteY1" fmla="*/ 0 h 42091"/>
                  <a:gd name="connsiteX2" fmla="*/ 42091 w 42091"/>
                  <a:gd name="connsiteY2" fmla="*/ 21046 h 42091"/>
                  <a:gd name="connsiteX3" fmla="*/ 21046 w 42091"/>
                  <a:gd name="connsiteY3" fmla="*/ 42091 h 42091"/>
                  <a:gd name="connsiteX4" fmla="*/ 0 w 42091"/>
                  <a:gd name="connsiteY4" fmla="*/ 21150 h 42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1" h="42091">
                    <a:moveTo>
                      <a:pt x="0" y="21150"/>
                    </a:moveTo>
                    <a:cubicBezTo>
                      <a:pt x="0" y="9471"/>
                      <a:pt x="9357" y="0"/>
                      <a:pt x="21046" y="0"/>
                    </a:cubicBezTo>
                    <a:cubicBezTo>
                      <a:pt x="32615" y="0"/>
                      <a:pt x="42091" y="9357"/>
                      <a:pt x="42091" y="21046"/>
                    </a:cubicBezTo>
                    <a:cubicBezTo>
                      <a:pt x="42091" y="32615"/>
                      <a:pt x="32726" y="42091"/>
                      <a:pt x="21046" y="42091"/>
                    </a:cubicBezTo>
                    <a:cubicBezTo>
                      <a:pt x="9471" y="42098"/>
                      <a:pt x="0" y="32726"/>
                      <a:pt x="0" y="21150"/>
                    </a:cubicBezTo>
                    <a:close/>
                  </a:path>
                </a:pathLst>
              </a:custGeom>
              <a:grpFill/>
              <a:ln w="524" cap="flat">
                <a:noFill/>
                <a:prstDash val="solid"/>
                <a:miter/>
              </a:ln>
            </p:spPr>
            <p:txBody>
              <a:bodyPr rtlCol="0" anchor="ctr"/>
              <a:lstStyle/>
              <a:p>
                <a:endParaRPr lang="de-DE"/>
              </a:p>
            </p:txBody>
          </p:sp>
          <p:sp>
            <p:nvSpPr>
              <p:cNvPr id="27" name="Freihandform 100">
                <a:extLst>
                  <a:ext uri="{FF2B5EF4-FFF2-40B4-BE49-F238E27FC236}">
                    <a16:creationId xmlns:a16="http://schemas.microsoft.com/office/drawing/2014/main" id="{A7B441C5-A506-ACA1-8652-C20389300955}"/>
                  </a:ext>
                </a:extLst>
              </p:cNvPr>
              <p:cNvSpPr>
                <a:spLocks noChangeAspect="1"/>
              </p:cNvSpPr>
              <p:nvPr/>
            </p:nvSpPr>
            <p:spPr>
              <a:xfrm>
                <a:off x="3359933" y="4664980"/>
                <a:ext cx="82536" cy="84183"/>
              </a:xfrm>
              <a:custGeom>
                <a:avLst/>
                <a:gdLst>
                  <a:gd name="connsiteX0" fmla="*/ 1 w 42092"/>
                  <a:gd name="connsiteY0" fmla="*/ 21887 h 42932"/>
                  <a:gd name="connsiteX1" fmla="*/ 1 w 42092"/>
                  <a:gd name="connsiteY1" fmla="*/ 21151 h 42932"/>
                  <a:gd name="connsiteX2" fmla="*/ 20942 w 42092"/>
                  <a:gd name="connsiteY2" fmla="*/ 1 h 42932"/>
                  <a:gd name="connsiteX3" fmla="*/ 42092 w 42092"/>
                  <a:gd name="connsiteY3" fmla="*/ 20934 h 42932"/>
                  <a:gd name="connsiteX4" fmla="*/ 42092 w 42092"/>
                  <a:gd name="connsiteY4" fmla="*/ 21466 h 42932"/>
                  <a:gd name="connsiteX5" fmla="*/ 42092 w 42092"/>
                  <a:gd name="connsiteY5" fmla="*/ 21887 h 42932"/>
                  <a:gd name="connsiteX6" fmla="*/ 21047 w 42092"/>
                  <a:gd name="connsiteY6" fmla="*/ 42933 h 42932"/>
                  <a:gd name="connsiteX7" fmla="*/ 1 w 42092"/>
                  <a:gd name="connsiteY7" fmla="*/ 21887 h 42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092" h="42932">
                    <a:moveTo>
                      <a:pt x="1" y="21887"/>
                    </a:moveTo>
                    <a:lnTo>
                      <a:pt x="1" y="21151"/>
                    </a:lnTo>
                    <a:cubicBezTo>
                      <a:pt x="-104" y="9472"/>
                      <a:pt x="9358" y="1"/>
                      <a:pt x="20942" y="1"/>
                    </a:cubicBezTo>
                    <a:cubicBezTo>
                      <a:pt x="32511" y="-112"/>
                      <a:pt x="41988" y="9262"/>
                      <a:pt x="42092" y="20934"/>
                    </a:cubicBezTo>
                    <a:lnTo>
                      <a:pt x="42092" y="21466"/>
                    </a:lnTo>
                    <a:lnTo>
                      <a:pt x="42092" y="21887"/>
                    </a:lnTo>
                    <a:cubicBezTo>
                      <a:pt x="42092" y="33456"/>
                      <a:pt x="32615" y="42933"/>
                      <a:pt x="21047" y="42933"/>
                    </a:cubicBezTo>
                    <a:cubicBezTo>
                      <a:pt x="9471" y="42933"/>
                      <a:pt x="1" y="33456"/>
                      <a:pt x="1" y="21887"/>
                    </a:cubicBezTo>
                    <a:close/>
                  </a:path>
                </a:pathLst>
              </a:custGeom>
              <a:grpFill/>
              <a:ln w="524" cap="flat">
                <a:noFill/>
                <a:prstDash val="solid"/>
                <a:miter/>
              </a:ln>
            </p:spPr>
            <p:txBody>
              <a:bodyPr rtlCol="0" anchor="ctr"/>
              <a:lstStyle/>
              <a:p>
                <a:endParaRPr lang="de-DE"/>
              </a:p>
            </p:txBody>
          </p:sp>
          <p:sp>
            <p:nvSpPr>
              <p:cNvPr id="28" name="Freihandform 101">
                <a:extLst>
                  <a:ext uri="{FF2B5EF4-FFF2-40B4-BE49-F238E27FC236}">
                    <a16:creationId xmlns:a16="http://schemas.microsoft.com/office/drawing/2014/main" id="{E5DA3197-74B3-E9F9-70E7-353AEBD57491}"/>
                  </a:ext>
                </a:extLst>
              </p:cNvPr>
              <p:cNvSpPr/>
              <p:nvPr/>
            </p:nvSpPr>
            <p:spPr>
              <a:xfrm>
                <a:off x="3000261" y="4517395"/>
                <a:ext cx="84183" cy="84183"/>
              </a:xfrm>
              <a:custGeom>
                <a:avLst/>
                <a:gdLst>
                  <a:gd name="connsiteX0" fmla="*/ 6206 w 42090"/>
                  <a:gd name="connsiteY0" fmla="*/ 35937 h 42041"/>
                  <a:gd name="connsiteX1" fmla="*/ 6101 w 42090"/>
                  <a:gd name="connsiteY1" fmla="*/ 6157 h 42041"/>
                  <a:gd name="connsiteX2" fmla="*/ 6206 w 42090"/>
                  <a:gd name="connsiteY2" fmla="*/ 6157 h 42041"/>
                  <a:gd name="connsiteX3" fmla="*/ 35880 w 42090"/>
                  <a:gd name="connsiteY3" fmla="*/ 6157 h 42041"/>
                  <a:gd name="connsiteX4" fmla="*/ 35984 w 42090"/>
                  <a:gd name="connsiteY4" fmla="*/ 35937 h 42041"/>
                  <a:gd name="connsiteX5" fmla="*/ 21043 w 42090"/>
                  <a:gd name="connsiteY5" fmla="*/ 42042 h 42041"/>
                  <a:gd name="connsiteX6" fmla="*/ 6206 w 42090"/>
                  <a:gd name="connsiteY6" fmla="*/ 35937 h 4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90" h="42041">
                    <a:moveTo>
                      <a:pt x="6206" y="35937"/>
                    </a:moveTo>
                    <a:cubicBezTo>
                      <a:pt x="-1994" y="27728"/>
                      <a:pt x="-2107" y="14470"/>
                      <a:pt x="6101" y="6157"/>
                    </a:cubicBezTo>
                    <a:lnTo>
                      <a:pt x="6206" y="6157"/>
                    </a:lnTo>
                    <a:cubicBezTo>
                      <a:pt x="14308" y="-2052"/>
                      <a:pt x="27679" y="-2052"/>
                      <a:pt x="35880" y="6157"/>
                    </a:cubicBezTo>
                    <a:cubicBezTo>
                      <a:pt x="44088" y="14258"/>
                      <a:pt x="44199" y="27630"/>
                      <a:pt x="35984" y="35937"/>
                    </a:cubicBezTo>
                    <a:cubicBezTo>
                      <a:pt x="31880" y="40042"/>
                      <a:pt x="26514" y="42042"/>
                      <a:pt x="21043" y="42042"/>
                    </a:cubicBezTo>
                    <a:cubicBezTo>
                      <a:pt x="15683" y="42033"/>
                      <a:pt x="10316" y="40042"/>
                      <a:pt x="6206" y="35937"/>
                    </a:cubicBezTo>
                    <a:close/>
                  </a:path>
                </a:pathLst>
              </a:custGeom>
              <a:grpFill/>
              <a:ln w="524" cap="flat">
                <a:noFill/>
                <a:prstDash val="solid"/>
                <a:miter/>
              </a:ln>
            </p:spPr>
            <p:txBody>
              <a:bodyPr rtlCol="0" anchor="ctr"/>
              <a:lstStyle/>
              <a:p>
                <a:endParaRPr lang="de-DE"/>
              </a:p>
            </p:txBody>
          </p:sp>
          <p:sp>
            <p:nvSpPr>
              <p:cNvPr id="29" name="Freihandform 102">
                <a:extLst>
                  <a:ext uri="{FF2B5EF4-FFF2-40B4-BE49-F238E27FC236}">
                    <a16:creationId xmlns:a16="http://schemas.microsoft.com/office/drawing/2014/main" id="{A64A65C1-6406-A97B-4174-F22C21E82046}"/>
                  </a:ext>
                </a:extLst>
              </p:cNvPr>
              <p:cNvSpPr>
                <a:spLocks noChangeAspect="1"/>
              </p:cNvSpPr>
              <p:nvPr/>
            </p:nvSpPr>
            <p:spPr>
              <a:xfrm>
                <a:off x="3297743" y="4516462"/>
                <a:ext cx="84113" cy="84183"/>
              </a:xfrm>
              <a:custGeom>
                <a:avLst/>
                <a:gdLst>
                  <a:gd name="connsiteX0" fmla="*/ 6211 w 42098"/>
                  <a:gd name="connsiteY0" fmla="*/ 36029 h 42133"/>
                  <a:gd name="connsiteX1" fmla="*/ 6107 w 42098"/>
                  <a:gd name="connsiteY1" fmla="*/ 6248 h 42133"/>
                  <a:gd name="connsiteX2" fmla="*/ 35887 w 42098"/>
                  <a:gd name="connsiteY2" fmla="*/ 6144 h 42133"/>
                  <a:gd name="connsiteX3" fmla="*/ 35992 w 42098"/>
                  <a:gd name="connsiteY3" fmla="*/ 35924 h 42133"/>
                  <a:gd name="connsiteX4" fmla="*/ 21051 w 42098"/>
                  <a:gd name="connsiteY4" fmla="*/ 42133 h 42133"/>
                  <a:gd name="connsiteX5" fmla="*/ 6212 w 42098"/>
                  <a:gd name="connsiteY5" fmla="*/ 36029 h 4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098" h="42133">
                    <a:moveTo>
                      <a:pt x="6211" y="36029"/>
                    </a:moveTo>
                    <a:cubicBezTo>
                      <a:pt x="-1997" y="27820"/>
                      <a:pt x="-2108" y="14457"/>
                      <a:pt x="6107" y="6248"/>
                    </a:cubicBezTo>
                    <a:cubicBezTo>
                      <a:pt x="14321" y="-2065"/>
                      <a:pt x="27678" y="-2065"/>
                      <a:pt x="35887" y="6144"/>
                    </a:cubicBezTo>
                    <a:cubicBezTo>
                      <a:pt x="44096" y="14352"/>
                      <a:pt x="44207" y="27611"/>
                      <a:pt x="35992" y="35924"/>
                    </a:cubicBezTo>
                    <a:cubicBezTo>
                      <a:pt x="31888" y="40029"/>
                      <a:pt x="26515" y="42133"/>
                      <a:pt x="21051" y="42133"/>
                    </a:cubicBezTo>
                    <a:cubicBezTo>
                      <a:pt x="15683" y="42131"/>
                      <a:pt x="10308" y="40027"/>
                      <a:pt x="6212" y="36029"/>
                    </a:cubicBezTo>
                    <a:close/>
                  </a:path>
                </a:pathLst>
              </a:custGeom>
              <a:grpFill/>
              <a:ln w="524" cap="flat">
                <a:noFill/>
                <a:prstDash val="solid"/>
                <a:miter/>
              </a:ln>
            </p:spPr>
            <p:txBody>
              <a:bodyPr rtlCol="0" anchor="ctr"/>
              <a:lstStyle/>
              <a:p>
                <a:endParaRPr lang="de-DE"/>
              </a:p>
            </p:txBody>
          </p:sp>
          <p:sp>
            <p:nvSpPr>
              <p:cNvPr id="30" name="Freihandform 103">
                <a:extLst>
                  <a:ext uri="{FF2B5EF4-FFF2-40B4-BE49-F238E27FC236}">
                    <a16:creationId xmlns:a16="http://schemas.microsoft.com/office/drawing/2014/main" id="{CC6DE20E-FAE4-E601-603B-EDA76C9C277E}"/>
                  </a:ext>
                </a:extLst>
              </p:cNvPr>
              <p:cNvSpPr>
                <a:spLocks noChangeAspect="1"/>
              </p:cNvSpPr>
              <p:nvPr/>
            </p:nvSpPr>
            <p:spPr>
              <a:xfrm>
                <a:off x="3148845" y="4455366"/>
                <a:ext cx="84185" cy="84183"/>
              </a:xfrm>
              <a:custGeom>
                <a:avLst/>
                <a:gdLst>
                  <a:gd name="connsiteX0" fmla="*/ 1 w 42092"/>
                  <a:gd name="connsiteY0" fmla="*/ 21150 h 42091"/>
                  <a:gd name="connsiteX1" fmla="*/ 20942 w 42092"/>
                  <a:gd name="connsiteY1" fmla="*/ 0 h 42091"/>
                  <a:gd name="connsiteX2" fmla="*/ 42092 w 42092"/>
                  <a:gd name="connsiteY2" fmla="*/ 20933 h 42091"/>
                  <a:gd name="connsiteX3" fmla="*/ 21053 w 42092"/>
                  <a:gd name="connsiteY3" fmla="*/ 42091 h 42091"/>
                  <a:gd name="connsiteX4" fmla="*/ 1 w 42092"/>
                  <a:gd name="connsiteY4" fmla="*/ 21150 h 42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2" h="42091">
                    <a:moveTo>
                      <a:pt x="1" y="21150"/>
                    </a:moveTo>
                    <a:cubicBezTo>
                      <a:pt x="-104" y="9471"/>
                      <a:pt x="9358" y="0"/>
                      <a:pt x="20942" y="0"/>
                    </a:cubicBezTo>
                    <a:cubicBezTo>
                      <a:pt x="32630" y="0"/>
                      <a:pt x="41988" y="9357"/>
                      <a:pt x="42092" y="20933"/>
                    </a:cubicBezTo>
                    <a:cubicBezTo>
                      <a:pt x="42092" y="32612"/>
                      <a:pt x="32726" y="42091"/>
                      <a:pt x="21053" y="42091"/>
                    </a:cubicBezTo>
                    <a:cubicBezTo>
                      <a:pt x="9358" y="42091"/>
                      <a:pt x="1" y="32726"/>
                      <a:pt x="1" y="21150"/>
                    </a:cubicBezTo>
                    <a:close/>
                  </a:path>
                </a:pathLst>
              </a:custGeom>
              <a:grpFill/>
              <a:ln w="524" cap="flat">
                <a:noFill/>
                <a:prstDash val="solid"/>
                <a:miter/>
              </a:ln>
            </p:spPr>
            <p:txBody>
              <a:bodyPr rtlCol="0" anchor="ctr"/>
              <a:lstStyle/>
              <a:p>
                <a:endParaRPr lang="de-DE"/>
              </a:p>
            </p:txBody>
          </p:sp>
        </p:grpSp>
      </p:grpSp>
      <p:grpSp>
        <p:nvGrpSpPr>
          <p:cNvPr id="92" name="Group 91">
            <a:extLst>
              <a:ext uri="{FF2B5EF4-FFF2-40B4-BE49-F238E27FC236}">
                <a16:creationId xmlns:a16="http://schemas.microsoft.com/office/drawing/2014/main" id="{111ACD32-7EA8-8330-1744-F493EDDC6F37}"/>
              </a:ext>
            </a:extLst>
          </p:cNvPr>
          <p:cNvGrpSpPr/>
          <p:nvPr/>
        </p:nvGrpSpPr>
        <p:grpSpPr>
          <a:xfrm>
            <a:off x="5036794" y="3071401"/>
            <a:ext cx="430589" cy="432001"/>
            <a:chOff x="5036794" y="3080109"/>
            <a:chExt cx="430589" cy="432001"/>
          </a:xfrm>
        </p:grpSpPr>
        <p:sp>
          <p:nvSpPr>
            <p:cNvPr id="75" name="Oval 74">
              <a:extLst>
                <a:ext uri="{FF2B5EF4-FFF2-40B4-BE49-F238E27FC236}">
                  <a16:creationId xmlns:a16="http://schemas.microsoft.com/office/drawing/2014/main" id="{E337A163-586A-B1D4-6FB3-57397B11F67C}"/>
                </a:ext>
              </a:extLst>
            </p:cNvPr>
            <p:cNvSpPr/>
            <p:nvPr/>
          </p:nvSpPr>
          <p:spPr>
            <a:xfrm>
              <a:off x="5096750" y="3129907"/>
              <a:ext cx="332404" cy="3324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1" name="Grafik 64">
              <a:extLst>
                <a:ext uri="{FF2B5EF4-FFF2-40B4-BE49-F238E27FC236}">
                  <a16:creationId xmlns:a16="http://schemas.microsoft.com/office/drawing/2014/main" id="{83A8C898-B418-68B5-D06B-9A7DDE5A9AE0}"/>
                </a:ext>
              </a:extLst>
            </p:cNvPr>
            <p:cNvGrpSpPr/>
            <p:nvPr/>
          </p:nvGrpSpPr>
          <p:grpSpPr>
            <a:xfrm rot="1323096">
              <a:off x="5036794" y="3080109"/>
              <a:ext cx="430589" cy="432001"/>
              <a:chOff x="2939022" y="4455366"/>
              <a:chExt cx="503447" cy="505097"/>
            </a:xfrm>
            <a:solidFill>
              <a:schemeClr val="accent1"/>
            </a:solidFill>
          </p:grpSpPr>
          <p:sp>
            <p:nvSpPr>
              <p:cNvPr id="32" name="Freihandform 107">
                <a:extLst>
                  <a:ext uri="{FF2B5EF4-FFF2-40B4-BE49-F238E27FC236}">
                    <a16:creationId xmlns:a16="http://schemas.microsoft.com/office/drawing/2014/main" id="{EF847D64-4185-153E-E836-35515B551B15}"/>
                  </a:ext>
                </a:extLst>
              </p:cNvPr>
              <p:cNvSpPr>
                <a:spLocks noChangeAspect="1"/>
              </p:cNvSpPr>
              <p:nvPr/>
            </p:nvSpPr>
            <p:spPr>
              <a:xfrm>
                <a:off x="3149689" y="4876280"/>
                <a:ext cx="84171" cy="84183"/>
              </a:xfrm>
              <a:custGeom>
                <a:avLst/>
                <a:gdLst>
                  <a:gd name="connsiteX0" fmla="*/ 0 w 42085"/>
                  <a:gd name="connsiteY0" fmla="*/ 21046 h 42091"/>
                  <a:gd name="connsiteX1" fmla="*/ 21046 w 42085"/>
                  <a:gd name="connsiteY1" fmla="*/ 0 h 42091"/>
                  <a:gd name="connsiteX2" fmla="*/ 42085 w 42085"/>
                  <a:gd name="connsiteY2" fmla="*/ 21046 h 42091"/>
                  <a:gd name="connsiteX3" fmla="*/ 21046 w 42085"/>
                  <a:gd name="connsiteY3" fmla="*/ 42091 h 42091"/>
                  <a:gd name="connsiteX4" fmla="*/ 0 w 42085"/>
                  <a:gd name="connsiteY4" fmla="*/ 21046 h 42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85" h="42091">
                    <a:moveTo>
                      <a:pt x="0" y="21046"/>
                    </a:moveTo>
                    <a:cubicBezTo>
                      <a:pt x="0" y="9471"/>
                      <a:pt x="9357" y="0"/>
                      <a:pt x="21046" y="0"/>
                    </a:cubicBezTo>
                    <a:cubicBezTo>
                      <a:pt x="32615" y="0"/>
                      <a:pt x="42085" y="9357"/>
                      <a:pt x="42085" y="21046"/>
                    </a:cubicBezTo>
                    <a:cubicBezTo>
                      <a:pt x="42085" y="32615"/>
                      <a:pt x="32728" y="42091"/>
                      <a:pt x="21046" y="42091"/>
                    </a:cubicBezTo>
                    <a:cubicBezTo>
                      <a:pt x="9471" y="42091"/>
                      <a:pt x="0" y="32615"/>
                      <a:pt x="0" y="21046"/>
                    </a:cubicBezTo>
                    <a:close/>
                  </a:path>
                </a:pathLst>
              </a:custGeom>
              <a:grpFill/>
              <a:ln w="524" cap="flat">
                <a:noFill/>
                <a:prstDash val="solid"/>
                <a:miter/>
              </a:ln>
            </p:spPr>
            <p:txBody>
              <a:bodyPr rtlCol="0" anchor="ctr"/>
              <a:lstStyle/>
              <a:p>
                <a:endParaRPr lang="de-DE"/>
              </a:p>
            </p:txBody>
          </p:sp>
          <p:sp>
            <p:nvSpPr>
              <p:cNvPr id="33" name="Freihandform 108">
                <a:extLst>
                  <a:ext uri="{FF2B5EF4-FFF2-40B4-BE49-F238E27FC236}">
                    <a16:creationId xmlns:a16="http://schemas.microsoft.com/office/drawing/2014/main" id="{D025A538-D983-F39E-A348-077DE10581DF}"/>
                  </a:ext>
                </a:extLst>
              </p:cNvPr>
              <p:cNvSpPr>
                <a:spLocks noChangeAspect="1"/>
              </p:cNvSpPr>
              <p:nvPr/>
            </p:nvSpPr>
            <p:spPr>
              <a:xfrm>
                <a:off x="3000898" y="4814876"/>
                <a:ext cx="84178" cy="84183"/>
              </a:xfrm>
              <a:custGeom>
                <a:avLst/>
                <a:gdLst>
                  <a:gd name="connsiteX0" fmla="*/ 6206 w 42045"/>
                  <a:gd name="connsiteY0" fmla="*/ 35937 h 42047"/>
                  <a:gd name="connsiteX1" fmla="*/ 6101 w 42045"/>
                  <a:gd name="connsiteY1" fmla="*/ 6157 h 42047"/>
                  <a:gd name="connsiteX2" fmla="*/ 35882 w 42045"/>
                  <a:gd name="connsiteY2" fmla="*/ 6157 h 42047"/>
                  <a:gd name="connsiteX3" fmla="*/ 35987 w 42045"/>
                  <a:gd name="connsiteY3" fmla="*/ 35824 h 42047"/>
                  <a:gd name="connsiteX4" fmla="*/ 21045 w 42045"/>
                  <a:gd name="connsiteY4" fmla="*/ 42047 h 42047"/>
                  <a:gd name="connsiteX5" fmla="*/ 6207 w 42045"/>
                  <a:gd name="connsiteY5" fmla="*/ 35937 h 42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045" h="42047">
                    <a:moveTo>
                      <a:pt x="6206" y="35937"/>
                    </a:moveTo>
                    <a:cubicBezTo>
                      <a:pt x="-1994" y="27723"/>
                      <a:pt x="-2107" y="14366"/>
                      <a:pt x="6101" y="6157"/>
                    </a:cubicBezTo>
                    <a:cubicBezTo>
                      <a:pt x="14302" y="-2052"/>
                      <a:pt x="27673" y="-2052"/>
                      <a:pt x="35882" y="6157"/>
                    </a:cubicBezTo>
                    <a:cubicBezTo>
                      <a:pt x="44083" y="14366"/>
                      <a:pt x="44083" y="27630"/>
                      <a:pt x="35987" y="35824"/>
                    </a:cubicBezTo>
                    <a:cubicBezTo>
                      <a:pt x="31883" y="40048"/>
                      <a:pt x="26412" y="42047"/>
                      <a:pt x="21045" y="42047"/>
                    </a:cubicBezTo>
                    <a:cubicBezTo>
                      <a:pt x="15677" y="42039"/>
                      <a:pt x="10311" y="40040"/>
                      <a:pt x="6207" y="35937"/>
                    </a:cubicBezTo>
                    <a:close/>
                  </a:path>
                </a:pathLst>
              </a:custGeom>
              <a:grpFill/>
              <a:ln w="524" cap="flat">
                <a:noFill/>
                <a:prstDash val="solid"/>
                <a:miter/>
              </a:ln>
            </p:spPr>
            <p:txBody>
              <a:bodyPr rtlCol="0" anchor="ctr"/>
              <a:lstStyle/>
              <a:p>
                <a:endParaRPr lang="de-DE"/>
              </a:p>
            </p:txBody>
          </p:sp>
          <p:sp>
            <p:nvSpPr>
              <p:cNvPr id="34" name="Freihandform 109">
                <a:extLst>
                  <a:ext uri="{FF2B5EF4-FFF2-40B4-BE49-F238E27FC236}">
                    <a16:creationId xmlns:a16="http://schemas.microsoft.com/office/drawing/2014/main" id="{433AC41F-D6D8-033A-76BA-B24467A2E8B7}"/>
                  </a:ext>
                </a:extLst>
              </p:cNvPr>
              <p:cNvSpPr>
                <a:spLocks noChangeAspect="1"/>
              </p:cNvSpPr>
              <p:nvPr/>
            </p:nvSpPr>
            <p:spPr>
              <a:xfrm>
                <a:off x="3298334" y="4814559"/>
                <a:ext cx="84244" cy="84183"/>
              </a:xfrm>
              <a:custGeom>
                <a:avLst/>
                <a:gdLst>
                  <a:gd name="connsiteX0" fmla="*/ 6250 w 42074"/>
                  <a:gd name="connsiteY0" fmla="*/ 35933 h 42043"/>
                  <a:gd name="connsiteX1" fmla="*/ 6131 w 42074"/>
                  <a:gd name="connsiteY1" fmla="*/ 6161 h 42043"/>
                  <a:gd name="connsiteX2" fmla="*/ 35917 w 42074"/>
                  <a:gd name="connsiteY2" fmla="*/ 6161 h 42043"/>
                  <a:gd name="connsiteX3" fmla="*/ 35917 w 42074"/>
                  <a:gd name="connsiteY3" fmla="*/ 35933 h 42043"/>
                  <a:gd name="connsiteX4" fmla="*/ 21081 w 42074"/>
                  <a:gd name="connsiteY4" fmla="*/ 42043 h 42043"/>
                  <a:gd name="connsiteX5" fmla="*/ 6250 w 42074"/>
                  <a:gd name="connsiteY5" fmla="*/ 35933 h 42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074" h="42043">
                    <a:moveTo>
                      <a:pt x="6250" y="35933"/>
                    </a:moveTo>
                    <a:cubicBezTo>
                      <a:pt x="-2063" y="27724"/>
                      <a:pt x="-2063" y="14368"/>
                      <a:pt x="6131" y="6161"/>
                    </a:cubicBezTo>
                    <a:cubicBezTo>
                      <a:pt x="14346" y="-2054"/>
                      <a:pt x="27709" y="-2054"/>
                      <a:pt x="35917" y="6161"/>
                    </a:cubicBezTo>
                    <a:cubicBezTo>
                      <a:pt x="44126" y="14370"/>
                      <a:pt x="44126" y="27727"/>
                      <a:pt x="35917" y="35933"/>
                    </a:cubicBezTo>
                    <a:cubicBezTo>
                      <a:pt x="31813" y="40038"/>
                      <a:pt x="26447" y="42043"/>
                      <a:pt x="21081" y="42043"/>
                    </a:cubicBezTo>
                    <a:cubicBezTo>
                      <a:pt x="15713" y="42043"/>
                      <a:pt x="10354" y="40035"/>
                      <a:pt x="6250" y="35933"/>
                    </a:cubicBezTo>
                    <a:close/>
                  </a:path>
                </a:pathLst>
              </a:custGeom>
              <a:grpFill/>
              <a:ln w="524" cap="flat">
                <a:noFill/>
                <a:prstDash val="solid"/>
                <a:miter/>
              </a:ln>
            </p:spPr>
            <p:txBody>
              <a:bodyPr rtlCol="0" anchor="ctr"/>
              <a:lstStyle/>
              <a:p>
                <a:endParaRPr lang="de-DE"/>
              </a:p>
            </p:txBody>
          </p:sp>
          <p:sp>
            <p:nvSpPr>
              <p:cNvPr id="35" name="Freihandform 110">
                <a:extLst>
                  <a:ext uri="{FF2B5EF4-FFF2-40B4-BE49-F238E27FC236}">
                    <a16:creationId xmlns:a16="http://schemas.microsoft.com/office/drawing/2014/main" id="{8DE0BD02-3FA5-81E7-605C-FB6E794F6B29}"/>
                  </a:ext>
                </a:extLst>
              </p:cNvPr>
              <p:cNvSpPr/>
              <p:nvPr/>
            </p:nvSpPr>
            <p:spPr>
              <a:xfrm>
                <a:off x="2939022" y="4666245"/>
                <a:ext cx="84183" cy="84183"/>
              </a:xfrm>
              <a:custGeom>
                <a:avLst/>
                <a:gdLst>
                  <a:gd name="connsiteX0" fmla="*/ 0 w 42091"/>
                  <a:gd name="connsiteY0" fmla="*/ 21150 h 42091"/>
                  <a:gd name="connsiteX1" fmla="*/ 21046 w 42091"/>
                  <a:gd name="connsiteY1" fmla="*/ 0 h 42091"/>
                  <a:gd name="connsiteX2" fmla="*/ 42091 w 42091"/>
                  <a:gd name="connsiteY2" fmla="*/ 21046 h 42091"/>
                  <a:gd name="connsiteX3" fmla="*/ 21046 w 42091"/>
                  <a:gd name="connsiteY3" fmla="*/ 42091 h 42091"/>
                  <a:gd name="connsiteX4" fmla="*/ 0 w 42091"/>
                  <a:gd name="connsiteY4" fmla="*/ 21150 h 42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1" h="42091">
                    <a:moveTo>
                      <a:pt x="0" y="21150"/>
                    </a:moveTo>
                    <a:cubicBezTo>
                      <a:pt x="0" y="9471"/>
                      <a:pt x="9357" y="0"/>
                      <a:pt x="21046" y="0"/>
                    </a:cubicBezTo>
                    <a:cubicBezTo>
                      <a:pt x="32615" y="0"/>
                      <a:pt x="42091" y="9357"/>
                      <a:pt x="42091" y="21046"/>
                    </a:cubicBezTo>
                    <a:cubicBezTo>
                      <a:pt x="42091" y="32615"/>
                      <a:pt x="32726" y="42091"/>
                      <a:pt x="21046" y="42091"/>
                    </a:cubicBezTo>
                    <a:cubicBezTo>
                      <a:pt x="9471" y="42098"/>
                      <a:pt x="0" y="32726"/>
                      <a:pt x="0" y="21150"/>
                    </a:cubicBezTo>
                    <a:close/>
                  </a:path>
                </a:pathLst>
              </a:custGeom>
              <a:grpFill/>
              <a:ln w="524" cap="flat">
                <a:noFill/>
                <a:prstDash val="solid"/>
                <a:miter/>
              </a:ln>
            </p:spPr>
            <p:txBody>
              <a:bodyPr rtlCol="0" anchor="ctr"/>
              <a:lstStyle/>
              <a:p>
                <a:endParaRPr lang="de-DE"/>
              </a:p>
            </p:txBody>
          </p:sp>
          <p:sp>
            <p:nvSpPr>
              <p:cNvPr id="36" name="Freihandform 111">
                <a:extLst>
                  <a:ext uri="{FF2B5EF4-FFF2-40B4-BE49-F238E27FC236}">
                    <a16:creationId xmlns:a16="http://schemas.microsoft.com/office/drawing/2014/main" id="{D4C44687-98CE-FBAC-9F28-F4C2006ADAE9}"/>
                  </a:ext>
                </a:extLst>
              </p:cNvPr>
              <p:cNvSpPr>
                <a:spLocks noChangeAspect="1"/>
              </p:cNvSpPr>
              <p:nvPr/>
            </p:nvSpPr>
            <p:spPr>
              <a:xfrm>
                <a:off x="3359933" y="4664980"/>
                <a:ext cx="82536" cy="84183"/>
              </a:xfrm>
              <a:custGeom>
                <a:avLst/>
                <a:gdLst>
                  <a:gd name="connsiteX0" fmla="*/ 1 w 42092"/>
                  <a:gd name="connsiteY0" fmla="*/ 21887 h 42932"/>
                  <a:gd name="connsiteX1" fmla="*/ 1 w 42092"/>
                  <a:gd name="connsiteY1" fmla="*/ 21151 h 42932"/>
                  <a:gd name="connsiteX2" fmla="*/ 20942 w 42092"/>
                  <a:gd name="connsiteY2" fmla="*/ 1 h 42932"/>
                  <a:gd name="connsiteX3" fmla="*/ 42092 w 42092"/>
                  <a:gd name="connsiteY3" fmla="*/ 20934 h 42932"/>
                  <a:gd name="connsiteX4" fmla="*/ 42092 w 42092"/>
                  <a:gd name="connsiteY4" fmla="*/ 21466 h 42932"/>
                  <a:gd name="connsiteX5" fmla="*/ 42092 w 42092"/>
                  <a:gd name="connsiteY5" fmla="*/ 21887 h 42932"/>
                  <a:gd name="connsiteX6" fmla="*/ 21047 w 42092"/>
                  <a:gd name="connsiteY6" fmla="*/ 42933 h 42932"/>
                  <a:gd name="connsiteX7" fmla="*/ 1 w 42092"/>
                  <a:gd name="connsiteY7" fmla="*/ 21887 h 42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092" h="42932">
                    <a:moveTo>
                      <a:pt x="1" y="21887"/>
                    </a:moveTo>
                    <a:lnTo>
                      <a:pt x="1" y="21151"/>
                    </a:lnTo>
                    <a:cubicBezTo>
                      <a:pt x="-104" y="9472"/>
                      <a:pt x="9358" y="1"/>
                      <a:pt x="20942" y="1"/>
                    </a:cubicBezTo>
                    <a:cubicBezTo>
                      <a:pt x="32511" y="-112"/>
                      <a:pt x="41988" y="9262"/>
                      <a:pt x="42092" y="20934"/>
                    </a:cubicBezTo>
                    <a:lnTo>
                      <a:pt x="42092" y="21466"/>
                    </a:lnTo>
                    <a:lnTo>
                      <a:pt x="42092" y="21887"/>
                    </a:lnTo>
                    <a:cubicBezTo>
                      <a:pt x="42092" y="33456"/>
                      <a:pt x="32615" y="42933"/>
                      <a:pt x="21047" y="42933"/>
                    </a:cubicBezTo>
                    <a:cubicBezTo>
                      <a:pt x="9471" y="42933"/>
                      <a:pt x="1" y="33456"/>
                      <a:pt x="1" y="21887"/>
                    </a:cubicBezTo>
                    <a:close/>
                  </a:path>
                </a:pathLst>
              </a:custGeom>
              <a:grpFill/>
              <a:ln w="524" cap="flat">
                <a:noFill/>
                <a:prstDash val="solid"/>
                <a:miter/>
              </a:ln>
            </p:spPr>
            <p:txBody>
              <a:bodyPr rtlCol="0" anchor="ctr"/>
              <a:lstStyle/>
              <a:p>
                <a:endParaRPr lang="de-DE"/>
              </a:p>
            </p:txBody>
          </p:sp>
          <p:sp>
            <p:nvSpPr>
              <p:cNvPr id="37" name="Freihandform 112">
                <a:extLst>
                  <a:ext uri="{FF2B5EF4-FFF2-40B4-BE49-F238E27FC236}">
                    <a16:creationId xmlns:a16="http://schemas.microsoft.com/office/drawing/2014/main" id="{D53C4CA3-5147-26B3-E5DC-970407AEF6D8}"/>
                  </a:ext>
                </a:extLst>
              </p:cNvPr>
              <p:cNvSpPr/>
              <p:nvPr/>
            </p:nvSpPr>
            <p:spPr>
              <a:xfrm>
                <a:off x="3000261" y="4517395"/>
                <a:ext cx="84183" cy="84183"/>
              </a:xfrm>
              <a:custGeom>
                <a:avLst/>
                <a:gdLst>
                  <a:gd name="connsiteX0" fmla="*/ 6206 w 42090"/>
                  <a:gd name="connsiteY0" fmla="*/ 35937 h 42041"/>
                  <a:gd name="connsiteX1" fmla="*/ 6101 w 42090"/>
                  <a:gd name="connsiteY1" fmla="*/ 6157 h 42041"/>
                  <a:gd name="connsiteX2" fmla="*/ 6206 w 42090"/>
                  <a:gd name="connsiteY2" fmla="*/ 6157 h 42041"/>
                  <a:gd name="connsiteX3" fmla="*/ 35880 w 42090"/>
                  <a:gd name="connsiteY3" fmla="*/ 6157 h 42041"/>
                  <a:gd name="connsiteX4" fmla="*/ 35984 w 42090"/>
                  <a:gd name="connsiteY4" fmla="*/ 35937 h 42041"/>
                  <a:gd name="connsiteX5" fmla="*/ 21043 w 42090"/>
                  <a:gd name="connsiteY5" fmla="*/ 42042 h 42041"/>
                  <a:gd name="connsiteX6" fmla="*/ 6206 w 42090"/>
                  <a:gd name="connsiteY6" fmla="*/ 35937 h 4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90" h="42041">
                    <a:moveTo>
                      <a:pt x="6206" y="35937"/>
                    </a:moveTo>
                    <a:cubicBezTo>
                      <a:pt x="-1994" y="27728"/>
                      <a:pt x="-2107" y="14470"/>
                      <a:pt x="6101" y="6157"/>
                    </a:cubicBezTo>
                    <a:lnTo>
                      <a:pt x="6206" y="6157"/>
                    </a:lnTo>
                    <a:cubicBezTo>
                      <a:pt x="14308" y="-2052"/>
                      <a:pt x="27679" y="-2052"/>
                      <a:pt x="35880" y="6157"/>
                    </a:cubicBezTo>
                    <a:cubicBezTo>
                      <a:pt x="44088" y="14258"/>
                      <a:pt x="44199" y="27630"/>
                      <a:pt x="35984" y="35937"/>
                    </a:cubicBezTo>
                    <a:cubicBezTo>
                      <a:pt x="31880" y="40042"/>
                      <a:pt x="26514" y="42042"/>
                      <a:pt x="21043" y="42042"/>
                    </a:cubicBezTo>
                    <a:cubicBezTo>
                      <a:pt x="15683" y="42033"/>
                      <a:pt x="10316" y="40042"/>
                      <a:pt x="6206" y="35937"/>
                    </a:cubicBezTo>
                    <a:close/>
                  </a:path>
                </a:pathLst>
              </a:custGeom>
              <a:grpFill/>
              <a:ln w="524" cap="flat">
                <a:noFill/>
                <a:prstDash val="solid"/>
                <a:miter/>
              </a:ln>
            </p:spPr>
            <p:txBody>
              <a:bodyPr rtlCol="0" anchor="ctr"/>
              <a:lstStyle/>
              <a:p>
                <a:endParaRPr lang="de-DE"/>
              </a:p>
            </p:txBody>
          </p:sp>
          <p:sp>
            <p:nvSpPr>
              <p:cNvPr id="38" name="Freihandform 113">
                <a:extLst>
                  <a:ext uri="{FF2B5EF4-FFF2-40B4-BE49-F238E27FC236}">
                    <a16:creationId xmlns:a16="http://schemas.microsoft.com/office/drawing/2014/main" id="{8D431178-38AA-54D3-B4CF-A01290ADEB82}"/>
                  </a:ext>
                </a:extLst>
              </p:cNvPr>
              <p:cNvSpPr>
                <a:spLocks noChangeAspect="1"/>
              </p:cNvSpPr>
              <p:nvPr/>
            </p:nvSpPr>
            <p:spPr>
              <a:xfrm>
                <a:off x="3297743" y="4516462"/>
                <a:ext cx="84113" cy="84183"/>
              </a:xfrm>
              <a:custGeom>
                <a:avLst/>
                <a:gdLst>
                  <a:gd name="connsiteX0" fmla="*/ 6211 w 42098"/>
                  <a:gd name="connsiteY0" fmla="*/ 36029 h 42133"/>
                  <a:gd name="connsiteX1" fmla="*/ 6107 w 42098"/>
                  <a:gd name="connsiteY1" fmla="*/ 6248 h 42133"/>
                  <a:gd name="connsiteX2" fmla="*/ 35887 w 42098"/>
                  <a:gd name="connsiteY2" fmla="*/ 6144 h 42133"/>
                  <a:gd name="connsiteX3" fmla="*/ 35992 w 42098"/>
                  <a:gd name="connsiteY3" fmla="*/ 35924 h 42133"/>
                  <a:gd name="connsiteX4" fmla="*/ 21051 w 42098"/>
                  <a:gd name="connsiteY4" fmla="*/ 42133 h 42133"/>
                  <a:gd name="connsiteX5" fmla="*/ 6212 w 42098"/>
                  <a:gd name="connsiteY5" fmla="*/ 36029 h 4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098" h="42133">
                    <a:moveTo>
                      <a:pt x="6211" y="36029"/>
                    </a:moveTo>
                    <a:cubicBezTo>
                      <a:pt x="-1997" y="27820"/>
                      <a:pt x="-2108" y="14457"/>
                      <a:pt x="6107" y="6248"/>
                    </a:cubicBezTo>
                    <a:cubicBezTo>
                      <a:pt x="14321" y="-2065"/>
                      <a:pt x="27678" y="-2065"/>
                      <a:pt x="35887" y="6144"/>
                    </a:cubicBezTo>
                    <a:cubicBezTo>
                      <a:pt x="44096" y="14352"/>
                      <a:pt x="44207" y="27611"/>
                      <a:pt x="35992" y="35924"/>
                    </a:cubicBezTo>
                    <a:cubicBezTo>
                      <a:pt x="31888" y="40029"/>
                      <a:pt x="26515" y="42133"/>
                      <a:pt x="21051" y="42133"/>
                    </a:cubicBezTo>
                    <a:cubicBezTo>
                      <a:pt x="15683" y="42131"/>
                      <a:pt x="10308" y="40027"/>
                      <a:pt x="6212" y="36029"/>
                    </a:cubicBezTo>
                    <a:close/>
                  </a:path>
                </a:pathLst>
              </a:custGeom>
              <a:grpFill/>
              <a:ln w="524" cap="flat">
                <a:noFill/>
                <a:prstDash val="solid"/>
                <a:miter/>
              </a:ln>
            </p:spPr>
            <p:txBody>
              <a:bodyPr rtlCol="0" anchor="ctr"/>
              <a:lstStyle/>
              <a:p>
                <a:endParaRPr lang="de-DE"/>
              </a:p>
            </p:txBody>
          </p:sp>
          <p:sp>
            <p:nvSpPr>
              <p:cNvPr id="39" name="Freihandform 114">
                <a:extLst>
                  <a:ext uri="{FF2B5EF4-FFF2-40B4-BE49-F238E27FC236}">
                    <a16:creationId xmlns:a16="http://schemas.microsoft.com/office/drawing/2014/main" id="{FFFF4F2D-9380-69AF-DC96-A6FAB671A08E}"/>
                  </a:ext>
                </a:extLst>
              </p:cNvPr>
              <p:cNvSpPr>
                <a:spLocks noChangeAspect="1"/>
              </p:cNvSpPr>
              <p:nvPr/>
            </p:nvSpPr>
            <p:spPr>
              <a:xfrm>
                <a:off x="3148845" y="4455366"/>
                <a:ext cx="84185" cy="84183"/>
              </a:xfrm>
              <a:custGeom>
                <a:avLst/>
                <a:gdLst>
                  <a:gd name="connsiteX0" fmla="*/ 1 w 42092"/>
                  <a:gd name="connsiteY0" fmla="*/ 21150 h 42091"/>
                  <a:gd name="connsiteX1" fmla="*/ 20942 w 42092"/>
                  <a:gd name="connsiteY1" fmla="*/ 0 h 42091"/>
                  <a:gd name="connsiteX2" fmla="*/ 42092 w 42092"/>
                  <a:gd name="connsiteY2" fmla="*/ 20933 h 42091"/>
                  <a:gd name="connsiteX3" fmla="*/ 21053 w 42092"/>
                  <a:gd name="connsiteY3" fmla="*/ 42091 h 42091"/>
                  <a:gd name="connsiteX4" fmla="*/ 1 w 42092"/>
                  <a:gd name="connsiteY4" fmla="*/ 21150 h 42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2" h="42091">
                    <a:moveTo>
                      <a:pt x="1" y="21150"/>
                    </a:moveTo>
                    <a:cubicBezTo>
                      <a:pt x="-104" y="9471"/>
                      <a:pt x="9358" y="0"/>
                      <a:pt x="20942" y="0"/>
                    </a:cubicBezTo>
                    <a:cubicBezTo>
                      <a:pt x="32630" y="0"/>
                      <a:pt x="41988" y="9357"/>
                      <a:pt x="42092" y="20933"/>
                    </a:cubicBezTo>
                    <a:cubicBezTo>
                      <a:pt x="42092" y="32612"/>
                      <a:pt x="32726" y="42091"/>
                      <a:pt x="21053" y="42091"/>
                    </a:cubicBezTo>
                    <a:cubicBezTo>
                      <a:pt x="9358" y="42091"/>
                      <a:pt x="1" y="32726"/>
                      <a:pt x="1" y="21150"/>
                    </a:cubicBezTo>
                    <a:close/>
                  </a:path>
                </a:pathLst>
              </a:custGeom>
              <a:grpFill/>
              <a:ln w="524" cap="flat">
                <a:noFill/>
                <a:prstDash val="solid"/>
                <a:miter/>
              </a:ln>
            </p:spPr>
            <p:txBody>
              <a:bodyPr rtlCol="0" anchor="ctr"/>
              <a:lstStyle/>
              <a:p>
                <a:endParaRPr lang="de-DE"/>
              </a:p>
            </p:txBody>
          </p:sp>
        </p:grpSp>
      </p:grpSp>
      <p:grpSp>
        <p:nvGrpSpPr>
          <p:cNvPr id="93" name="Group 92">
            <a:extLst>
              <a:ext uri="{FF2B5EF4-FFF2-40B4-BE49-F238E27FC236}">
                <a16:creationId xmlns:a16="http://schemas.microsoft.com/office/drawing/2014/main" id="{48303CFC-609C-33EA-184D-4E7A29B6BCBB}"/>
              </a:ext>
            </a:extLst>
          </p:cNvPr>
          <p:cNvGrpSpPr/>
          <p:nvPr/>
        </p:nvGrpSpPr>
        <p:grpSpPr>
          <a:xfrm>
            <a:off x="6417975" y="3071401"/>
            <a:ext cx="430589" cy="432000"/>
            <a:chOff x="6417975" y="3080109"/>
            <a:chExt cx="430589" cy="432000"/>
          </a:xfrm>
        </p:grpSpPr>
        <p:sp>
          <p:nvSpPr>
            <p:cNvPr id="76" name="Oval 75">
              <a:extLst>
                <a:ext uri="{FF2B5EF4-FFF2-40B4-BE49-F238E27FC236}">
                  <a16:creationId xmlns:a16="http://schemas.microsoft.com/office/drawing/2014/main" id="{2E94565D-496C-0660-4DD2-F8BF7B731FCF}"/>
                </a:ext>
              </a:extLst>
            </p:cNvPr>
            <p:cNvSpPr/>
            <p:nvPr/>
          </p:nvSpPr>
          <p:spPr>
            <a:xfrm>
              <a:off x="6477931" y="3129907"/>
              <a:ext cx="332404" cy="3324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0" name="Grafik 64">
              <a:extLst>
                <a:ext uri="{FF2B5EF4-FFF2-40B4-BE49-F238E27FC236}">
                  <a16:creationId xmlns:a16="http://schemas.microsoft.com/office/drawing/2014/main" id="{B8207257-D15F-3BB8-68ED-EF2E5B2FF7D8}"/>
                </a:ext>
              </a:extLst>
            </p:cNvPr>
            <p:cNvGrpSpPr/>
            <p:nvPr/>
          </p:nvGrpSpPr>
          <p:grpSpPr>
            <a:xfrm rot="1323096">
              <a:off x="6417975" y="3080109"/>
              <a:ext cx="430589" cy="432000"/>
              <a:chOff x="2939022" y="4455366"/>
              <a:chExt cx="503447" cy="505097"/>
            </a:xfrm>
            <a:solidFill>
              <a:schemeClr val="accent1"/>
            </a:solidFill>
          </p:grpSpPr>
          <p:sp>
            <p:nvSpPr>
              <p:cNvPr id="41" name="Freihandform 118">
                <a:extLst>
                  <a:ext uri="{FF2B5EF4-FFF2-40B4-BE49-F238E27FC236}">
                    <a16:creationId xmlns:a16="http://schemas.microsoft.com/office/drawing/2014/main" id="{64BC0E25-FBBE-3F1D-8339-68AD6F9E449C}"/>
                  </a:ext>
                </a:extLst>
              </p:cNvPr>
              <p:cNvSpPr>
                <a:spLocks noChangeAspect="1"/>
              </p:cNvSpPr>
              <p:nvPr/>
            </p:nvSpPr>
            <p:spPr>
              <a:xfrm>
                <a:off x="3149689" y="4876280"/>
                <a:ext cx="84171" cy="84183"/>
              </a:xfrm>
              <a:custGeom>
                <a:avLst/>
                <a:gdLst>
                  <a:gd name="connsiteX0" fmla="*/ 0 w 42085"/>
                  <a:gd name="connsiteY0" fmla="*/ 21046 h 42091"/>
                  <a:gd name="connsiteX1" fmla="*/ 21046 w 42085"/>
                  <a:gd name="connsiteY1" fmla="*/ 0 h 42091"/>
                  <a:gd name="connsiteX2" fmla="*/ 42085 w 42085"/>
                  <a:gd name="connsiteY2" fmla="*/ 21046 h 42091"/>
                  <a:gd name="connsiteX3" fmla="*/ 21046 w 42085"/>
                  <a:gd name="connsiteY3" fmla="*/ 42091 h 42091"/>
                  <a:gd name="connsiteX4" fmla="*/ 0 w 42085"/>
                  <a:gd name="connsiteY4" fmla="*/ 21046 h 42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85" h="42091">
                    <a:moveTo>
                      <a:pt x="0" y="21046"/>
                    </a:moveTo>
                    <a:cubicBezTo>
                      <a:pt x="0" y="9471"/>
                      <a:pt x="9357" y="0"/>
                      <a:pt x="21046" y="0"/>
                    </a:cubicBezTo>
                    <a:cubicBezTo>
                      <a:pt x="32615" y="0"/>
                      <a:pt x="42085" y="9357"/>
                      <a:pt x="42085" y="21046"/>
                    </a:cubicBezTo>
                    <a:cubicBezTo>
                      <a:pt x="42085" y="32615"/>
                      <a:pt x="32728" y="42091"/>
                      <a:pt x="21046" y="42091"/>
                    </a:cubicBezTo>
                    <a:cubicBezTo>
                      <a:pt x="9471" y="42091"/>
                      <a:pt x="0" y="32615"/>
                      <a:pt x="0" y="21046"/>
                    </a:cubicBezTo>
                    <a:close/>
                  </a:path>
                </a:pathLst>
              </a:custGeom>
              <a:grpFill/>
              <a:ln w="524" cap="flat">
                <a:noFill/>
                <a:prstDash val="solid"/>
                <a:miter/>
              </a:ln>
            </p:spPr>
            <p:txBody>
              <a:bodyPr rtlCol="0" anchor="ctr"/>
              <a:lstStyle/>
              <a:p>
                <a:endParaRPr lang="de-DE"/>
              </a:p>
            </p:txBody>
          </p:sp>
          <p:sp>
            <p:nvSpPr>
              <p:cNvPr id="42" name="Freihandform 119">
                <a:extLst>
                  <a:ext uri="{FF2B5EF4-FFF2-40B4-BE49-F238E27FC236}">
                    <a16:creationId xmlns:a16="http://schemas.microsoft.com/office/drawing/2014/main" id="{BD1292CE-9774-5060-3D24-A3E89EC7EFAE}"/>
                  </a:ext>
                </a:extLst>
              </p:cNvPr>
              <p:cNvSpPr>
                <a:spLocks noChangeAspect="1"/>
              </p:cNvSpPr>
              <p:nvPr/>
            </p:nvSpPr>
            <p:spPr>
              <a:xfrm>
                <a:off x="3000898" y="4814876"/>
                <a:ext cx="84178" cy="84183"/>
              </a:xfrm>
              <a:custGeom>
                <a:avLst/>
                <a:gdLst>
                  <a:gd name="connsiteX0" fmla="*/ 6206 w 42045"/>
                  <a:gd name="connsiteY0" fmla="*/ 35937 h 42047"/>
                  <a:gd name="connsiteX1" fmla="*/ 6101 w 42045"/>
                  <a:gd name="connsiteY1" fmla="*/ 6157 h 42047"/>
                  <a:gd name="connsiteX2" fmla="*/ 35882 w 42045"/>
                  <a:gd name="connsiteY2" fmla="*/ 6157 h 42047"/>
                  <a:gd name="connsiteX3" fmla="*/ 35987 w 42045"/>
                  <a:gd name="connsiteY3" fmla="*/ 35824 h 42047"/>
                  <a:gd name="connsiteX4" fmla="*/ 21045 w 42045"/>
                  <a:gd name="connsiteY4" fmla="*/ 42047 h 42047"/>
                  <a:gd name="connsiteX5" fmla="*/ 6207 w 42045"/>
                  <a:gd name="connsiteY5" fmla="*/ 35937 h 42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045" h="42047">
                    <a:moveTo>
                      <a:pt x="6206" y="35937"/>
                    </a:moveTo>
                    <a:cubicBezTo>
                      <a:pt x="-1994" y="27723"/>
                      <a:pt x="-2107" y="14366"/>
                      <a:pt x="6101" y="6157"/>
                    </a:cubicBezTo>
                    <a:cubicBezTo>
                      <a:pt x="14302" y="-2052"/>
                      <a:pt x="27673" y="-2052"/>
                      <a:pt x="35882" y="6157"/>
                    </a:cubicBezTo>
                    <a:cubicBezTo>
                      <a:pt x="44083" y="14366"/>
                      <a:pt x="44083" y="27630"/>
                      <a:pt x="35987" y="35824"/>
                    </a:cubicBezTo>
                    <a:cubicBezTo>
                      <a:pt x="31883" y="40048"/>
                      <a:pt x="26412" y="42047"/>
                      <a:pt x="21045" y="42047"/>
                    </a:cubicBezTo>
                    <a:cubicBezTo>
                      <a:pt x="15677" y="42039"/>
                      <a:pt x="10311" y="40040"/>
                      <a:pt x="6207" y="35937"/>
                    </a:cubicBezTo>
                    <a:close/>
                  </a:path>
                </a:pathLst>
              </a:custGeom>
              <a:grpFill/>
              <a:ln w="524" cap="flat">
                <a:noFill/>
                <a:prstDash val="solid"/>
                <a:miter/>
              </a:ln>
            </p:spPr>
            <p:txBody>
              <a:bodyPr rtlCol="0" anchor="ctr"/>
              <a:lstStyle/>
              <a:p>
                <a:endParaRPr lang="de-DE"/>
              </a:p>
            </p:txBody>
          </p:sp>
          <p:sp>
            <p:nvSpPr>
              <p:cNvPr id="43" name="Freihandform 120">
                <a:extLst>
                  <a:ext uri="{FF2B5EF4-FFF2-40B4-BE49-F238E27FC236}">
                    <a16:creationId xmlns:a16="http://schemas.microsoft.com/office/drawing/2014/main" id="{1F54854C-A85B-5660-32E1-7266EF018594}"/>
                  </a:ext>
                </a:extLst>
              </p:cNvPr>
              <p:cNvSpPr>
                <a:spLocks noChangeAspect="1"/>
              </p:cNvSpPr>
              <p:nvPr/>
            </p:nvSpPr>
            <p:spPr>
              <a:xfrm>
                <a:off x="3298334" y="4814559"/>
                <a:ext cx="84244" cy="84183"/>
              </a:xfrm>
              <a:custGeom>
                <a:avLst/>
                <a:gdLst>
                  <a:gd name="connsiteX0" fmla="*/ 6250 w 42074"/>
                  <a:gd name="connsiteY0" fmla="*/ 35933 h 42043"/>
                  <a:gd name="connsiteX1" fmla="*/ 6131 w 42074"/>
                  <a:gd name="connsiteY1" fmla="*/ 6161 h 42043"/>
                  <a:gd name="connsiteX2" fmla="*/ 35917 w 42074"/>
                  <a:gd name="connsiteY2" fmla="*/ 6161 h 42043"/>
                  <a:gd name="connsiteX3" fmla="*/ 35917 w 42074"/>
                  <a:gd name="connsiteY3" fmla="*/ 35933 h 42043"/>
                  <a:gd name="connsiteX4" fmla="*/ 21081 w 42074"/>
                  <a:gd name="connsiteY4" fmla="*/ 42043 h 42043"/>
                  <a:gd name="connsiteX5" fmla="*/ 6250 w 42074"/>
                  <a:gd name="connsiteY5" fmla="*/ 35933 h 42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074" h="42043">
                    <a:moveTo>
                      <a:pt x="6250" y="35933"/>
                    </a:moveTo>
                    <a:cubicBezTo>
                      <a:pt x="-2063" y="27724"/>
                      <a:pt x="-2063" y="14368"/>
                      <a:pt x="6131" y="6161"/>
                    </a:cubicBezTo>
                    <a:cubicBezTo>
                      <a:pt x="14346" y="-2054"/>
                      <a:pt x="27709" y="-2054"/>
                      <a:pt x="35917" y="6161"/>
                    </a:cubicBezTo>
                    <a:cubicBezTo>
                      <a:pt x="44126" y="14370"/>
                      <a:pt x="44126" y="27727"/>
                      <a:pt x="35917" y="35933"/>
                    </a:cubicBezTo>
                    <a:cubicBezTo>
                      <a:pt x="31813" y="40038"/>
                      <a:pt x="26447" y="42043"/>
                      <a:pt x="21081" y="42043"/>
                    </a:cubicBezTo>
                    <a:cubicBezTo>
                      <a:pt x="15713" y="42043"/>
                      <a:pt x="10354" y="40035"/>
                      <a:pt x="6250" y="35933"/>
                    </a:cubicBezTo>
                    <a:close/>
                  </a:path>
                </a:pathLst>
              </a:custGeom>
              <a:grpFill/>
              <a:ln w="524" cap="flat">
                <a:noFill/>
                <a:prstDash val="solid"/>
                <a:miter/>
              </a:ln>
            </p:spPr>
            <p:txBody>
              <a:bodyPr rtlCol="0" anchor="ctr"/>
              <a:lstStyle/>
              <a:p>
                <a:endParaRPr lang="de-DE"/>
              </a:p>
            </p:txBody>
          </p:sp>
          <p:sp>
            <p:nvSpPr>
              <p:cNvPr id="44" name="Freihandform 121">
                <a:extLst>
                  <a:ext uri="{FF2B5EF4-FFF2-40B4-BE49-F238E27FC236}">
                    <a16:creationId xmlns:a16="http://schemas.microsoft.com/office/drawing/2014/main" id="{9736A09A-33FC-3912-859E-F070748B317A}"/>
                  </a:ext>
                </a:extLst>
              </p:cNvPr>
              <p:cNvSpPr/>
              <p:nvPr/>
            </p:nvSpPr>
            <p:spPr>
              <a:xfrm>
                <a:off x="2939022" y="4666245"/>
                <a:ext cx="84183" cy="84183"/>
              </a:xfrm>
              <a:custGeom>
                <a:avLst/>
                <a:gdLst>
                  <a:gd name="connsiteX0" fmla="*/ 0 w 42091"/>
                  <a:gd name="connsiteY0" fmla="*/ 21150 h 42091"/>
                  <a:gd name="connsiteX1" fmla="*/ 21046 w 42091"/>
                  <a:gd name="connsiteY1" fmla="*/ 0 h 42091"/>
                  <a:gd name="connsiteX2" fmla="*/ 42091 w 42091"/>
                  <a:gd name="connsiteY2" fmla="*/ 21046 h 42091"/>
                  <a:gd name="connsiteX3" fmla="*/ 21046 w 42091"/>
                  <a:gd name="connsiteY3" fmla="*/ 42091 h 42091"/>
                  <a:gd name="connsiteX4" fmla="*/ 0 w 42091"/>
                  <a:gd name="connsiteY4" fmla="*/ 21150 h 42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1" h="42091">
                    <a:moveTo>
                      <a:pt x="0" y="21150"/>
                    </a:moveTo>
                    <a:cubicBezTo>
                      <a:pt x="0" y="9471"/>
                      <a:pt x="9357" y="0"/>
                      <a:pt x="21046" y="0"/>
                    </a:cubicBezTo>
                    <a:cubicBezTo>
                      <a:pt x="32615" y="0"/>
                      <a:pt x="42091" y="9357"/>
                      <a:pt x="42091" y="21046"/>
                    </a:cubicBezTo>
                    <a:cubicBezTo>
                      <a:pt x="42091" y="32615"/>
                      <a:pt x="32726" y="42091"/>
                      <a:pt x="21046" y="42091"/>
                    </a:cubicBezTo>
                    <a:cubicBezTo>
                      <a:pt x="9471" y="42098"/>
                      <a:pt x="0" y="32726"/>
                      <a:pt x="0" y="21150"/>
                    </a:cubicBezTo>
                    <a:close/>
                  </a:path>
                </a:pathLst>
              </a:custGeom>
              <a:grpFill/>
              <a:ln w="524" cap="flat">
                <a:noFill/>
                <a:prstDash val="solid"/>
                <a:miter/>
              </a:ln>
            </p:spPr>
            <p:txBody>
              <a:bodyPr rtlCol="0" anchor="ctr"/>
              <a:lstStyle/>
              <a:p>
                <a:endParaRPr lang="de-DE"/>
              </a:p>
            </p:txBody>
          </p:sp>
          <p:sp>
            <p:nvSpPr>
              <p:cNvPr id="45" name="Freihandform 122">
                <a:extLst>
                  <a:ext uri="{FF2B5EF4-FFF2-40B4-BE49-F238E27FC236}">
                    <a16:creationId xmlns:a16="http://schemas.microsoft.com/office/drawing/2014/main" id="{D8504E4E-1CE7-F1AF-1F64-04436403863D}"/>
                  </a:ext>
                </a:extLst>
              </p:cNvPr>
              <p:cNvSpPr>
                <a:spLocks noChangeAspect="1"/>
              </p:cNvSpPr>
              <p:nvPr/>
            </p:nvSpPr>
            <p:spPr>
              <a:xfrm>
                <a:off x="3359933" y="4664980"/>
                <a:ext cx="82536" cy="84183"/>
              </a:xfrm>
              <a:custGeom>
                <a:avLst/>
                <a:gdLst>
                  <a:gd name="connsiteX0" fmla="*/ 1 w 42092"/>
                  <a:gd name="connsiteY0" fmla="*/ 21887 h 42932"/>
                  <a:gd name="connsiteX1" fmla="*/ 1 w 42092"/>
                  <a:gd name="connsiteY1" fmla="*/ 21151 h 42932"/>
                  <a:gd name="connsiteX2" fmla="*/ 20942 w 42092"/>
                  <a:gd name="connsiteY2" fmla="*/ 1 h 42932"/>
                  <a:gd name="connsiteX3" fmla="*/ 42092 w 42092"/>
                  <a:gd name="connsiteY3" fmla="*/ 20934 h 42932"/>
                  <a:gd name="connsiteX4" fmla="*/ 42092 w 42092"/>
                  <a:gd name="connsiteY4" fmla="*/ 21466 h 42932"/>
                  <a:gd name="connsiteX5" fmla="*/ 42092 w 42092"/>
                  <a:gd name="connsiteY5" fmla="*/ 21887 h 42932"/>
                  <a:gd name="connsiteX6" fmla="*/ 21047 w 42092"/>
                  <a:gd name="connsiteY6" fmla="*/ 42933 h 42932"/>
                  <a:gd name="connsiteX7" fmla="*/ 1 w 42092"/>
                  <a:gd name="connsiteY7" fmla="*/ 21887 h 42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092" h="42932">
                    <a:moveTo>
                      <a:pt x="1" y="21887"/>
                    </a:moveTo>
                    <a:lnTo>
                      <a:pt x="1" y="21151"/>
                    </a:lnTo>
                    <a:cubicBezTo>
                      <a:pt x="-104" y="9472"/>
                      <a:pt x="9358" y="1"/>
                      <a:pt x="20942" y="1"/>
                    </a:cubicBezTo>
                    <a:cubicBezTo>
                      <a:pt x="32511" y="-112"/>
                      <a:pt x="41988" y="9262"/>
                      <a:pt x="42092" y="20934"/>
                    </a:cubicBezTo>
                    <a:lnTo>
                      <a:pt x="42092" y="21466"/>
                    </a:lnTo>
                    <a:lnTo>
                      <a:pt x="42092" y="21887"/>
                    </a:lnTo>
                    <a:cubicBezTo>
                      <a:pt x="42092" y="33456"/>
                      <a:pt x="32615" y="42933"/>
                      <a:pt x="21047" y="42933"/>
                    </a:cubicBezTo>
                    <a:cubicBezTo>
                      <a:pt x="9471" y="42933"/>
                      <a:pt x="1" y="33456"/>
                      <a:pt x="1" y="21887"/>
                    </a:cubicBezTo>
                    <a:close/>
                  </a:path>
                </a:pathLst>
              </a:custGeom>
              <a:grpFill/>
              <a:ln w="524" cap="flat">
                <a:noFill/>
                <a:prstDash val="solid"/>
                <a:miter/>
              </a:ln>
            </p:spPr>
            <p:txBody>
              <a:bodyPr rtlCol="0" anchor="ctr"/>
              <a:lstStyle/>
              <a:p>
                <a:endParaRPr lang="de-DE"/>
              </a:p>
            </p:txBody>
          </p:sp>
          <p:sp>
            <p:nvSpPr>
              <p:cNvPr id="46" name="Freihandform 123">
                <a:extLst>
                  <a:ext uri="{FF2B5EF4-FFF2-40B4-BE49-F238E27FC236}">
                    <a16:creationId xmlns:a16="http://schemas.microsoft.com/office/drawing/2014/main" id="{E51CF35F-3805-9C03-C578-F23D1FF8275B}"/>
                  </a:ext>
                </a:extLst>
              </p:cNvPr>
              <p:cNvSpPr/>
              <p:nvPr/>
            </p:nvSpPr>
            <p:spPr>
              <a:xfrm>
                <a:off x="3000261" y="4517395"/>
                <a:ext cx="84183" cy="84183"/>
              </a:xfrm>
              <a:custGeom>
                <a:avLst/>
                <a:gdLst>
                  <a:gd name="connsiteX0" fmla="*/ 6206 w 42090"/>
                  <a:gd name="connsiteY0" fmla="*/ 35937 h 42041"/>
                  <a:gd name="connsiteX1" fmla="*/ 6101 w 42090"/>
                  <a:gd name="connsiteY1" fmla="*/ 6157 h 42041"/>
                  <a:gd name="connsiteX2" fmla="*/ 6206 w 42090"/>
                  <a:gd name="connsiteY2" fmla="*/ 6157 h 42041"/>
                  <a:gd name="connsiteX3" fmla="*/ 35880 w 42090"/>
                  <a:gd name="connsiteY3" fmla="*/ 6157 h 42041"/>
                  <a:gd name="connsiteX4" fmla="*/ 35984 w 42090"/>
                  <a:gd name="connsiteY4" fmla="*/ 35937 h 42041"/>
                  <a:gd name="connsiteX5" fmla="*/ 21043 w 42090"/>
                  <a:gd name="connsiteY5" fmla="*/ 42042 h 42041"/>
                  <a:gd name="connsiteX6" fmla="*/ 6206 w 42090"/>
                  <a:gd name="connsiteY6" fmla="*/ 35937 h 4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90" h="42041">
                    <a:moveTo>
                      <a:pt x="6206" y="35937"/>
                    </a:moveTo>
                    <a:cubicBezTo>
                      <a:pt x="-1994" y="27728"/>
                      <a:pt x="-2107" y="14470"/>
                      <a:pt x="6101" y="6157"/>
                    </a:cubicBezTo>
                    <a:lnTo>
                      <a:pt x="6206" y="6157"/>
                    </a:lnTo>
                    <a:cubicBezTo>
                      <a:pt x="14308" y="-2052"/>
                      <a:pt x="27679" y="-2052"/>
                      <a:pt x="35880" y="6157"/>
                    </a:cubicBezTo>
                    <a:cubicBezTo>
                      <a:pt x="44088" y="14258"/>
                      <a:pt x="44199" y="27630"/>
                      <a:pt x="35984" y="35937"/>
                    </a:cubicBezTo>
                    <a:cubicBezTo>
                      <a:pt x="31880" y="40042"/>
                      <a:pt x="26514" y="42042"/>
                      <a:pt x="21043" y="42042"/>
                    </a:cubicBezTo>
                    <a:cubicBezTo>
                      <a:pt x="15683" y="42033"/>
                      <a:pt x="10316" y="40042"/>
                      <a:pt x="6206" y="35937"/>
                    </a:cubicBezTo>
                    <a:close/>
                  </a:path>
                </a:pathLst>
              </a:custGeom>
              <a:grpFill/>
              <a:ln w="524" cap="flat">
                <a:noFill/>
                <a:prstDash val="solid"/>
                <a:miter/>
              </a:ln>
            </p:spPr>
            <p:txBody>
              <a:bodyPr rtlCol="0" anchor="ctr"/>
              <a:lstStyle/>
              <a:p>
                <a:endParaRPr lang="de-DE"/>
              </a:p>
            </p:txBody>
          </p:sp>
          <p:sp>
            <p:nvSpPr>
              <p:cNvPr id="47" name="Freihandform 124">
                <a:extLst>
                  <a:ext uri="{FF2B5EF4-FFF2-40B4-BE49-F238E27FC236}">
                    <a16:creationId xmlns:a16="http://schemas.microsoft.com/office/drawing/2014/main" id="{0B845C1D-CF9D-A864-FE0C-9A4AAD0A27D1}"/>
                  </a:ext>
                </a:extLst>
              </p:cNvPr>
              <p:cNvSpPr>
                <a:spLocks noChangeAspect="1"/>
              </p:cNvSpPr>
              <p:nvPr/>
            </p:nvSpPr>
            <p:spPr>
              <a:xfrm>
                <a:off x="3297743" y="4516462"/>
                <a:ext cx="84113" cy="84183"/>
              </a:xfrm>
              <a:custGeom>
                <a:avLst/>
                <a:gdLst>
                  <a:gd name="connsiteX0" fmla="*/ 6211 w 42098"/>
                  <a:gd name="connsiteY0" fmla="*/ 36029 h 42133"/>
                  <a:gd name="connsiteX1" fmla="*/ 6107 w 42098"/>
                  <a:gd name="connsiteY1" fmla="*/ 6248 h 42133"/>
                  <a:gd name="connsiteX2" fmla="*/ 35887 w 42098"/>
                  <a:gd name="connsiteY2" fmla="*/ 6144 h 42133"/>
                  <a:gd name="connsiteX3" fmla="*/ 35992 w 42098"/>
                  <a:gd name="connsiteY3" fmla="*/ 35924 h 42133"/>
                  <a:gd name="connsiteX4" fmla="*/ 21051 w 42098"/>
                  <a:gd name="connsiteY4" fmla="*/ 42133 h 42133"/>
                  <a:gd name="connsiteX5" fmla="*/ 6212 w 42098"/>
                  <a:gd name="connsiteY5" fmla="*/ 36029 h 4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098" h="42133">
                    <a:moveTo>
                      <a:pt x="6211" y="36029"/>
                    </a:moveTo>
                    <a:cubicBezTo>
                      <a:pt x="-1997" y="27820"/>
                      <a:pt x="-2108" y="14457"/>
                      <a:pt x="6107" y="6248"/>
                    </a:cubicBezTo>
                    <a:cubicBezTo>
                      <a:pt x="14321" y="-2065"/>
                      <a:pt x="27678" y="-2065"/>
                      <a:pt x="35887" y="6144"/>
                    </a:cubicBezTo>
                    <a:cubicBezTo>
                      <a:pt x="44096" y="14352"/>
                      <a:pt x="44207" y="27611"/>
                      <a:pt x="35992" y="35924"/>
                    </a:cubicBezTo>
                    <a:cubicBezTo>
                      <a:pt x="31888" y="40029"/>
                      <a:pt x="26515" y="42133"/>
                      <a:pt x="21051" y="42133"/>
                    </a:cubicBezTo>
                    <a:cubicBezTo>
                      <a:pt x="15683" y="42131"/>
                      <a:pt x="10308" y="40027"/>
                      <a:pt x="6212" y="36029"/>
                    </a:cubicBezTo>
                    <a:close/>
                  </a:path>
                </a:pathLst>
              </a:custGeom>
              <a:grpFill/>
              <a:ln w="524" cap="flat">
                <a:noFill/>
                <a:prstDash val="solid"/>
                <a:miter/>
              </a:ln>
            </p:spPr>
            <p:txBody>
              <a:bodyPr rtlCol="0" anchor="ctr"/>
              <a:lstStyle/>
              <a:p>
                <a:endParaRPr lang="de-DE"/>
              </a:p>
            </p:txBody>
          </p:sp>
          <p:sp>
            <p:nvSpPr>
              <p:cNvPr id="48" name="Freihandform 125">
                <a:extLst>
                  <a:ext uri="{FF2B5EF4-FFF2-40B4-BE49-F238E27FC236}">
                    <a16:creationId xmlns:a16="http://schemas.microsoft.com/office/drawing/2014/main" id="{6672DC3B-E509-EB06-0B52-4CA0914DBF5F}"/>
                  </a:ext>
                </a:extLst>
              </p:cNvPr>
              <p:cNvSpPr>
                <a:spLocks noChangeAspect="1"/>
              </p:cNvSpPr>
              <p:nvPr/>
            </p:nvSpPr>
            <p:spPr>
              <a:xfrm>
                <a:off x="3148845" y="4455366"/>
                <a:ext cx="84185" cy="84183"/>
              </a:xfrm>
              <a:custGeom>
                <a:avLst/>
                <a:gdLst>
                  <a:gd name="connsiteX0" fmla="*/ 1 w 42092"/>
                  <a:gd name="connsiteY0" fmla="*/ 21150 h 42091"/>
                  <a:gd name="connsiteX1" fmla="*/ 20942 w 42092"/>
                  <a:gd name="connsiteY1" fmla="*/ 0 h 42091"/>
                  <a:gd name="connsiteX2" fmla="*/ 42092 w 42092"/>
                  <a:gd name="connsiteY2" fmla="*/ 20933 h 42091"/>
                  <a:gd name="connsiteX3" fmla="*/ 21053 w 42092"/>
                  <a:gd name="connsiteY3" fmla="*/ 42091 h 42091"/>
                  <a:gd name="connsiteX4" fmla="*/ 1 w 42092"/>
                  <a:gd name="connsiteY4" fmla="*/ 21150 h 42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2" h="42091">
                    <a:moveTo>
                      <a:pt x="1" y="21150"/>
                    </a:moveTo>
                    <a:cubicBezTo>
                      <a:pt x="-104" y="9471"/>
                      <a:pt x="9358" y="0"/>
                      <a:pt x="20942" y="0"/>
                    </a:cubicBezTo>
                    <a:cubicBezTo>
                      <a:pt x="32630" y="0"/>
                      <a:pt x="41988" y="9357"/>
                      <a:pt x="42092" y="20933"/>
                    </a:cubicBezTo>
                    <a:cubicBezTo>
                      <a:pt x="42092" y="32612"/>
                      <a:pt x="32726" y="42091"/>
                      <a:pt x="21053" y="42091"/>
                    </a:cubicBezTo>
                    <a:cubicBezTo>
                      <a:pt x="9358" y="42091"/>
                      <a:pt x="1" y="32726"/>
                      <a:pt x="1" y="21150"/>
                    </a:cubicBezTo>
                    <a:close/>
                  </a:path>
                </a:pathLst>
              </a:custGeom>
              <a:grpFill/>
              <a:ln w="524" cap="flat">
                <a:noFill/>
                <a:prstDash val="solid"/>
                <a:miter/>
              </a:ln>
            </p:spPr>
            <p:txBody>
              <a:bodyPr rtlCol="0" anchor="ctr"/>
              <a:lstStyle/>
              <a:p>
                <a:endParaRPr lang="de-DE"/>
              </a:p>
            </p:txBody>
          </p:sp>
        </p:grpSp>
      </p:grpSp>
      <p:grpSp>
        <p:nvGrpSpPr>
          <p:cNvPr id="94" name="Group 93">
            <a:extLst>
              <a:ext uri="{FF2B5EF4-FFF2-40B4-BE49-F238E27FC236}">
                <a16:creationId xmlns:a16="http://schemas.microsoft.com/office/drawing/2014/main" id="{A16D548B-AF7D-6CAE-82DC-2ACE3F4ADABA}"/>
              </a:ext>
            </a:extLst>
          </p:cNvPr>
          <p:cNvGrpSpPr/>
          <p:nvPr/>
        </p:nvGrpSpPr>
        <p:grpSpPr>
          <a:xfrm>
            <a:off x="10913102" y="3071401"/>
            <a:ext cx="430589" cy="432001"/>
            <a:chOff x="10913102" y="3080109"/>
            <a:chExt cx="430589" cy="432001"/>
          </a:xfrm>
        </p:grpSpPr>
        <p:sp>
          <p:nvSpPr>
            <p:cNvPr id="78" name="Oval 77">
              <a:extLst>
                <a:ext uri="{FF2B5EF4-FFF2-40B4-BE49-F238E27FC236}">
                  <a16:creationId xmlns:a16="http://schemas.microsoft.com/office/drawing/2014/main" id="{72EFAC22-987C-36A9-4068-8C3088741230}"/>
                </a:ext>
              </a:extLst>
            </p:cNvPr>
            <p:cNvSpPr/>
            <p:nvPr/>
          </p:nvSpPr>
          <p:spPr>
            <a:xfrm>
              <a:off x="10962194" y="3129907"/>
              <a:ext cx="332404" cy="3324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9" name="Grafik 64">
              <a:extLst>
                <a:ext uri="{FF2B5EF4-FFF2-40B4-BE49-F238E27FC236}">
                  <a16:creationId xmlns:a16="http://schemas.microsoft.com/office/drawing/2014/main" id="{D56CF5CC-CE35-1736-DA2C-B748E96C4910}"/>
                </a:ext>
              </a:extLst>
            </p:cNvPr>
            <p:cNvGrpSpPr/>
            <p:nvPr/>
          </p:nvGrpSpPr>
          <p:grpSpPr>
            <a:xfrm rot="1323096">
              <a:off x="10913102" y="3080109"/>
              <a:ext cx="430589" cy="432001"/>
              <a:chOff x="2939022" y="4455366"/>
              <a:chExt cx="503447" cy="505097"/>
            </a:xfrm>
            <a:solidFill>
              <a:schemeClr val="accent1"/>
            </a:solidFill>
          </p:grpSpPr>
          <p:sp>
            <p:nvSpPr>
              <p:cNvPr id="50" name="Freihandform 130">
                <a:extLst>
                  <a:ext uri="{FF2B5EF4-FFF2-40B4-BE49-F238E27FC236}">
                    <a16:creationId xmlns:a16="http://schemas.microsoft.com/office/drawing/2014/main" id="{BB48D547-653B-C1BF-A7CA-FF47148DBA45}"/>
                  </a:ext>
                </a:extLst>
              </p:cNvPr>
              <p:cNvSpPr>
                <a:spLocks noChangeAspect="1"/>
              </p:cNvSpPr>
              <p:nvPr/>
            </p:nvSpPr>
            <p:spPr>
              <a:xfrm>
                <a:off x="3149689" y="4876280"/>
                <a:ext cx="84171" cy="84183"/>
              </a:xfrm>
              <a:custGeom>
                <a:avLst/>
                <a:gdLst>
                  <a:gd name="connsiteX0" fmla="*/ 0 w 42085"/>
                  <a:gd name="connsiteY0" fmla="*/ 21046 h 42091"/>
                  <a:gd name="connsiteX1" fmla="*/ 21046 w 42085"/>
                  <a:gd name="connsiteY1" fmla="*/ 0 h 42091"/>
                  <a:gd name="connsiteX2" fmla="*/ 42085 w 42085"/>
                  <a:gd name="connsiteY2" fmla="*/ 21046 h 42091"/>
                  <a:gd name="connsiteX3" fmla="*/ 21046 w 42085"/>
                  <a:gd name="connsiteY3" fmla="*/ 42091 h 42091"/>
                  <a:gd name="connsiteX4" fmla="*/ 0 w 42085"/>
                  <a:gd name="connsiteY4" fmla="*/ 21046 h 42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85" h="42091">
                    <a:moveTo>
                      <a:pt x="0" y="21046"/>
                    </a:moveTo>
                    <a:cubicBezTo>
                      <a:pt x="0" y="9471"/>
                      <a:pt x="9357" y="0"/>
                      <a:pt x="21046" y="0"/>
                    </a:cubicBezTo>
                    <a:cubicBezTo>
                      <a:pt x="32615" y="0"/>
                      <a:pt x="42085" y="9357"/>
                      <a:pt x="42085" y="21046"/>
                    </a:cubicBezTo>
                    <a:cubicBezTo>
                      <a:pt x="42085" y="32615"/>
                      <a:pt x="32728" y="42091"/>
                      <a:pt x="21046" y="42091"/>
                    </a:cubicBezTo>
                    <a:cubicBezTo>
                      <a:pt x="9471" y="42091"/>
                      <a:pt x="0" y="32615"/>
                      <a:pt x="0" y="21046"/>
                    </a:cubicBezTo>
                    <a:close/>
                  </a:path>
                </a:pathLst>
              </a:custGeom>
              <a:grpFill/>
              <a:ln w="524" cap="flat">
                <a:noFill/>
                <a:prstDash val="solid"/>
                <a:miter/>
              </a:ln>
            </p:spPr>
            <p:txBody>
              <a:bodyPr rtlCol="0" anchor="ctr"/>
              <a:lstStyle/>
              <a:p>
                <a:endParaRPr lang="de-DE"/>
              </a:p>
            </p:txBody>
          </p:sp>
          <p:sp>
            <p:nvSpPr>
              <p:cNvPr id="51" name="Freihandform 131">
                <a:extLst>
                  <a:ext uri="{FF2B5EF4-FFF2-40B4-BE49-F238E27FC236}">
                    <a16:creationId xmlns:a16="http://schemas.microsoft.com/office/drawing/2014/main" id="{A77962C2-3713-55E2-4760-2276E1CC6ACB}"/>
                  </a:ext>
                </a:extLst>
              </p:cNvPr>
              <p:cNvSpPr>
                <a:spLocks noChangeAspect="1"/>
              </p:cNvSpPr>
              <p:nvPr/>
            </p:nvSpPr>
            <p:spPr>
              <a:xfrm>
                <a:off x="3000898" y="4814876"/>
                <a:ext cx="84178" cy="84183"/>
              </a:xfrm>
              <a:custGeom>
                <a:avLst/>
                <a:gdLst>
                  <a:gd name="connsiteX0" fmla="*/ 6206 w 42045"/>
                  <a:gd name="connsiteY0" fmla="*/ 35937 h 42047"/>
                  <a:gd name="connsiteX1" fmla="*/ 6101 w 42045"/>
                  <a:gd name="connsiteY1" fmla="*/ 6157 h 42047"/>
                  <a:gd name="connsiteX2" fmla="*/ 35882 w 42045"/>
                  <a:gd name="connsiteY2" fmla="*/ 6157 h 42047"/>
                  <a:gd name="connsiteX3" fmla="*/ 35987 w 42045"/>
                  <a:gd name="connsiteY3" fmla="*/ 35824 h 42047"/>
                  <a:gd name="connsiteX4" fmla="*/ 21045 w 42045"/>
                  <a:gd name="connsiteY4" fmla="*/ 42047 h 42047"/>
                  <a:gd name="connsiteX5" fmla="*/ 6207 w 42045"/>
                  <a:gd name="connsiteY5" fmla="*/ 35937 h 42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045" h="42047">
                    <a:moveTo>
                      <a:pt x="6206" y="35937"/>
                    </a:moveTo>
                    <a:cubicBezTo>
                      <a:pt x="-1994" y="27723"/>
                      <a:pt x="-2107" y="14366"/>
                      <a:pt x="6101" y="6157"/>
                    </a:cubicBezTo>
                    <a:cubicBezTo>
                      <a:pt x="14302" y="-2052"/>
                      <a:pt x="27673" y="-2052"/>
                      <a:pt x="35882" y="6157"/>
                    </a:cubicBezTo>
                    <a:cubicBezTo>
                      <a:pt x="44083" y="14366"/>
                      <a:pt x="44083" y="27630"/>
                      <a:pt x="35987" y="35824"/>
                    </a:cubicBezTo>
                    <a:cubicBezTo>
                      <a:pt x="31883" y="40048"/>
                      <a:pt x="26412" y="42047"/>
                      <a:pt x="21045" y="42047"/>
                    </a:cubicBezTo>
                    <a:cubicBezTo>
                      <a:pt x="15677" y="42039"/>
                      <a:pt x="10311" y="40040"/>
                      <a:pt x="6207" y="35937"/>
                    </a:cubicBezTo>
                    <a:close/>
                  </a:path>
                </a:pathLst>
              </a:custGeom>
              <a:grpFill/>
              <a:ln w="524" cap="flat">
                <a:noFill/>
                <a:prstDash val="solid"/>
                <a:miter/>
              </a:ln>
            </p:spPr>
            <p:txBody>
              <a:bodyPr rtlCol="0" anchor="ctr"/>
              <a:lstStyle/>
              <a:p>
                <a:endParaRPr lang="de-DE"/>
              </a:p>
            </p:txBody>
          </p:sp>
          <p:sp>
            <p:nvSpPr>
              <p:cNvPr id="52" name="Freihandform 132">
                <a:extLst>
                  <a:ext uri="{FF2B5EF4-FFF2-40B4-BE49-F238E27FC236}">
                    <a16:creationId xmlns:a16="http://schemas.microsoft.com/office/drawing/2014/main" id="{79C78A08-E21F-5322-5E05-797974471FEC}"/>
                  </a:ext>
                </a:extLst>
              </p:cNvPr>
              <p:cNvSpPr>
                <a:spLocks noChangeAspect="1"/>
              </p:cNvSpPr>
              <p:nvPr/>
            </p:nvSpPr>
            <p:spPr>
              <a:xfrm>
                <a:off x="3298334" y="4814559"/>
                <a:ext cx="84244" cy="84183"/>
              </a:xfrm>
              <a:custGeom>
                <a:avLst/>
                <a:gdLst>
                  <a:gd name="connsiteX0" fmla="*/ 6250 w 42074"/>
                  <a:gd name="connsiteY0" fmla="*/ 35933 h 42043"/>
                  <a:gd name="connsiteX1" fmla="*/ 6131 w 42074"/>
                  <a:gd name="connsiteY1" fmla="*/ 6161 h 42043"/>
                  <a:gd name="connsiteX2" fmla="*/ 35917 w 42074"/>
                  <a:gd name="connsiteY2" fmla="*/ 6161 h 42043"/>
                  <a:gd name="connsiteX3" fmla="*/ 35917 w 42074"/>
                  <a:gd name="connsiteY3" fmla="*/ 35933 h 42043"/>
                  <a:gd name="connsiteX4" fmla="*/ 21081 w 42074"/>
                  <a:gd name="connsiteY4" fmla="*/ 42043 h 42043"/>
                  <a:gd name="connsiteX5" fmla="*/ 6250 w 42074"/>
                  <a:gd name="connsiteY5" fmla="*/ 35933 h 42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074" h="42043">
                    <a:moveTo>
                      <a:pt x="6250" y="35933"/>
                    </a:moveTo>
                    <a:cubicBezTo>
                      <a:pt x="-2063" y="27724"/>
                      <a:pt x="-2063" y="14368"/>
                      <a:pt x="6131" y="6161"/>
                    </a:cubicBezTo>
                    <a:cubicBezTo>
                      <a:pt x="14346" y="-2054"/>
                      <a:pt x="27709" y="-2054"/>
                      <a:pt x="35917" y="6161"/>
                    </a:cubicBezTo>
                    <a:cubicBezTo>
                      <a:pt x="44126" y="14370"/>
                      <a:pt x="44126" y="27727"/>
                      <a:pt x="35917" y="35933"/>
                    </a:cubicBezTo>
                    <a:cubicBezTo>
                      <a:pt x="31813" y="40038"/>
                      <a:pt x="26447" y="42043"/>
                      <a:pt x="21081" y="42043"/>
                    </a:cubicBezTo>
                    <a:cubicBezTo>
                      <a:pt x="15713" y="42043"/>
                      <a:pt x="10354" y="40035"/>
                      <a:pt x="6250" y="35933"/>
                    </a:cubicBezTo>
                    <a:close/>
                  </a:path>
                </a:pathLst>
              </a:custGeom>
              <a:grpFill/>
              <a:ln w="524" cap="flat">
                <a:noFill/>
                <a:prstDash val="solid"/>
                <a:miter/>
              </a:ln>
            </p:spPr>
            <p:txBody>
              <a:bodyPr rtlCol="0" anchor="ctr"/>
              <a:lstStyle/>
              <a:p>
                <a:endParaRPr lang="de-DE"/>
              </a:p>
            </p:txBody>
          </p:sp>
          <p:sp>
            <p:nvSpPr>
              <p:cNvPr id="53" name="Freihandform 133">
                <a:extLst>
                  <a:ext uri="{FF2B5EF4-FFF2-40B4-BE49-F238E27FC236}">
                    <a16:creationId xmlns:a16="http://schemas.microsoft.com/office/drawing/2014/main" id="{7FE36870-D821-FA94-0084-4AB6B51F6610}"/>
                  </a:ext>
                </a:extLst>
              </p:cNvPr>
              <p:cNvSpPr/>
              <p:nvPr/>
            </p:nvSpPr>
            <p:spPr>
              <a:xfrm>
                <a:off x="2939022" y="4666245"/>
                <a:ext cx="84183" cy="84183"/>
              </a:xfrm>
              <a:custGeom>
                <a:avLst/>
                <a:gdLst>
                  <a:gd name="connsiteX0" fmla="*/ 0 w 42091"/>
                  <a:gd name="connsiteY0" fmla="*/ 21150 h 42091"/>
                  <a:gd name="connsiteX1" fmla="*/ 21046 w 42091"/>
                  <a:gd name="connsiteY1" fmla="*/ 0 h 42091"/>
                  <a:gd name="connsiteX2" fmla="*/ 42091 w 42091"/>
                  <a:gd name="connsiteY2" fmla="*/ 21046 h 42091"/>
                  <a:gd name="connsiteX3" fmla="*/ 21046 w 42091"/>
                  <a:gd name="connsiteY3" fmla="*/ 42091 h 42091"/>
                  <a:gd name="connsiteX4" fmla="*/ 0 w 42091"/>
                  <a:gd name="connsiteY4" fmla="*/ 21150 h 42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1" h="42091">
                    <a:moveTo>
                      <a:pt x="0" y="21150"/>
                    </a:moveTo>
                    <a:cubicBezTo>
                      <a:pt x="0" y="9471"/>
                      <a:pt x="9357" y="0"/>
                      <a:pt x="21046" y="0"/>
                    </a:cubicBezTo>
                    <a:cubicBezTo>
                      <a:pt x="32615" y="0"/>
                      <a:pt x="42091" y="9357"/>
                      <a:pt x="42091" y="21046"/>
                    </a:cubicBezTo>
                    <a:cubicBezTo>
                      <a:pt x="42091" y="32615"/>
                      <a:pt x="32726" y="42091"/>
                      <a:pt x="21046" y="42091"/>
                    </a:cubicBezTo>
                    <a:cubicBezTo>
                      <a:pt x="9471" y="42098"/>
                      <a:pt x="0" y="32726"/>
                      <a:pt x="0" y="21150"/>
                    </a:cubicBezTo>
                    <a:close/>
                  </a:path>
                </a:pathLst>
              </a:custGeom>
              <a:grpFill/>
              <a:ln w="524" cap="flat">
                <a:noFill/>
                <a:prstDash val="solid"/>
                <a:miter/>
              </a:ln>
            </p:spPr>
            <p:txBody>
              <a:bodyPr rtlCol="0" anchor="ctr"/>
              <a:lstStyle/>
              <a:p>
                <a:endParaRPr lang="de-DE"/>
              </a:p>
            </p:txBody>
          </p:sp>
          <p:sp>
            <p:nvSpPr>
              <p:cNvPr id="54" name="Freihandform 134">
                <a:extLst>
                  <a:ext uri="{FF2B5EF4-FFF2-40B4-BE49-F238E27FC236}">
                    <a16:creationId xmlns:a16="http://schemas.microsoft.com/office/drawing/2014/main" id="{1845D6EC-77C5-E013-851A-1BB57A414596}"/>
                  </a:ext>
                </a:extLst>
              </p:cNvPr>
              <p:cNvSpPr>
                <a:spLocks noChangeAspect="1"/>
              </p:cNvSpPr>
              <p:nvPr/>
            </p:nvSpPr>
            <p:spPr>
              <a:xfrm>
                <a:off x="3359933" y="4664980"/>
                <a:ext cx="82536" cy="84183"/>
              </a:xfrm>
              <a:custGeom>
                <a:avLst/>
                <a:gdLst>
                  <a:gd name="connsiteX0" fmla="*/ 1 w 42092"/>
                  <a:gd name="connsiteY0" fmla="*/ 21887 h 42932"/>
                  <a:gd name="connsiteX1" fmla="*/ 1 w 42092"/>
                  <a:gd name="connsiteY1" fmla="*/ 21151 h 42932"/>
                  <a:gd name="connsiteX2" fmla="*/ 20942 w 42092"/>
                  <a:gd name="connsiteY2" fmla="*/ 1 h 42932"/>
                  <a:gd name="connsiteX3" fmla="*/ 42092 w 42092"/>
                  <a:gd name="connsiteY3" fmla="*/ 20934 h 42932"/>
                  <a:gd name="connsiteX4" fmla="*/ 42092 w 42092"/>
                  <a:gd name="connsiteY4" fmla="*/ 21466 h 42932"/>
                  <a:gd name="connsiteX5" fmla="*/ 42092 w 42092"/>
                  <a:gd name="connsiteY5" fmla="*/ 21887 h 42932"/>
                  <a:gd name="connsiteX6" fmla="*/ 21047 w 42092"/>
                  <a:gd name="connsiteY6" fmla="*/ 42933 h 42932"/>
                  <a:gd name="connsiteX7" fmla="*/ 1 w 42092"/>
                  <a:gd name="connsiteY7" fmla="*/ 21887 h 42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092" h="42932">
                    <a:moveTo>
                      <a:pt x="1" y="21887"/>
                    </a:moveTo>
                    <a:lnTo>
                      <a:pt x="1" y="21151"/>
                    </a:lnTo>
                    <a:cubicBezTo>
                      <a:pt x="-104" y="9472"/>
                      <a:pt x="9358" y="1"/>
                      <a:pt x="20942" y="1"/>
                    </a:cubicBezTo>
                    <a:cubicBezTo>
                      <a:pt x="32511" y="-112"/>
                      <a:pt x="41988" y="9262"/>
                      <a:pt x="42092" y="20934"/>
                    </a:cubicBezTo>
                    <a:lnTo>
                      <a:pt x="42092" y="21466"/>
                    </a:lnTo>
                    <a:lnTo>
                      <a:pt x="42092" y="21887"/>
                    </a:lnTo>
                    <a:cubicBezTo>
                      <a:pt x="42092" y="33456"/>
                      <a:pt x="32615" y="42933"/>
                      <a:pt x="21047" y="42933"/>
                    </a:cubicBezTo>
                    <a:cubicBezTo>
                      <a:pt x="9471" y="42933"/>
                      <a:pt x="1" y="33456"/>
                      <a:pt x="1" y="21887"/>
                    </a:cubicBezTo>
                    <a:close/>
                  </a:path>
                </a:pathLst>
              </a:custGeom>
              <a:grpFill/>
              <a:ln w="524" cap="flat">
                <a:noFill/>
                <a:prstDash val="solid"/>
                <a:miter/>
              </a:ln>
            </p:spPr>
            <p:txBody>
              <a:bodyPr rtlCol="0" anchor="ctr"/>
              <a:lstStyle/>
              <a:p>
                <a:endParaRPr lang="de-DE"/>
              </a:p>
            </p:txBody>
          </p:sp>
          <p:sp>
            <p:nvSpPr>
              <p:cNvPr id="55" name="Freihandform 135">
                <a:extLst>
                  <a:ext uri="{FF2B5EF4-FFF2-40B4-BE49-F238E27FC236}">
                    <a16:creationId xmlns:a16="http://schemas.microsoft.com/office/drawing/2014/main" id="{6A684D8C-5FA7-55A2-A522-62963A2073C9}"/>
                  </a:ext>
                </a:extLst>
              </p:cNvPr>
              <p:cNvSpPr/>
              <p:nvPr/>
            </p:nvSpPr>
            <p:spPr>
              <a:xfrm>
                <a:off x="3000261" y="4517395"/>
                <a:ext cx="84183" cy="84183"/>
              </a:xfrm>
              <a:custGeom>
                <a:avLst/>
                <a:gdLst>
                  <a:gd name="connsiteX0" fmla="*/ 6206 w 42090"/>
                  <a:gd name="connsiteY0" fmla="*/ 35937 h 42041"/>
                  <a:gd name="connsiteX1" fmla="*/ 6101 w 42090"/>
                  <a:gd name="connsiteY1" fmla="*/ 6157 h 42041"/>
                  <a:gd name="connsiteX2" fmla="*/ 6206 w 42090"/>
                  <a:gd name="connsiteY2" fmla="*/ 6157 h 42041"/>
                  <a:gd name="connsiteX3" fmla="*/ 35880 w 42090"/>
                  <a:gd name="connsiteY3" fmla="*/ 6157 h 42041"/>
                  <a:gd name="connsiteX4" fmla="*/ 35984 w 42090"/>
                  <a:gd name="connsiteY4" fmla="*/ 35937 h 42041"/>
                  <a:gd name="connsiteX5" fmla="*/ 21043 w 42090"/>
                  <a:gd name="connsiteY5" fmla="*/ 42042 h 42041"/>
                  <a:gd name="connsiteX6" fmla="*/ 6206 w 42090"/>
                  <a:gd name="connsiteY6" fmla="*/ 35937 h 4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90" h="42041">
                    <a:moveTo>
                      <a:pt x="6206" y="35937"/>
                    </a:moveTo>
                    <a:cubicBezTo>
                      <a:pt x="-1994" y="27728"/>
                      <a:pt x="-2107" y="14470"/>
                      <a:pt x="6101" y="6157"/>
                    </a:cubicBezTo>
                    <a:lnTo>
                      <a:pt x="6206" y="6157"/>
                    </a:lnTo>
                    <a:cubicBezTo>
                      <a:pt x="14308" y="-2052"/>
                      <a:pt x="27679" y="-2052"/>
                      <a:pt x="35880" y="6157"/>
                    </a:cubicBezTo>
                    <a:cubicBezTo>
                      <a:pt x="44088" y="14258"/>
                      <a:pt x="44199" y="27630"/>
                      <a:pt x="35984" y="35937"/>
                    </a:cubicBezTo>
                    <a:cubicBezTo>
                      <a:pt x="31880" y="40042"/>
                      <a:pt x="26514" y="42042"/>
                      <a:pt x="21043" y="42042"/>
                    </a:cubicBezTo>
                    <a:cubicBezTo>
                      <a:pt x="15683" y="42033"/>
                      <a:pt x="10316" y="40042"/>
                      <a:pt x="6206" y="35937"/>
                    </a:cubicBezTo>
                    <a:close/>
                  </a:path>
                </a:pathLst>
              </a:custGeom>
              <a:grpFill/>
              <a:ln w="524" cap="flat">
                <a:noFill/>
                <a:prstDash val="solid"/>
                <a:miter/>
              </a:ln>
            </p:spPr>
            <p:txBody>
              <a:bodyPr rtlCol="0" anchor="ctr"/>
              <a:lstStyle/>
              <a:p>
                <a:endParaRPr lang="de-DE"/>
              </a:p>
            </p:txBody>
          </p:sp>
          <p:sp>
            <p:nvSpPr>
              <p:cNvPr id="56" name="Freihandform 136">
                <a:extLst>
                  <a:ext uri="{FF2B5EF4-FFF2-40B4-BE49-F238E27FC236}">
                    <a16:creationId xmlns:a16="http://schemas.microsoft.com/office/drawing/2014/main" id="{727DBB3D-5A5A-50C6-F617-758AF834D4F1}"/>
                  </a:ext>
                </a:extLst>
              </p:cNvPr>
              <p:cNvSpPr>
                <a:spLocks noChangeAspect="1"/>
              </p:cNvSpPr>
              <p:nvPr/>
            </p:nvSpPr>
            <p:spPr>
              <a:xfrm>
                <a:off x="3297743" y="4516462"/>
                <a:ext cx="84113" cy="84183"/>
              </a:xfrm>
              <a:custGeom>
                <a:avLst/>
                <a:gdLst>
                  <a:gd name="connsiteX0" fmla="*/ 6211 w 42098"/>
                  <a:gd name="connsiteY0" fmla="*/ 36029 h 42133"/>
                  <a:gd name="connsiteX1" fmla="*/ 6107 w 42098"/>
                  <a:gd name="connsiteY1" fmla="*/ 6248 h 42133"/>
                  <a:gd name="connsiteX2" fmla="*/ 35887 w 42098"/>
                  <a:gd name="connsiteY2" fmla="*/ 6144 h 42133"/>
                  <a:gd name="connsiteX3" fmla="*/ 35992 w 42098"/>
                  <a:gd name="connsiteY3" fmla="*/ 35924 h 42133"/>
                  <a:gd name="connsiteX4" fmla="*/ 21051 w 42098"/>
                  <a:gd name="connsiteY4" fmla="*/ 42133 h 42133"/>
                  <a:gd name="connsiteX5" fmla="*/ 6212 w 42098"/>
                  <a:gd name="connsiteY5" fmla="*/ 36029 h 4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098" h="42133">
                    <a:moveTo>
                      <a:pt x="6211" y="36029"/>
                    </a:moveTo>
                    <a:cubicBezTo>
                      <a:pt x="-1997" y="27820"/>
                      <a:pt x="-2108" y="14457"/>
                      <a:pt x="6107" y="6248"/>
                    </a:cubicBezTo>
                    <a:cubicBezTo>
                      <a:pt x="14321" y="-2065"/>
                      <a:pt x="27678" y="-2065"/>
                      <a:pt x="35887" y="6144"/>
                    </a:cubicBezTo>
                    <a:cubicBezTo>
                      <a:pt x="44096" y="14352"/>
                      <a:pt x="44207" y="27611"/>
                      <a:pt x="35992" y="35924"/>
                    </a:cubicBezTo>
                    <a:cubicBezTo>
                      <a:pt x="31888" y="40029"/>
                      <a:pt x="26515" y="42133"/>
                      <a:pt x="21051" y="42133"/>
                    </a:cubicBezTo>
                    <a:cubicBezTo>
                      <a:pt x="15683" y="42131"/>
                      <a:pt x="10308" y="40027"/>
                      <a:pt x="6212" y="36029"/>
                    </a:cubicBezTo>
                    <a:close/>
                  </a:path>
                </a:pathLst>
              </a:custGeom>
              <a:grpFill/>
              <a:ln w="524" cap="flat">
                <a:noFill/>
                <a:prstDash val="solid"/>
                <a:miter/>
              </a:ln>
            </p:spPr>
            <p:txBody>
              <a:bodyPr rtlCol="0" anchor="ctr"/>
              <a:lstStyle/>
              <a:p>
                <a:endParaRPr lang="de-DE"/>
              </a:p>
            </p:txBody>
          </p:sp>
          <p:sp>
            <p:nvSpPr>
              <p:cNvPr id="57" name="Freihandform 137">
                <a:extLst>
                  <a:ext uri="{FF2B5EF4-FFF2-40B4-BE49-F238E27FC236}">
                    <a16:creationId xmlns:a16="http://schemas.microsoft.com/office/drawing/2014/main" id="{056445B9-9F72-6AD0-4C9E-4F31C794481E}"/>
                  </a:ext>
                </a:extLst>
              </p:cNvPr>
              <p:cNvSpPr>
                <a:spLocks noChangeAspect="1"/>
              </p:cNvSpPr>
              <p:nvPr/>
            </p:nvSpPr>
            <p:spPr>
              <a:xfrm>
                <a:off x="3148845" y="4455366"/>
                <a:ext cx="84185" cy="84183"/>
              </a:xfrm>
              <a:custGeom>
                <a:avLst/>
                <a:gdLst>
                  <a:gd name="connsiteX0" fmla="*/ 1 w 42092"/>
                  <a:gd name="connsiteY0" fmla="*/ 21150 h 42091"/>
                  <a:gd name="connsiteX1" fmla="*/ 20942 w 42092"/>
                  <a:gd name="connsiteY1" fmla="*/ 0 h 42091"/>
                  <a:gd name="connsiteX2" fmla="*/ 42092 w 42092"/>
                  <a:gd name="connsiteY2" fmla="*/ 20933 h 42091"/>
                  <a:gd name="connsiteX3" fmla="*/ 21053 w 42092"/>
                  <a:gd name="connsiteY3" fmla="*/ 42091 h 42091"/>
                  <a:gd name="connsiteX4" fmla="*/ 1 w 42092"/>
                  <a:gd name="connsiteY4" fmla="*/ 21150 h 42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2" h="42091">
                    <a:moveTo>
                      <a:pt x="1" y="21150"/>
                    </a:moveTo>
                    <a:cubicBezTo>
                      <a:pt x="-104" y="9471"/>
                      <a:pt x="9358" y="0"/>
                      <a:pt x="20942" y="0"/>
                    </a:cubicBezTo>
                    <a:cubicBezTo>
                      <a:pt x="32630" y="0"/>
                      <a:pt x="41988" y="9357"/>
                      <a:pt x="42092" y="20933"/>
                    </a:cubicBezTo>
                    <a:cubicBezTo>
                      <a:pt x="42092" y="32612"/>
                      <a:pt x="32726" y="42091"/>
                      <a:pt x="21053" y="42091"/>
                    </a:cubicBezTo>
                    <a:cubicBezTo>
                      <a:pt x="9358" y="42091"/>
                      <a:pt x="1" y="32726"/>
                      <a:pt x="1" y="21150"/>
                    </a:cubicBezTo>
                    <a:close/>
                  </a:path>
                </a:pathLst>
              </a:custGeom>
              <a:grpFill/>
              <a:ln w="524" cap="flat">
                <a:noFill/>
                <a:prstDash val="solid"/>
                <a:miter/>
              </a:ln>
            </p:spPr>
            <p:txBody>
              <a:bodyPr rtlCol="0" anchor="ctr"/>
              <a:lstStyle/>
              <a:p>
                <a:endParaRPr lang="de-DE"/>
              </a:p>
            </p:txBody>
          </p:sp>
        </p:grpSp>
      </p:grpSp>
      <p:sp>
        <p:nvSpPr>
          <p:cNvPr id="58" name="TextBox 57">
            <a:extLst>
              <a:ext uri="{FF2B5EF4-FFF2-40B4-BE49-F238E27FC236}">
                <a16:creationId xmlns:a16="http://schemas.microsoft.com/office/drawing/2014/main" id="{E015062D-EF06-ECBC-AB7A-23821D950382}"/>
              </a:ext>
            </a:extLst>
          </p:cNvPr>
          <p:cNvSpPr txBox="1"/>
          <p:nvPr/>
        </p:nvSpPr>
        <p:spPr>
          <a:xfrm>
            <a:off x="5739348" y="3680062"/>
            <a:ext cx="1741665" cy="1138773"/>
          </a:xfrm>
          <a:prstGeom prst="rect">
            <a:avLst/>
          </a:prstGeom>
          <a:noFill/>
        </p:spPr>
        <p:txBody>
          <a:bodyPr wrap="square" lIns="0" tIns="0" rIns="0" bIns="0" rtlCol="0" anchor="t">
            <a:spAutoFit/>
          </a:bodyPr>
          <a:lstStyle/>
          <a:p>
            <a:pPr algn="ctr"/>
            <a:r>
              <a:rPr lang="en-US" sz="2000" b="1">
                <a:solidFill>
                  <a:schemeClr val="accent1"/>
                </a:solidFill>
              </a:rPr>
              <a:t>Dec '24</a:t>
            </a:r>
            <a:endParaRPr lang="en-US">
              <a:solidFill>
                <a:schemeClr val="accent1"/>
              </a:solidFill>
            </a:endParaRPr>
          </a:p>
          <a:p>
            <a:pPr algn="ctr"/>
            <a:r>
              <a:rPr lang="en-US">
                <a:solidFill>
                  <a:schemeClr val="tx1">
                    <a:lumMod val="75000"/>
                    <a:lumOff val="25000"/>
                  </a:schemeClr>
                </a:solidFill>
              </a:rPr>
              <a:t>First meeting of </a:t>
            </a:r>
            <a:r>
              <a:rPr lang="en-US" err="1">
                <a:solidFill>
                  <a:schemeClr val="tx1">
                    <a:lumMod val="75000"/>
                    <a:lumOff val="25000"/>
                  </a:schemeClr>
                </a:solidFill>
              </a:rPr>
              <a:t>Ecodesing</a:t>
            </a:r>
            <a:r>
              <a:rPr lang="en-US">
                <a:solidFill>
                  <a:schemeClr val="tx1">
                    <a:lumMod val="75000"/>
                    <a:lumOff val="25000"/>
                  </a:schemeClr>
                </a:solidFill>
              </a:rPr>
              <a:t> Forum</a:t>
            </a:r>
          </a:p>
        </p:txBody>
      </p:sp>
      <p:grpSp>
        <p:nvGrpSpPr>
          <p:cNvPr id="5" name="Group 4">
            <a:extLst>
              <a:ext uri="{FF2B5EF4-FFF2-40B4-BE49-F238E27FC236}">
                <a16:creationId xmlns:a16="http://schemas.microsoft.com/office/drawing/2014/main" id="{AE837968-02EE-787C-73C1-32B4D18DDCDB}"/>
              </a:ext>
            </a:extLst>
          </p:cNvPr>
          <p:cNvGrpSpPr/>
          <p:nvPr/>
        </p:nvGrpSpPr>
        <p:grpSpPr>
          <a:xfrm>
            <a:off x="7340614" y="3071401"/>
            <a:ext cx="430589" cy="432000"/>
            <a:chOff x="7789685" y="3080109"/>
            <a:chExt cx="430589" cy="432000"/>
          </a:xfrm>
        </p:grpSpPr>
        <p:sp>
          <p:nvSpPr>
            <p:cNvPr id="77" name="Oval 76">
              <a:extLst>
                <a:ext uri="{FF2B5EF4-FFF2-40B4-BE49-F238E27FC236}">
                  <a16:creationId xmlns:a16="http://schemas.microsoft.com/office/drawing/2014/main" id="{627A4459-3007-4E2D-EDD0-35E7865A0508}"/>
                </a:ext>
              </a:extLst>
            </p:cNvPr>
            <p:cNvSpPr/>
            <p:nvPr/>
          </p:nvSpPr>
          <p:spPr>
            <a:xfrm>
              <a:off x="7838777" y="3129907"/>
              <a:ext cx="332404" cy="3324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9" name="Grafik 64">
              <a:extLst>
                <a:ext uri="{FF2B5EF4-FFF2-40B4-BE49-F238E27FC236}">
                  <a16:creationId xmlns:a16="http://schemas.microsoft.com/office/drawing/2014/main" id="{0656BD09-9CF2-8053-5B47-03BED31AC3F4}"/>
                </a:ext>
              </a:extLst>
            </p:cNvPr>
            <p:cNvGrpSpPr/>
            <p:nvPr/>
          </p:nvGrpSpPr>
          <p:grpSpPr>
            <a:xfrm rot="1323096">
              <a:off x="7789685" y="3080109"/>
              <a:ext cx="430589" cy="432000"/>
              <a:chOff x="2939022" y="4455366"/>
              <a:chExt cx="503447" cy="505097"/>
            </a:xfrm>
            <a:solidFill>
              <a:schemeClr val="accent1"/>
            </a:solidFill>
          </p:grpSpPr>
          <p:sp>
            <p:nvSpPr>
              <p:cNvPr id="60" name="Freihandform 130">
                <a:extLst>
                  <a:ext uri="{FF2B5EF4-FFF2-40B4-BE49-F238E27FC236}">
                    <a16:creationId xmlns:a16="http://schemas.microsoft.com/office/drawing/2014/main" id="{912BE7A7-50B0-3E28-AA70-CFC4EA25DE60}"/>
                  </a:ext>
                </a:extLst>
              </p:cNvPr>
              <p:cNvSpPr>
                <a:spLocks noChangeAspect="1"/>
              </p:cNvSpPr>
              <p:nvPr/>
            </p:nvSpPr>
            <p:spPr>
              <a:xfrm>
                <a:off x="3149689" y="4876280"/>
                <a:ext cx="84171" cy="84183"/>
              </a:xfrm>
              <a:custGeom>
                <a:avLst/>
                <a:gdLst>
                  <a:gd name="connsiteX0" fmla="*/ 0 w 42085"/>
                  <a:gd name="connsiteY0" fmla="*/ 21046 h 42091"/>
                  <a:gd name="connsiteX1" fmla="*/ 21046 w 42085"/>
                  <a:gd name="connsiteY1" fmla="*/ 0 h 42091"/>
                  <a:gd name="connsiteX2" fmla="*/ 42085 w 42085"/>
                  <a:gd name="connsiteY2" fmla="*/ 21046 h 42091"/>
                  <a:gd name="connsiteX3" fmla="*/ 21046 w 42085"/>
                  <a:gd name="connsiteY3" fmla="*/ 42091 h 42091"/>
                  <a:gd name="connsiteX4" fmla="*/ 0 w 42085"/>
                  <a:gd name="connsiteY4" fmla="*/ 21046 h 42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85" h="42091">
                    <a:moveTo>
                      <a:pt x="0" y="21046"/>
                    </a:moveTo>
                    <a:cubicBezTo>
                      <a:pt x="0" y="9471"/>
                      <a:pt x="9357" y="0"/>
                      <a:pt x="21046" y="0"/>
                    </a:cubicBezTo>
                    <a:cubicBezTo>
                      <a:pt x="32615" y="0"/>
                      <a:pt x="42085" y="9357"/>
                      <a:pt x="42085" y="21046"/>
                    </a:cubicBezTo>
                    <a:cubicBezTo>
                      <a:pt x="42085" y="32615"/>
                      <a:pt x="32728" y="42091"/>
                      <a:pt x="21046" y="42091"/>
                    </a:cubicBezTo>
                    <a:cubicBezTo>
                      <a:pt x="9471" y="42091"/>
                      <a:pt x="0" y="32615"/>
                      <a:pt x="0" y="21046"/>
                    </a:cubicBezTo>
                    <a:close/>
                  </a:path>
                </a:pathLst>
              </a:custGeom>
              <a:grpFill/>
              <a:ln w="524" cap="flat">
                <a:noFill/>
                <a:prstDash val="solid"/>
                <a:miter/>
              </a:ln>
            </p:spPr>
            <p:txBody>
              <a:bodyPr rtlCol="0" anchor="ctr"/>
              <a:lstStyle/>
              <a:p>
                <a:endParaRPr lang="de-DE"/>
              </a:p>
            </p:txBody>
          </p:sp>
          <p:sp>
            <p:nvSpPr>
              <p:cNvPr id="61" name="Freihandform 131">
                <a:extLst>
                  <a:ext uri="{FF2B5EF4-FFF2-40B4-BE49-F238E27FC236}">
                    <a16:creationId xmlns:a16="http://schemas.microsoft.com/office/drawing/2014/main" id="{88CD7BED-652E-6E6F-EB20-118550252DFA}"/>
                  </a:ext>
                </a:extLst>
              </p:cNvPr>
              <p:cNvSpPr>
                <a:spLocks noChangeAspect="1"/>
              </p:cNvSpPr>
              <p:nvPr/>
            </p:nvSpPr>
            <p:spPr>
              <a:xfrm>
                <a:off x="3000898" y="4814876"/>
                <a:ext cx="84178" cy="84183"/>
              </a:xfrm>
              <a:custGeom>
                <a:avLst/>
                <a:gdLst>
                  <a:gd name="connsiteX0" fmla="*/ 6206 w 42045"/>
                  <a:gd name="connsiteY0" fmla="*/ 35937 h 42047"/>
                  <a:gd name="connsiteX1" fmla="*/ 6101 w 42045"/>
                  <a:gd name="connsiteY1" fmla="*/ 6157 h 42047"/>
                  <a:gd name="connsiteX2" fmla="*/ 35882 w 42045"/>
                  <a:gd name="connsiteY2" fmla="*/ 6157 h 42047"/>
                  <a:gd name="connsiteX3" fmla="*/ 35987 w 42045"/>
                  <a:gd name="connsiteY3" fmla="*/ 35824 h 42047"/>
                  <a:gd name="connsiteX4" fmla="*/ 21045 w 42045"/>
                  <a:gd name="connsiteY4" fmla="*/ 42047 h 42047"/>
                  <a:gd name="connsiteX5" fmla="*/ 6207 w 42045"/>
                  <a:gd name="connsiteY5" fmla="*/ 35937 h 42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045" h="42047">
                    <a:moveTo>
                      <a:pt x="6206" y="35937"/>
                    </a:moveTo>
                    <a:cubicBezTo>
                      <a:pt x="-1994" y="27723"/>
                      <a:pt x="-2107" y="14366"/>
                      <a:pt x="6101" y="6157"/>
                    </a:cubicBezTo>
                    <a:cubicBezTo>
                      <a:pt x="14302" y="-2052"/>
                      <a:pt x="27673" y="-2052"/>
                      <a:pt x="35882" y="6157"/>
                    </a:cubicBezTo>
                    <a:cubicBezTo>
                      <a:pt x="44083" y="14366"/>
                      <a:pt x="44083" y="27630"/>
                      <a:pt x="35987" y="35824"/>
                    </a:cubicBezTo>
                    <a:cubicBezTo>
                      <a:pt x="31883" y="40048"/>
                      <a:pt x="26412" y="42047"/>
                      <a:pt x="21045" y="42047"/>
                    </a:cubicBezTo>
                    <a:cubicBezTo>
                      <a:pt x="15677" y="42039"/>
                      <a:pt x="10311" y="40040"/>
                      <a:pt x="6207" y="35937"/>
                    </a:cubicBezTo>
                    <a:close/>
                  </a:path>
                </a:pathLst>
              </a:custGeom>
              <a:grpFill/>
              <a:ln w="524" cap="flat">
                <a:noFill/>
                <a:prstDash val="solid"/>
                <a:miter/>
              </a:ln>
            </p:spPr>
            <p:txBody>
              <a:bodyPr rtlCol="0" anchor="ctr"/>
              <a:lstStyle/>
              <a:p>
                <a:endParaRPr lang="de-DE"/>
              </a:p>
            </p:txBody>
          </p:sp>
          <p:sp>
            <p:nvSpPr>
              <p:cNvPr id="62" name="Freihandform 132">
                <a:extLst>
                  <a:ext uri="{FF2B5EF4-FFF2-40B4-BE49-F238E27FC236}">
                    <a16:creationId xmlns:a16="http://schemas.microsoft.com/office/drawing/2014/main" id="{5CBA9D48-7197-20CE-03EA-1F5B4E86C9C0}"/>
                  </a:ext>
                </a:extLst>
              </p:cNvPr>
              <p:cNvSpPr>
                <a:spLocks noChangeAspect="1"/>
              </p:cNvSpPr>
              <p:nvPr/>
            </p:nvSpPr>
            <p:spPr>
              <a:xfrm>
                <a:off x="3298334" y="4814559"/>
                <a:ext cx="84244" cy="84183"/>
              </a:xfrm>
              <a:custGeom>
                <a:avLst/>
                <a:gdLst>
                  <a:gd name="connsiteX0" fmla="*/ 6250 w 42074"/>
                  <a:gd name="connsiteY0" fmla="*/ 35933 h 42043"/>
                  <a:gd name="connsiteX1" fmla="*/ 6131 w 42074"/>
                  <a:gd name="connsiteY1" fmla="*/ 6161 h 42043"/>
                  <a:gd name="connsiteX2" fmla="*/ 35917 w 42074"/>
                  <a:gd name="connsiteY2" fmla="*/ 6161 h 42043"/>
                  <a:gd name="connsiteX3" fmla="*/ 35917 w 42074"/>
                  <a:gd name="connsiteY3" fmla="*/ 35933 h 42043"/>
                  <a:gd name="connsiteX4" fmla="*/ 21081 w 42074"/>
                  <a:gd name="connsiteY4" fmla="*/ 42043 h 42043"/>
                  <a:gd name="connsiteX5" fmla="*/ 6250 w 42074"/>
                  <a:gd name="connsiteY5" fmla="*/ 35933 h 42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074" h="42043">
                    <a:moveTo>
                      <a:pt x="6250" y="35933"/>
                    </a:moveTo>
                    <a:cubicBezTo>
                      <a:pt x="-2063" y="27724"/>
                      <a:pt x="-2063" y="14368"/>
                      <a:pt x="6131" y="6161"/>
                    </a:cubicBezTo>
                    <a:cubicBezTo>
                      <a:pt x="14346" y="-2054"/>
                      <a:pt x="27709" y="-2054"/>
                      <a:pt x="35917" y="6161"/>
                    </a:cubicBezTo>
                    <a:cubicBezTo>
                      <a:pt x="44126" y="14370"/>
                      <a:pt x="44126" y="27727"/>
                      <a:pt x="35917" y="35933"/>
                    </a:cubicBezTo>
                    <a:cubicBezTo>
                      <a:pt x="31813" y="40038"/>
                      <a:pt x="26447" y="42043"/>
                      <a:pt x="21081" y="42043"/>
                    </a:cubicBezTo>
                    <a:cubicBezTo>
                      <a:pt x="15713" y="42043"/>
                      <a:pt x="10354" y="40035"/>
                      <a:pt x="6250" y="35933"/>
                    </a:cubicBezTo>
                    <a:close/>
                  </a:path>
                </a:pathLst>
              </a:custGeom>
              <a:grpFill/>
              <a:ln w="524" cap="flat">
                <a:noFill/>
                <a:prstDash val="solid"/>
                <a:miter/>
              </a:ln>
            </p:spPr>
            <p:txBody>
              <a:bodyPr rtlCol="0" anchor="ctr"/>
              <a:lstStyle/>
              <a:p>
                <a:endParaRPr lang="de-DE"/>
              </a:p>
            </p:txBody>
          </p:sp>
          <p:sp>
            <p:nvSpPr>
              <p:cNvPr id="63" name="Freihandform 133">
                <a:extLst>
                  <a:ext uri="{FF2B5EF4-FFF2-40B4-BE49-F238E27FC236}">
                    <a16:creationId xmlns:a16="http://schemas.microsoft.com/office/drawing/2014/main" id="{5CA148D0-F6B1-EAB2-5C30-36845FCF373B}"/>
                  </a:ext>
                </a:extLst>
              </p:cNvPr>
              <p:cNvSpPr/>
              <p:nvPr/>
            </p:nvSpPr>
            <p:spPr>
              <a:xfrm>
                <a:off x="2939022" y="4666245"/>
                <a:ext cx="84183" cy="84183"/>
              </a:xfrm>
              <a:custGeom>
                <a:avLst/>
                <a:gdLst>
                  <a:gd name="connsiteX0" fmla="*/ 0 w 42091"/>
                  <a:gd name="connsiteY0" fmla="*/ 21150 h 42091"/>
                  <a:gd name="connsiteX1" fmla="*/ 21046 w 42091"/>
                  <a:gd name="connsiteY1" fmla="*/ 0 h 42091"/>
                  <a:gd name="connsiteX2" fmla="*/ 42091 w 42091"/>
                  <a:gd name="connsiteY2" fmla="*/ 21046 h 42091"/>
                  <a:gd name="connsiteX3" fmla="*/ 21046 w 42091"/>
                  <a:gd name="connsiteY3" fmla="*/ 42091 h 42091"/>
                  <a:gd name="connsiteX4" fmla="*/ 0 w 42091"/>
                  <a:gd name="connsiteY4" fmla="*/ 21150 h 42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1" h="42091">
                    <a:moveTo>
                      <a:pt x="0" y="21150"/>
                    </a:moveTo>
                    <a:cubicBezTo>
                      <a:pt x="0" y="9471"/>
                      <a:pt x="9357" y="0"/>
                      <a:pt x="21046" y="0"/>
                    </a:cubicBezTo>
                    <a:cubicBezTo>
                      <a:pt x="32615" y="0"/>
                      <a:pt x="42091" y="9357"/>
                      <a:pt x="42091" y="21046"/>
                    </a:cubicBezTo>
                    <a:cubicBezTo>
                      <a:pt x="42091" y="32615"/>
                      <a:pt x="32726" y="42091"/>
                      <a:pt x="21046" y="42091"/>
                    </a:cubicBezTo>
                    <a:cubicBezTo>
                      <a:pt x="9471" y="42098"/>
                      <a:pt x="0" y="32726"/>
                      <a:pt x="0" y="21150"/>
                    </a:cubicBezTo>
                    <a:close/>
                  </a:path>
                </a:pathLst>
              </a:custGeom>
              <a:grpFill/>
              <a:ln w="524" cap="flat">
                <a:noFill/>
                <a:prstDash val="solid"/>
                <a:miter/>
              </a:ln>
            </p:spPr>
            <p:txBody>
              <a:bodyPr rtlCol="0" anchor="ctr"/>
              <a:lstStyle/>
              <a:p>
                <a:endParaRPr lang="de-DE"/>
              </a:p>
            </p:txBody>
          </p:sp>
          <p:sp>
            <p:nvSpPr>
              <p:cNvPr id="64" name="Freihandform 134">
                <a:extLst>
                  <a:ext uri="{FF2B5EF4-FFF2-40B4-BE49-F238E27FC236}">
                    <a16:creationId xmlns:a16="http://schemas.microsoft.com/office/drawing/2014/main" id="{73CBC15A-EC80-E3FD-9AF8-89A5668D6499}"/>
                  </a:ext>
                </a:extLst>
              </p:cNvPr>
              <p:cNvSpPr>
                <a:spLocks noChangeAspect="1"/>
              </p:cNvSpPr>
              <p:nvPr/>
            </p:nvSpPr>
            <p:spPr>
              <a:xfrm>
                <a:off x="3359933" y="4664980"/>
                <a:ext cx="82536" cy="84183"/>
              </a:xfrm>
              <a:custGeom>
                <a:avLst/>
                <a:gdLst>
                  <a:gd name="connsiteX0" fmla="*/ 1 w 42092"/>
                  <a:gd name="connsiteY0" fmla="*/ 21887 h 42932"/>
                  <a:gd name="connsiteX1" fmla="*/ 1 w 42092"/>
                  <a:gd name="connsiteY1" fmla="*/ 21151 h 42932"/>
                  <a:gd name="connsiteX2" fmla="*/ 20942 w 42092"/>
                  <a:gd name="connsiteY2" fmla="*/ 1 h 42932"/>
                  <a:gd name="connsiteX3" fmla="*/ 42092 w 42092"/>
                  <a:gd name="connsiteY3" fmla="*/ 20934 h 42932"/>
                  <a:gd name="connsiteX4" fmla="*/ 42092 w 42092"/>
                  <a:gd name="connsiteY4" fmla="*/ 21466 h 42932"/>
                  <a:gd name="connsiteX5" fmla="*/ 42092 w 42092"/>
                  <a:gd name="connsiteY5" fmla="*/ 21887 h 42932"/>
                  <a:gd name="connsiteX6" fmla="*/ 21047 w 42092"/>
                  <a:gd name="connsiteY6" fmla="*/ 42933 h 42932"/>
                  <a:gd name="connsiteX7" fmla="*/ 1 w 42092"/>
                  <a:gd name="connsiteY7" fmla="*/ 21887 h 42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092" h="42932">
                    <a:moveTo>
                      <a:pt x="1" y="21887"/>
                    </a:moveTo>
                    <a:lnTo>
                      <a:pt x="1" y="21151"/>
                    </a:lnTo>
                    <a:cubicBezTo>
                      <a:pt x="-104" y="9472"/>
                      <a:pt x="9358" y="1"/>
                      <a:pt x="20942" y="1"/>
                    </a:cubicBezTo>
                    <a:cubicBezTo>
                      <a:pt x="32511" y="-112"/>
                      <a:pt x="41988" y="9262"/>
                      <a:pt x="42092" y="20934"/>
                    </a:cubicBezTo>
                    <a:lnTo>
                      <a:pt x="42092" y="21466"/>
                    </a:lnTo>
                    <a:lnTo>
                      <a:pt x="42092" y="21887"/>
                    </a:lnTo>
                    <a:cubicBezTo>
                      <a:pt x="42092" y="33456"/>
                      <a:pt x="32615" y="42933"/>
                      <a:pt x="21047" y="42933"/>
                    </a:cubicBezTo>
                    <a:cubicBezTo>
                      <a:pt x="9471" y="42933"/>
                      <a:pt x="1" y="33456"/>
                      <a:pt x="1" y="21887"/>
                    </a:cubicBezTo>
                    <a:close/>
                  </a:path>
                </a:pathLst>
              </a:custGeom>
              <a:grpFill/>
              <a:ln w="524" cap="flat">
                <a:noFill/>
                <a:prstDash val="solid"/>
                <a:miter/>
              </a:ln>
            </p:spPr>
            <p:txBody>
              <a:bodyPr rtlCol="0" anchor="ctr"/>
              <a:lstStyle/>
              <a:p>
                <a:endParaRPr lang="de-DE"/>
              </a:p>
            </p:txBody>
          </p:sp>
          <p:sp>
            <p:nvSpPr>
              <p:cNvPr id="65" name="Freihandform 135">
                <a:extLst>
                  <a:ext uri="{FF2B5EF4-FFF2-40B4-BE49-F238E27FC236}">
                    <a16:creationId xmlns:a16="http://schemas.microsoft.com/office/drawing/2014/main" id="{3DA31507-91D1-484D-3BF7-B4C437EDDBD5}"/>
                  </a:ext>
                </a:extLst>
              </p:cNvPr>
              <p:cNvSpPr/>
              <p:nvPr/>
            </p:nvSpPr>
            <p:spPr>
              <a:xfrm>
                <a:off x="3000261" y="4517395"/>
                <a:ext cx="84183" cy="84183"/>
              </a:xfrm>
              <a:custGeom>
                <a:avLst/>
                <a:gdLst>
                  <a:gd name="connsiteX0" fmla="*/ 6206 w 42090"/>
                  <a:gd name="connsiteY0" fmla="*/ 35937 h 42041"/>
                  <a:gd name="connsiteX1" fmla="*/ 6101 w 42090"/>
                  <a:gd name="connsiteY1" fmla="*/ 6157 h 42041"/>
                  <a:gd name="connsiteX2" fmla="*/ 6206 w 42090"/>
                  <a:gd name="connsiteY2" fmla="*/ 6157 h 42041"/>
                  <a:gd name="connsiteX3" fmla="*/ 35880 w 42090"/>
                  <a:gd name="connsiteY3" fmla="*/ 6157 h 42041"/>
                  <a:gd name="connsiteX4" fmla="*/ 35984 w 42090"/>
                  <a:gd name="connsiteY4" fmla="*/ 35937 h 42041"/>
                  <a:gd name="connsiteX5" fmla="*/ 21043 w 42090"/>
                  <a:gd name="connsiteY5" fmla="*/ 42042 h 42041"/>
                  <a:gd name="connsiteX6" fmla="*/ 6206 w 42090"/>
                  <a:gd name="connsiteY6" fmla="*/ 35937 h 4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90" h="42041">
                    <a:moveTo>
                      <a:pt x="6206" y="35937"/>
                    </a:moveTo>
                    <a:cubicBezTo>
                      <a:pt x="-1994" y="27728"/>
                      <a:pt x="-2107" y="14470"/>
                      <a:pt x="6101" y="6157"/>
                    </a:cubicBezTo>
                    <a:lnTo>
                      <a:pt x="6206" y="6157"/>
                    </a:lnTo>
                    <a:cubicBezTo>
                      <a:pt x="14308" y="-2052"/>
                      <a:pt x="27679" y="-2052"/>
                      <a:pt x="35880" y="6157"/>
                    </a:cubicBezTo>
                    <a:cubicBezTo>
                      <a:pt x="44088" y="14258"/>
                      <a:pt x="44199" y="27630"/>
                      <a:pt x="35984" y="35937"/>
                    </a:cubicBezTo>
                    <a:cubicBezTo>
                      <a:pt x="31880" y="40042"/>
                      <a:pt x="26514" y="42042"/>
                      <a:pt x="21043" y="42042"/>
                    </a:cubicBezTo>
                    <a:cubicBezTo>
                      <a:pt x="15683" y="42033"/>
                      <a:pt x="10316" y="40042"/>
                      <a:pt x="6206" y="35937"/>
                    </a:cubicBezTo>
                    <a:close/>
                  </a:path>
                </a:pathLst>
              </a:custGeom>
              <a:grpFill/>
              <a:ln w="524" cap="flat">
                <a:noFill/>
                <a:prstDash val="solid"/>
                <a:miter/>
              </a:ln>
            </p:spPr>
            <p:txBody>
              <a:bodyPr rtlCol="0" anchor="ctr"/>
              <a:lstStyle/>
              <a:p>
                <a:endParaRPr lang="de-DE"/>
              </a:p>
            </p:txBody>
          </p:sp>
          <p:sp>
            <p:nvSpPr>
              <p:cNvPr id="66" name="Freihandform 136">
                <a:extLst>
                  <a:ext uri="{FF2B5EF4-FFF2-40B4-BE49-F238E27FC236}">
                    <a16:creationId xmlns:a16="http://schemas.microsoft.com/office/drawing/2014/main" id="{5979EB38-8884-F51F-DEBE-DA4685A9D52A}"/>
                  </a:ext>
                </a:extLst>
              </p:cNvPr>
              <p:cNvSpPr>
                <a:spLocks noChangeAspect="1"/>
              </p:cNvSpPr>
              <p:nvPr/>
            </p:nvSpPr>
            <p:spPr>
              <a:xfrm>
                <a:off x="3297743" y="4516462"/>
                <a:ext cx="84113" cy="84183"/>
              </a:xfrm>
              <a:custGeom>
                <a:avLst/>
                <a:gdLst>
                  <a:gd name="connsiteX0" fmla="*/ 6211 w 42098"/>
                  <a:gd name="connsiteY0" fmla="*/ 36029 h 42133"/>
                  <a:gd name="connsiteX1" fmla="*/ 6107 w 42098"/>
                  <a:gd name="connsiteY1" fmla="*/ 6248 h 42133"/>
                  <a:gd name="connsiteX2" fmla="*/ 35887 w 42098"/>
                  <a:gd name="connsiteY2" fmla="*/ 6144 h 42133"/>
                  <a:gd name="connsiteX3" fmla="*/ 35992 w 42098"/>
                  <a:gd name="connsiteY3" fmla="*/ 35924 h 42133"/>
                  <a:gd name="connsiteX4" fmla="*/ 21051 w 42098"/>
                  <a:gd name="connsiteY4" fmla="*/ 42133 h 42133"/>
                  <a:gd name="connsiteX5" fmla="*/ 6212 w 42098"/>
                  <a:gd name="connsiteY5" fmla="*/ 36029 h 4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098" h="42133">
                    <a:moveTo>
                      <a:pt x="6211" y="36029"/>
                    </a:moveTo>
                    <a:cubicBezTo>
                      <a:pt x="-1997" y="27820"/>
                      <a:pt x="-2108" y="14457"/>
                      <a:pt x="6107" y="6248"/>
                    </a:cubicBezTo>
                    <a:cubicBezTo>
                      <a:pt x="14321" y="-2065"/>
                      <a:pt x="27678" y="-2065"/>
                      <a:pt x="35887" y="6144"/>
                    </a:cubicBezTo>
                    <a:cubicBezTo>
                      <a:pt x="44096" y="14352"/>
                      <a:pt x="44207" y="27611"/>
                      <a:pt x="35992" y="35924"/>
                    </a:cubicBezTo>
                    <a:cubicBezTo>
                      <a:pt x="31888" y="40029"/>
                      <a:pt x="26515" y="42133"/>
                      <a:pt x="21051" y="42133"/>
                    </a:cubicBezTo>
                    <a:cubicBezTo>
                      <a:pt x="15683" y="42131"/>
                      <a:pt x="10308" y="40027"/>
                      <a:pt x="6212" y="36029"/>
                    </a:cubicBezTo>
                    <a:close/>
                  </a:path>
                </a:pathLst>
              </a:custGeom>
              <a:grpFill/>
              <a:ln w="524" cap="flat">
                <a:noFill/>
                <a:prstDash val="solid"/>
                <a:miter/>
              </a:ln>
            </p:spPr>
            <p:txBody>
              <a:bodyPr rtlCol="0" anchor="ctr"/>
              <a:lstStyle/>
              <a:p>
                <a:endParaRPr lang="de-DE"/>
              </a:p>
            </p:txBody>
          </p:sp>
          <p:sp>
            <p:nvSpPr>
              <p:cNvPr id="67" name="Freihandform 137">
                <a:extLst>
                  <a:ext uri="{FF2B5EF4-FFF2-40B4-BE49-F238E27FC236}">
                    <a16:creationId xmlns:a16="http://schemas.microsoft.com/office/drawing/2014/main" id="{1E537770-64D7-966F-AF6E-4FA2B52B1DF0}"/>
                  </a:ext>
                </a:extLst>
              </p:cNvPr>
              <p:cNvSpPr>
                <a:spLocks noChangeAspect="1"/>
              </p:cNvSpPr>
              <p:nvPr/>
            </p:nvSpPr>
            <p:spPr>
              <a:xfrm>
                <a:off x="3148845" y="4455366"/>
                <a:ext cx="84185" cy="84183"/>
              </a:xfrm>
              <a:custGeom>
                <a:avLst/>
                <a:gdLst>
                  <a:gd name="connsiteX0" fmla="*/ 1 w 42092"/>
                  <a:gd name="connsiteY0" fmla="*/ 21150 h 42091"/>
                  <a:gd name="connsiteX1" fmla="*/ 20942 w 42092"/>
                  <a:gd name="connsiteY1" fmla="*/ 0 h 42091"/>
                  <a:gd name="connsiteX2" fmla="*/ 42092 w 42092"/>
                  <a:gd name="connsiteY2" fmla="*/ 20933 h 42091"/>
                  <a:gd name="connsiteX3" fmla="*/ 21053 w 42092"/>
                  <a:gd name="connsiteY3" fmla="*/ 42091 h 42091"/>
                  <a:gd name="connsiteX4" fmla="*/ 1 w 42092"/>
                  <a:gd name="connsiteY4" fmla="*/ 21150 h 42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2" h="42091">
                    <a:moveTo>
                      <a:pt x="1" y="21150"/>
                    </a:moveTo>
                    <a:cubicBezTo>
                      <a:pt x="-104" y="9471"/>
                      <a:pt x="9358" y="0"/>
                      <a:pt x="20942" y="0"/>
                    </a:cubicBezTo>
                    <a:cubicBezTo>
                      <a:pt x="32630" y="0"/>
                      <a:pt x="41988" y="9357"/>
                      <a:pt x="42092" y="20933"/>
                    </a:cubicBezTo>
                    <a:cubicBezTo>
                      <a:pt x="42092" y="32612"/>
                      <a:pt x="32726" y="42091"/>
                      <a:pt x="21053" y="42091"/>
                    </a:cubicBezTo>
                    <a:cubicBezTo>
                      <a:pt x="9358" y="42091"/>
                      <a:pt x="1" y="32726"/>
                      <a:pt x="1" y="21150"/>
                    </a:cubicBezTo>
                    <a:close/>
                  </a:path>
                </a:pathLst>
              </a:custGeom>
              <a:grpFill/>
              <a:ln w="524" cap="flat">
                <a:noFill/>
                <a:prstDash val="solid"/>
                <a:miter/>
              </a:ln>
            </p:spPr>
            <p:txBody>
              <a:bodyPr rtlCol="0" anchor="ctr"/>
              <a:lstStyle/>
              <a:p>
                <a:endParaRPr lang="de-DE"/>
              </a:p>
            </p:txBody>
          </p:sp>
        </p:grpSp>
      </p:grpSp>
      <p:sp>
        <p:nvSpPr>
          <p:cNvPr id="68" name="TextBox 67">
            <a:extLst>
              <a:ext uri="{FF2B5EF4-FFF2-40B4-BE49-F238E27FC236}">
                <a16:creationId xmlns:a16="http://schemas.microsoft.com/office/drawing/2014/main" id="{E5D49FB1-2186-F07D-1406-D0E79CB9A4AF}"/>
              </a:ext>
            </a:extLst>
          </p:cNvPr>
          <p:cNvSpPr txBox="1"/>
          <p:nvPr/>
        </p:nvSpPr>
        <p:spPr>
          <a:xfrm>
            <a:off x="7776948" y="3680062"/>
            <a:ext cx="1824399" cy="1138773"/>
          </a:xfrm>
          <a:prstGeom prst="rect">
            <a:avLst/>
          </a:prstGeom>
          <a:noFill/>
        </p:spPr>
        <p:txBody>
          <a:bodyPr wrap="square" lIns="0" tIns="0" rIns="0" bIns="0" rtlCol="0" anchor="t">
            <a:spAutoFit/>
          </a:bodyPr>
          <a:lstStyle/>
          <a:p>
            <a:pPr algn="ctr"/>
            <a:r>
              <a:rPr lang="en-US" sz="2000" b="1">
                <a:solidFill>
                  <a:schemeClr val="accent1"/>
                </a:solidFill>
              </a:rPr>
              <a:t>2025</a:t>
            </a:r>
          </a:p>
          <a:p>
            <a:pPr algn="ctr"/>
            <a:r>
              <a:rPr lang="en-US">
                <a:solidFill>
                  <a:schemeClr val="tx1">
                    <a:lumMod val="75000"/>
                    <a:lumOff val="25000"/>
                  </a:schemeClr>
                </a:solidFill>
              </a:rPr>
              <a:t>Adoption of first delegated acts for product groups</a:t>
            </a:r>
          </a:p>
        </p:txBody>
      </p:sp>
      <p:sp>
        <p:nvSpPr>
          <p:cNvPr id="69" name="Textfeld 32">
            <a:extLst>
              <a:ext uri="{FF2B5EF4-FFF2-40B4-BE49-F238E27FC236}">
                <a16:creationId xmlns:a16="http://schemas.microsoft.com/office/drawing/2014/main" id="{97A7CE77-4B0D-FF42-5B34-063F8BD26EE7}"/>
              </a:ext>
            </a:extLst>
          </p:cNvPr>
          <p:cNvSpPr txBox="1"/>
          <p:nvPr/>
        </p:nvSpPr>
        <p:spPr>
          <a:xfrm>
            <a:off x="5624698" y="5564987"/>
            <a:ext cx="2581406" cy="553998"/>
          </a:xfrm>
          <a:prstGeom prst="rect">
            <a:avLst/>
          </a:prstGeom>
          <a:noFill/>
        </p:spPr>
        <p:txBody>
          <a:bodyPr wrap="square" lIns="0" tIns="0" rIns="0" bIns="0" rtlCol="0">
            <a:spAutoFit/>
          </a:bodyPr>
          <a:lstStyle/>
          <a:p>
            <a:pPr algn="ctr"/>
            <a:r>
              <a:rPr lang="en-US">
                <a:solidFill>
                  <a:schemeClr val="accent1"/>
                </a:solidFill>
              </a:rPr>
              <a:t>Preparatory studies and stakeholder surveys</a:t>
            </a:r>
          </a:p>
        </p:txBody>
      </p:sp>
      <p:sp>
        <p:nvSpPr>
          <p:cNvPr id="80" name="Left Brace 79">
            <a:extLst>
              <a:ext uri="{FF2B5EF4-FFF2-40B4-BE49-F238E27FC236}">
                <a16:creationId xmlns:a16="http://schemas.microsoft.com/office/drawing/2014/main" id="{8793925A-B9CE-051B-AAFE-3E1D705AAA48}"/>
              </a:ext>
            </a:extLst>
          </p:cNvPr>
          <p:cNvSpPr/>
          <p:nvPr/>
        </p:nvSpPr>
        <p:spPr>
          <a:xfrm rot="16200000">
            <a:off x="6440829" y="2033162"/>
            <a:ext cx="277595" cy="6246347"/>
          </a:xfrm>
          <a:prstGeom prst="leftBrace">
            <a:avLst/>
          </a:prstGeom>
          <a:ln w="158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70" name="Group 69">
            <a:extLst>
              <a:ext uri="{FF2B5EF4-FFF2-40B4-BE49-F238E27FC236}">
                <a16:creationId xmlns:a16="http://schemas.microsoft.com/office/drawing/2014/main" id="{A41CB0C8-5114-1845-0100-52F52277E8E7}"/>
              </a:ext>
            </a:extLst>
          </p:cNvPr>
          <p:cNvGrpSpPr/>
          <p:nvPr/>
        </p:nvGrpSpPr>
        <p:grpSpPr>
          <a:xfrm>
            <a:off x="9386053" y="3071401"/>
            <a:ext cx="430589" cy="432000"/>
            <a:chOff x="7789685" y="3080109"/>
            <a:chExt cx="430589" cy="432000"/>
          </a:xfrm>
        </p:grpSpPr>
        <p:sp>
          <p:nvSpPr>
            <p:cNvPr id="72" name="Oval 71">
              <a:extLst>
                <a:ext uri="{FF2B5EF4-FFF2-40B4-BE49-F238E27FC236}">
                  <a16:creationId xmlns:a16="http://schemas.microsoft.com/office/drawing/2014/main" id="{87064E26-9540-29E3-6222-FAB31745B998}"/>
                </a:ext>
              </a:extLst>
            </p:cNvPr>
            <p:cNvSpPr/>
            <p:nvPr/>
          </p:nvSpPr>
          <p:spPr>
            <a:xfrm>
              <a:off x="7838777" y="3129907"/>
              <a:ext cx="332404" cy="3324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9" name="Grafik 64">
              <a:extLst>
                <a:ext uri="{FF2B5EF4-FFF2-40B4-BE49-F238E27FC236}">
                  <a16:creationId xmlns:a16="http://schemas.microsoft.com/office/drawing/2014/main" id="{C2E2768D-C92F-B25C-EE4F-900D37557F85}"/>
                </a:ext>
              </a:extLst>
            </p:cNvPr>
            <p:cNvGrpSpPr/>
            <p:nvPr/>
          </p:nvGrpSpPr>
          <p:grpSpPr>
            <a:xfrm rot="1323096">
              <a:off x="7789685" y="3080109"/>
              <a:ext cx="430589" cy="432000"/>
              <a:chOff x="2939022" y="4455366"/>
              <a:chExt cx="503447" cy="505097"/>
            </a:xfrm>
            <a:solidFill>
              <a:schemeClr val="accent1"/>
            </a:solidFill>
          </p:grpSpPr>
          <p:sp>
            <p:nvSpPr>
              <p:cNvPr id="81" name="Freihandform 130">
                <a:extLst>
                  <a:ext uri="{FF2B5EF4-FFF2-40B4-BE49-F238E27FC236}">
                    <a16:creationId xmlns:a16="http://schemas.microsoft.com/office/drawing/2014/main" id="{A2F57CE7-E986-6874-3192-9C6FE85EB9FB}"/>
                  </a:ext>
                </a:extLst>
              </p:cNvPr>
              <p:cNvSpPr>
                <a:spLocks noChangeAspect="1"/>
              </p:cNvSpPr>
              <p:nvPr/>
            </p:nvSpPr>
            <p:spPr>
              <a:xfrm>
                <a:off x="3149689" y="4876280"/>
                <a:ext cx="84171" cy="84183"/>
              </a:xfrm>
              <a:custGeom>
                <a:avLst/>
                <a:gdLst>
                  <a:gd name="connsiteX0" fmla="*/ 0 w 42085"/>
                  <a:gd name="connsiteY0" fmla="*/ 21046 h 42091"/>
                  <a:gd name="connsiteX1" fmla="*/ 21046 w 42085"/>
                  <a:gd name="connsiteY1" fmla="*/ 0 h 42091"/>
                  <a:gd name="connsiteX2" fmla="*/ 42085 w 42085"/>
                  <a:gd name="connsiteY2" fmla="*/ 21046 h 42091"/>
                  <a:gd name="connsiteX3" fmla="*/ 21046 w 42085"/>
                  <a:gd name="connsiteY3" fmla="*/ 42091 h 42091"/>
                  <a:gd name="connsiteX4" fmla="*/ 0 w 42085"/>
                  <a:gd name="connsiteY4" fmla="*/ 21046 h 42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85" h="42091">
                    <a:moveTo>
                      <a:pt x="0" y="21046"/>
                    </a:moveTo>
                    <a:cubicBezTo>
                      <a:pt x="0" y="9471"/>
                      <a:pt x="9357" y="0"/>
                      <a:pt x="21046" y="0"/>
                    </a:cubicBezTo>
                    <a:cubicBezTo>
                      <a:pt x="32615" y="0"/>
                      <a:pt x="42085" y="9357"/>
                      <a:pt x="42085" y="21046"/>
                    </a:cubicBezTo>
                    <a:cubicBezTo>
                      <a:pt x="42085" y="32615"/>
                      <a:pt x="32728" y="42091"/>
                      <a:pt x="21046" y="42091"/>
                    </a:cubicBezTo>
                    <a:cubicBezTo>
                      <a:pt x="9471" y="42091"/>
                      <a:pt x="0" y="32615"/>
                      <a:pt x="0" y="21046"/>
                    </a:cubicBezTo>
                    <a:close/>
                  </a:path>
                </a:pathLst>
              </a:custGeom>
              <a:grpFill/>
              <a:ln w="524" cap="flat">
                <a:noFill/>
                <a:prstDash val="solid"/>
                <a:miter/>
              </a:ln>
            </p:spPr>
            <p:txBody>
              <a:bodyPr rtlCol="0" anchor="ctr"/>
              <a:lstStyle/>
              <a:p>
                <a:endParaRPr lang="de-DE"/>
              </a:p>
            </p:txBody>
          </p:sp>
          <p:sp>
            <p:nvSpPr>
              <p:cNvPr id="82" name="Freihandform 131">
                <a:extLst>
                  <a:ext uri="{FF2B5EF4-FFF2-40B4-BE49-F238E27FC236}">
                    <a16:creationId xmlns:a16="http://schemas.microsoft.com/office/drawing/2014/main" id="{8AF2E16B-0B9F-9A56-A690-67BB9AE23816}"/>
                  </a:ext>
                </a:extLst>
              </p:cNvPr>
              <p:cNvSpPr>
                <a:spLocks noChangeAspect="1"/>
              </p:cNvSpPr>
              <p:nvPr/>
            </p:nvSpPr>
            <p:spPr>
              <a:xfrm>
                <a:off x="3000898" y="4814876"/>
                <a:ext cx="84178" cy="84183"/>
              </a:xfrm>
              <a:custGeom>
                <a:avLst/>
                <a:gdLst>
                  <a:gd name="connsiteX0" fmla="*/ 6206 w 42045"/>
                  <a:gd name="connsiteY0" fmla="*/ 35937 h 42047"/>
                  <a:gd name="connsiteX1" fmla="*/ 6101 w 42045"/>
                  <a:gd name="connsiteY1" fmla="*/ 6157 h 42047"/>
                  <a:gd name="connsiteX2" fmla="*/ 35882 w 42045"/>
                  <a:gd name="connsiteY2" fmla="*/ 6157 h 42047"/>
                  <a:gd name="connsiteX3" fmla="*/ 35987 w 42045"/>
                  <a:gd name="connsiteY3" fmla="*/ 35824 h 42047"/>
                  <a:gd name="connsiteX4" fmla="*/ 21045 w 42045"/>
                  <a:gd name="connsiteY4" fmla="*/ 42047 h 42047"/>
                  <a:gd name="connsiteX5" fmla="*/ 6207 w 42045"/>
                  <a:gd name="connsiteY5" fmla="*/ 35937 h 42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045" h="42047">
                    <a:moveTo>
                      <a:pt x="6206" y="35937"/>
                    </a:moveTo>
                    <a:cubicBezTo>
                      <a:pt x="-1994" y="27723"/>
                      <a:pt x="-2107" y="14366"/>
                      <a:pt x="6101" y="6157"/>
                    </a:cubicBezTo>
                    <a:cubicBezTo>
                      <a:pt x="14302" y="-2052"/>
                      <a:pt x="27673" y="-2052"/>
                      <a:pt x="35882" y="6157"/>
                    </a:cubicBezTo>
                    <a:cubicBezTo>
                      <a:pt x="44083" y="14366"/>
                      <a:pt x="44083" y="27630"/>
                      <a:pt x="35987" y="35824"/>
                    </a:cubicBezTo>
                    <a:cubicBezTo>
                      <a:pt x="31883" y="40048"/>
                      <a:pt x="26412" y="42047"/>
                      <a:pt x="21045" y="42047"/>
                    </a:cubicBezTo>
                    <a:cubicBezTo>
                      <a:pt x="15677" y="42039"/>
                      <a:pt x="10311" y="40040"/>
                      <a:pt x="6207" y="35937"/>
                    </a:cubicBezTo>
                    <a:close/>
                  </a:path>
                </a:pathLst>
              </a:custGeom>
              <a:grpFill/>
              <a:ln w="524" cap="flat">
                <a:noFill/>
                <a:prstDash val="solid"/>
                <a:miter/>
              </a:ln>
            </p:spPr>
            <p:txBody>
              <a:bodyPr rtlCol="0" anchor="ctr"/>
              <a:lstStyle/>
              <a:p>
                <a:endParaRPr lang="de-DE"/>
              </a:p>
            </p:txBody>
          </p:sp>
          <p:sp>
            <p:nvSpPr>
              <p:cNvPr id="83" name="Freihandform 132">
                <a:extLst>
                  <a:ext uri="{FF2B5EF4-FFF2-40B4-BE49-F238E27FC236}">
                    <a16:creationId xmlns:a16="http://schemas.microsoft.com/office/drawing/2014/main" id="{0D51F12B-5EC5-1836-74AC-F3D4621B8B4B}"/>
                  </a:ext>
                </a:extLst>
              </p:cNvPr>
              <p:cNvSpPr>
                <a:spLocks noChangeAspect="1"/>
              </p:cNvSpPr>
              <p:nvPr/>
            </p:nvSpPr>
            <p:spPr>
              <a:xfrm>
                <a:off x="3298334" y="4814559"/>
                <a:ext cx="84244" cy="84183"/>
              </a:xfrm>
              <a:custGeom>
                <a:avLst/>
                <a:gdLst>
                  <a:gd name="connsiteX0" fmla="*/ 6250 w 42074"/>
                  <a:gd name="connsiteY0" fmla="*/ 35933 h 42043"/>
                  <a:gd name="connsiteX1" fmla="*/ 6131 w 42074"/>
                  <a:gd name="connsiteY1" fmla="*/ 6161 h 42043"/>
                  <a:gd name="connsiteX2" fmla="*/ 35917 w 42074"/>
                  <a:gd name="connsiteY2" fmla="*/ 6161 h 42043"/>
                  <a:gd name="connsiteX3" fmla="*/ 35917 w 42074"/>
                  <a:gd name="connsiteY3" fmla="*/ 35933 h 42043"/>
                  <a:gd name="connsiteX4" fmla="*/ 21081 w 42074"/>
                  <a:gd name="connsiteY4" fmla="*/ 42043 h 42043"/>
                  <a:gd name="connsiteX5" fmla="*/ 6250 w 42074"/>
                  <a:gd name="connsiteY5" fmla="*/ 35933 h 42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074" h="42043">
                    <a:moveTo>
                      <a:pt x="6250" y="35933"/>
                    </a:moveTo>
                    <a:cubicBezTo>
                      <a:pt x="-2063" y="27724"/>
                      <a:pt x="-2063" y="14368"/>
                      <a:pt x="6131" y="6161"/>
                    </a:cubicBezTo>
                    <a:cubicBezTo>
                      <a:pt x="14346" y="-2054"/>
                      <a:pt x="27709" y="-2054"/>
                      <a:pt x="35917" y="6161"/>
                    </a:cubicBezTo>
                    <a:cubicBezTo>
                      <a:pt x="44126" y="14370"/>
                      <a:pt x="44126" y="27727"/>
                      <a:pt x="35917" y="35933"/>
                    </a:cubicBezTo>
                    <a:cubicBezTo>
                      <a:pt x="31813" y="40038"/>
                      <a:pt x="26447" y="42043"/>
                      <a:pt x="21081" y="42043"/>
                    </a:cubicBezTo>
                    <a:cubicBezTo>
                      <a:pt x="15713" y="42043"/>
                      <a:pt x="10354" y="40035"/>
                      <a:pt x="6250" y="35933"/>
                    </a:cubicBezTo>
                    <a:close/>
                  </a:path>
                </a:pathLst>
              </a:custGeom>
              <a:grpFill/>
              <a:ln w="524" cap="flat">
                <a:noFill/>
                <a:prstDash val="solid"/>
                <a:miter/>
              </a:ln>
            </p:spPr>
            <p:txBody>
              <a:bodyPr rtlCol="0" anchor="ctr"/>
              <a:lstStyle/>
              <a:p>
                <a:endParaRPr lang="de-DE"/>
              </a:p>
            </p:txBody>
          </p:sp>
          <p:sp>
            <p:nvSpPr>
              <p:cNvPr id="84" name="Freihandform 133">
                <a:extLst>
                  <a:ext uri="{FF2B5EF4-FFF2-40B4-BE49-F238E27FC236}">
                    <a16:creationId xmlns:a16="http://schemas.microsoft.com/office/drawing/2014/main" id="{757C4052-588F-020E-4B69-146E7594A6BF}"/>
                  </a:ext>
                </a:extLst>
              </p:cNvPr>
              <p:cNvSpPr/>
              <p:nvPr/>
            </p:nvSpPr>
            <p:spPr>
              <a:xfrm>
                <a:off x="2939022" y="4666245"/>
                <a:ext cx="84183" cy="84183"/>
              </a:xfrm>
              <a:custGeom>
                <a:avLst/>
                <a:gdLst>
                  <a:gd name="connsiteX0" fmla="*/ 0 w 42091"/>
                  <a:gd name="connsiteY0" fmla="*/ 21150 h 42091"/>
                  <a:gd name="connsiteX1" fmla="*/ 21046 w 42091"/>
                  <a:gd name="connsiteY1" fmla="*/ 0 h 42091"/>
                  <a:gd name="connsiteX2" fmla="*/ 42091 w 42091"/>
                  <a:gd name="connsiteY2" fmla="*/ 21046 h 42091"/>
                  <a:gd name="connsiteX3" fmla="*/ 21046 w 42091"/>
                  <a:gd name="connsiteY3" fmla="*/ 42091 h 42091"/>
                  <a:gd name="connsiteX4" fmla="*/ 0 w 42091"/>
                  <a:gd name="connsiteY4" fmla="*/ 21150 h 42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1" h="42091">
                    <a:moveTo>
                      <a:pt x="0" y="21150"/>
                    </a:moveTo>
                    <a:cubicBezTo>
                      <a:pt x="0" y="9471"/>
                      <a:pt x="9357" y="0"/>
                      <a:pt x="21046" y="0"/>
                    </a:cubicBezTo>
                    <a:cubicBezTo>
                      <a:pt x="32615" y="0"/>
                      <a:pt x="42091" y="9357"/>
                      <a:pt x="42091" y="21046"/>
                    </a:cubicBezTo>
                    <a:cubicBezTo>
                      <a:pt x="42091" y="32615"/>
                      <a:pt x="32726" y="42091"/>
                      <a:pt x="21046" y="42091"/>
                    </a:cubicBezTo>
                    <a:cubicBezTo>
                      <a:pt x="9471" y="42098"/>
                      <a:pt x="0" y="32726"/>
                      <a:pt x="0" y="21150"/>
                    </a:cubicBezTo>
                    <a:close/>
                  </a:path>
                </a:pathLst>
              </a:custGeom>
              <a:grpFill/>
              <a:ln w="524" cap="flat">
                <a:noFill/>
                <a:prstDash val="solid"/>
                <a:miter/>
              </a:ln>
            </p:spPr>
            <p:txBody>
              <a:bodyPr rtlCol="0" anchor="ctr"/>
              <a:lstStyle/>
              <a:p>
                <a:endParaRPr lang="de-DE"/>
              </a:p>
            </p:txBody>
          </p:sp>
          <p:sp>
            <p:nvSpPr>
              <p:cNvPr id="85" name="Freihandform 134">
                <a:extLst>
                  <a:ext uri="{FF2B5EF4-FFF2-40B4-BE49-F238E27FC236}">
                    <a16:creationId xmlns:a16="http://schemas.microsoft.com/office/drawing/2014/main" id="{B126235C-A276-E92F-952E-C45609AF83E4}"/>
                  </a:ext>
                </a:extLst>
              </p:cNvPr>
              <p:cNvSpPr>
                <a:spLocks noChangeAspect="1"/>
              </p:cNvSpPr>
              <p:nvPr/>
            </p:nvSpPr>
            <p:spPr>
              <a:xfrm>
                <a:off x="3359933" y="4664980"/>
                <a:ext cx="82536" cy="84183"/>
              </a:xfrm>
              <a:custGeom>
                <a:avLst/>
                <a:gdLst>
                  <a:gd name="connsiteX0" fmla="*/ 1 w 42092"/>
                  <a:gd name="connsiteY0" fmla="*/ 21887 h 42932"/>
                  <a:gd name="connsiteX1" fmla="*/ 1 w 42092"/>
                  <a:gd name="connsiteY1" fmla="*/ 21151 h 42932"/>
                  <a:gd name="connsiteX2" fmla="*/ 20942 w 42092"/>
                  <a:gd name="connsiteY2" fmla="*/ 1 h 42932"/>
                  <a:gd name="connsiteX3" fmla="*/ 42092 w 42092"/>
                  <a:gd name="connsiteY3" fmla="*/ 20934 h 42932"/>
                  <a:gd name="connsiteX4" fmla="*/ 42092 w 42092"/>
                  <a:gd name="connsiteY4" fmla="*/ 21466 h 42932"/>
                  <a:gd name="connsiteX5" fmla="*/ 42092 w 42092"/>
                  <a:gd name="connsiteY5" fmla="*/ 21887 h 42932"/>
                  <a:gd name="connsiteX6" fmla="*/ 21047 w 42092"/>
                  <a:gd name="connsiteY6" fmla="*/ 42933 h 42932"/>
                  <a:gd name="connsiteX7" fmla="*/ 1 w 42092"/>
                  <a:gd name="connsiteY7" fmla="*/ 21887 h 42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092" h="42932">
                    <a:moveTo>
                      <a:pt x="1" y="21887"/>
                    </a:moveTo>
                    <a:lnTo>
                      <a:pt x="1" y="21151"/>
                    </a:lnTo>
                    <a:cubicBezTo>
                      <a:pt x="-104" y="9472"/>
                      <a:pt x="9358" y="1"/>
                      <a:pt x="20942" y="1"/>
                    </a:cubicBezTo>
                    <a:cubicBezTo>
                      <a:pt x="32511" y="-112"/>
                      <a:pt x="41988" y="9262"/>
                      <a:pt x="42092" y="20934"/>
                    </a:cubicBezTo>
                    <a:lnTo>
                      <a:pt x="42092" y="21466"/>
                    </a:lnTo>
                    <a:lnTo>
                      <a:pt x="42092" y="21887"/>
                    </a:lnTo>
                    <a:cubicBezTo>
                      <a:pt x="42092" y="33456"/>
                      <a:pt x="32615" y="42933"/>
                      <a:pt x="21047" y="42933"/>
                    </a:cubicBezTo>
                    <a:cubicBezTo>
                      <a:pt x="9471" y="42933"/>
                      <a:pt x="1" y="33456"/>
                      <a:pt x="1" y="21887"/>
                    </a:cubicBezTo>
                    <a:close/>
                  </a:path>
                </a:pathLst>
              </a:custGeom>
              <a:grpFill/>
              <a:ln w="524" cap="flat">
                <a:noFill/>
                <a:prstDash val="solid"/>
                <a:miter/>
              </a:ln>
            </p:spPr>
            <p:txBody>
              <a:bodyPr rtlCol="0" anchor="ctr"/>
              <a:lstStyle/>
              <a:p>
                <a:endParaRPr lang="de-DE"/>
              </a:p>
            </p:txBody>
          </p:sp>
          <p:sp>
            <p:nvSpPr>
              <p:cNvPr id="86" name="Freihandform 135">
                <a:extLst>
                  <a:ext uri="{FF2B5EF4-FFF2-40B4-BE49-F238E27FC236}">
                    <a16:creationId xmlns:a16="http://schemas.microsoft.com/office/drawing/2014/main" id="{76FE87A3-7D40-2B81-DD8C-702C7532D7CD}"/>
                  </a:ext>
                </a:extLst>
              </p:cNvPr>
              <p:cNvSpPr/>
              <p:nvPr/>
            </p:nvSpPr>
            <p:spPr>
              <a:xfrm>
                <a:off x="3000261" y="4517395"/>
                <a:ext cx="84183" cy="84183"/>
              </a:xfrm>
              <a:custGeom>
                <a:avLst/>
                <a:gdLst>
                  <a:gd name="connsiteX0" fmla="*/ 6206 w 42090"/>
                  <a:gd name="connsiteY0" fmla="*/ 35937 h 42041"/>
                  <a:gd name="connsiteX1" fmla="*/ 6101 w 42090"/>
                  <a:gd name="connsiteY1" fmla="*/ 6157 h 42041"/>
                  <a:gd name="connsiteX2" fmla="*/ 6206 w 42090"/>
                  <a:gd name="connsiteY2" fmla="*/ 6157 h 42041"/>
                  <a:gd name="connsiteX3" fmla="*/ 35880 w 42090"/>
                  <a:gd name="connsiteY3" fmla="*/ 6157 h 42041"/>
                  <a:gd name="connsiteX4" fmla="*/ 35984 w 42090"/>
                  <a:gd name="connsiteY4" fmla="*/ 35937 h 42041"/>
                  <a:gd name="connsiteX5" fmla="*/ 21043 w 42090"/>
                  <a:gd name="connsiteY5" fmla="*/ 42042 h 42041"/>
                  <a:gd name="connsiteX6" fmla="*/ 6206 w 42090"/>
                  <a:gd name="connsiteY6" fmla="*/ 35937 h 4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90" h="42041">
                    <a:moveTo>
                      <a:pt x="6206" y="35937"/>
                    </a:moveTo>
                    <a:cubicBezTo>
                      <a:pt x="-1994" y="27728"/>
                      <a:pt x="-2107" y="14470"/>
                      <a:pt x="6101" y="6157"/>
                    </a:cubicBezTo>
                    <a:lnTo>
                      <a:pt x="6206" y="6157"/>
                    </a:lnTo>
                    <a:cubicBezTo>
                      <a:pt x="14308" y="-2052"/>
                      <a:pt x="27679" y="-2052"/>
                      <a:pt x="35880" y="6157"/>
                    </a:cubicBezTo>
                    <a:cubicBezTo>
                      <a:pt x="44088" y="14258"/>
                      <a:pt x="44199" y="27630"/>
                      <a:pt x="35984" y="35937"/>
                    </a:cubicBezTo>
                    <a:cubicBezTo>
                      <a:pt x="31880" y="40042"/>
                      <a:pt x="26514" y="42042"/>
                      <a:pt x="21043" y="42042"/>
                    </a:cubicBezTo>
                    <a:cubicBezTo>
                      <a:pt x="15683" y="42033"/>
                      <a:pt x="10316" y="40042"/>
                      <a:pt x="6206" y="35937"/>
                    </a:cubicBezTo>
                    <a:close/>
                  </a:path>
                </a:pathLst>
              </a:custGeom>
              <a:grpFill/>
              <a:ln w="524" cap="flat">
                <a:noFill/>
                <a:prstDash val="solid"/>
                <a:miter/>
              </a:ln>
            </p:spPr>
            <p:txBody>
              <a:bodyPr rtlCol="0" anchor="ctr"/>
              <a:lstStyle/>
              <a:p>
                <a:endParaRPr lang="de-DE"/>
              </a:p>
            </p:txBody>
          </p:sp>
          <p:sp>
            <p:nvSpPr>
              <p:cNvPr id="87" name="Freihandform 136">
                <a:extLst>
                  <a:ext uri="{FF2B5EF4-FFF2-40B4-BE49-F238E27FC236}">
                    <a16:creationId xmlns:a16="http://schemas.microsoft.com/office/drawing/2014/main" id="{19FA2736-FAA4-44B4-BE0D-78D3F2DD697D}"/>
                  </a:ext>
                </a:extLst>
              </p:cNvPr>
              <p:cNvSpPr>
                <a:spLocks noChangeAspect="1"/>
              </p:cNvSpPr>
              <p:nvPr/>
            </p:nvSpPr>
            <p:spPr>
              <a:xfrm>
                <a:off x="3297743" y="4516462"/>
                <a:ext cx="84113" cy="84183"/>
              </a:xfrm>
              <a:custGeom>
                <a:avLst/>
                <a:gdLst>
                  <a:gd name="connsiteX0" fmla="*/ 6211 w 42098"/>
                  <a:gd name="connsiteY0" fmla="*/ 36029 h 42133"/>
                  <a:gd name="connsiteX1" fmla="*/ 6107 w 42098"/>
                  <a:gd name="connsiteY1" fmla="*/ 6248 h 42133"/>
                  <a:gd name="connsiteX2" fmla="*/ 35887 w 42098"/>
                  <a:gd name="connsiteY2" fmla="*/ 6144 h 42133"/>
                  <a:gd name="connsiteX3" fmla="*/ 35992 w 42098"/>
                  <a:gd name="connsiteY3" fmla="*/ 35924 h 42133"/>
                  <a:gd name="connsiteX4" fmla="*/ 21051 w 42098"/>
                  <a:gd name="connsiteY4" fmla="*/ 42133 h 42133"/>
                  <a:gd name="connsiteX5" fmla="*/ 6212 w 42098"/>
                  <a:gd name="connsiteY5" fmla="*/ 36029 h 4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098" h="42133">
                    <a:moveTo>
                      <a:pt x="6211" y="36029"/>
                    </a:moveTo>
                    <a:cubicBezTo>
                      <a:pt x="-1997" y="27820"/>
                      <a:pt x="-2108" y="14457"/>
                      <a:pt x="6107" y="6248"/>
                    </a:cubicBezTo>
                    <a:cubicBezTo>
                      <a:pt x="14321" y="-2065"/>
                      <a:pt x="27678" y="-2065"/>
                      <a:pt x="35887" y="6144"/>
                    </a:cubicBezTo>
                    <a:cubicBezTo>
                      <a:pt x="44096" y="14352"/>
                      <a:pt x="44207" y="27611"/>
                      <a:pt x="35992" y="35924"/>
                    </a:cubicBezTo>
                    <a:cubicBezTo>
                      <a:pt x="31888" y="40029"/>
                      <a:pt x="26515" y="42133"/>
                      <a:pt x="21051" y="42133"/>
                    </a:cubicBezTo>
                    <a:cubicBezTo>
                      <a:pt x="15683" y="42131"/>
                      <a:pt x="10308" y="40027"/>
                      <a:pt x="6212" y="36029"/>
                    </a:cubicBezTo>
                    <a:close/>
                  </a:path>
                </a:pathLst>
              </a:custGeom>
              <a:grpFill/>
              <a:ln w="524" cap="flat">
                <a:noFill/>
                <a:prstDash val="solid"/>
                <a:miter/>
              </a:ln>
            </p:spPr>
            <p:txBody>
              <a:bodyPr rtlCol="0" anchor="ctr"/>
              <a:lstStyle/>
              <a:p>
                <a:endParaRPr lang="de-DE"/>
              </a:p>
            </p:txBody>
          </p:sp>
          <p:sp>
            <p:nvSpPr>
              <p:cNvPr id="88" name="Freihandform 137">
                <a:extLst>
                  <a:ext uri="{FF2B5EF4-FFF2-40B4-BE49-F238E27FC236}">
                    <a16:creationId xmlns:a16="http://schemas.microsoft.com/office/drawing/2014/main" id="{B7D0C165-7353-AC05-B18A-46A9BA8A1E8D}"/>
                  </a:ext>
                </a:extLst>
              </p:cNvPr>
              <p:cNvSpPr>
                <a:spLocks noChangeAspect="1"/>
              </p:cNvSpPr>
              <p:nvPr/>
            </p:nvSpPr>
            <p:spPr>
              <a:xfrm>
                <a:off x="3148845" y="4455366"/>
                <a:ext cx="84185" cy="84183"/>
              </a:xfrm>
              <a:custGeom>
                <a:avLst/>
                <a:gdLst>
                  <a:gd name="connsiteX0" fmla="*/ 1 w 42092"/>
                  <a:gd name="connsiteY0" fmla="*/ 21150 h 42091"/>
                  <a:gd name="connsiteX1" fmla="*/ 20942 w 42092"/>
                  <a:gd name="connsiteY1" fmla="*/ 0 h 42091"/>
                  <a:gd name="connsiteX2" fmla="*/ 42092 w 42092"/>
                  <a:gd name="connsiteY2" fmla="*/ 20933 h 42091"/>
                  <a:gd name="connsiteX3" fmla="*/ 21053 w 42092"/>
                  <a:gd name="connsiteY3" fmla="*/ 42091 h 42091"/>
                  <a:gd name="connsiteX4" fmla="*/ 1 w 42092"/>
                  <a:gd name="connsiteY4" fmla="*/ 21150 h 42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92" h="42091">
                    <a:moveTo>
                      <a:pt x="1" y="21150"/>
                    </a:moveTo>
                    <a:cubicBezTo>
                      <a:pt x="-104" y="9471"/>
                      <a:pt x="9358" y="0"/>
                      <a:pt x="20942" y="0"/>
                    </a:cubicBezTo>
                    <a:cubicBezTo>
                      <a:pt x="32630" y="0"/>
                      <a:pt x="41988" y="9357"/>
                      <a:pt x="42092" y="20933"/>
                    </a:cubicBezTo>
                    <a:cubicBezTo>
                      <a:pt x="42092" y="32612"/>
                      <a:pt x="32726" y="42091"/>
                      <a:pt x="21053" y="42091"/>
                    </a:cubicBezTo>
                    <a:cubicBezTo>
                      <a:pt x="9358" y="42091"/>
                      <a:pt x="1" y="32726"/>
                      <a:pt x="1" y="21150"/>
                    </a:cubicBezTo>
                    <a:close/>
                  </a:path>
                </a:pathLst>
              </a:custGeom>
              <a:grpFill/>
              <a:ln w="524" cap="flat">
                <a:noFill/>
                <a:prstDash val="solid"/>
                <a:miter/>
              </a:ln>
            </p:spPr>
            <p:txBody>
              <a:bodyPr rtlCol="0" anchor="ctr"/>
              <a:lstStyle/>
              <a:p>
                <a:endParaRPr lang="de-DE"/>
              </a:p>
            </p:txBody>
          </p:sp>
        </p:grpSp>
      </p:grpSp>
      <p:sp>
        <p:nvSpPr>
          <p:cNvPr id="89" name="TextBox 88">
            <a:extLst>
              <a:ext uri="{FF2B5EF4-FFF2-40B4-BE49-F238E27FC236}">
                <a16:creationId xmlns:a16="http://schemas.microsoft.com/office/drawing/2014/main" id="{5C0A18D1-8AC7-680D-E1F2-723059DF0F18}"/>
              </a:ext>
            </a:extLst>
          </p:cNvPr>
          <p:cNvSpPr txBox="1"/>
          <p:nvPr/>
        </p:nvSpPr>
        <p:spPr>
          <a:xfrm>
            <a:off x="8437884" y="1762314"/>
            <a:ext cx="1537803" cy="1138773"/>
          </a:xfrm>
          <a:prstGeom prst="rect">
            <a:avLst/>
          </a:prstGeom>
          <a:noFill/>
        </p:spPr>
        <p:txBody>
          <a:bodyPr wrap="square" lIns="0" tIns="0" rIns="0" bIns="0" rtlCol="0" anchor="t">
            <a:spAutoFit/>
          </a:bodyPr>
          <a:lstStyle/>
          <a:p>
            <a:pPr algn="ctr"/>
            <a:r>
              <a:rPr lang="en-US" sz="2000" b="1">
                <a:solidFill>
                  <a:schemeClr val="accent1"/>
                </a:solidFill>
              </a:rPr>
              <a:t>Dec ‘25</a:t>
            </a:r>
          </a:p>
          <a:p>
            <a:pPr algn="ctr"/>
            <a:r>
              <a:rPr lang="en-US">
                <a:solidFill>
                  <a:schemeClr val="tx1">
                    <a:lumMod val="75000"/>
                    <a:lumOff val="25000"/>
                  </a:schemeClr>
                </a:solidFill>
              </a:rPr>
              <a:t>Standards CEN/CLC DPP-System</a:t>
            </a:r>
          </a:p>
        </p:txBody>
      </p:sp>
    </p:spTree>
    <p:extLst>
      <p:ext uri="{BB962C8B-B14F-4D97-AF65-F5344CB8AC3E}">
        <p14:creationId xmlns:p14="http://schemas.microsoft.com/office/powerpoint/2010/main" val="42208082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15193F-9D2E-C609-F25C-5CF922C38DCE}"/>
              </a:ext>
            </a:extLst>
          </p:cNvPr>
          <p:cNvSpPr>
            <a:spLocks noGrp="1"/>
          </p:cNvSpPr>
          <p:nvPr>
            <p:ph type="title"/>
          </p:nvPr>
        </p:nvSpPr>
        <p:spPr/>
        <p:txBody>
          <a:bodyPr/>
          <a:lstStyle/>
          <a:p>
            <a:r>
              <a:rPr lang="en-US" dirty="0"/>
              <a:t>First Draft of the ESPR Work Plan 2025-2030 Proposes a shortened List of Products to Cover</a:t>
            </a:r>
          </a:p>
        </p:txBody>
      </p:sp>
      <p:sp>
        <p:nvSpPr>
          <p:cNvPr id="3" name="Date Placeholder 2">
            <a:extLst>
              <a:ext uri="{FF2B5EF4-FFF2-40B4-BE49-F238E27FC236}">
                <a16:creationId xmlns:a16="http://schemas.microsoft.com/office/drawing/2014/main" id="{1C995710-4102-4EBE-0D09-FD0091608863}"/>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2E752000-55A0-4553-BBD4-CFFEEB173D51}"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4" name="Slide Number Placeholder 3">
            <a:extLst>
              <a:ext uri="{FF2B5EF4-FFF2-40B4-BE49-F238E27FC236}">
                <a16:creationId xmlns:a16="http://schemas.microsoft.com/office/drawing/2014/main" id="{98287DFA-396A-7170-DE50-C79AA4E7A51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32</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
        <p:nvSpPr>
          <p:cNvPr id="5" name="Text Placeholder 2">
            <a:extLst>
              <a:ext uri="{FF2B5EF4-FFF2-40B4-BE49-F238E27FC236}">
                <a16:creationId xmlns:a16="http://schemas.microsoft.com/office/drawing/2014/main" id="{E8BD23DE-5821-D67B-3974-7AE2CFB9CDFB}"/>
              </a:ext>
            </a:extLst>
          </p:cNvPr>
          <p:cNvSpPr txBox="1">
            <a:spLocks/>
          </p:cNvSpPr>
          <p:nvPr/>
        </p:nvSpPr>
        <p:spPr>
          <a:xfrm>
            <a:off x="7781513" y="1650421"/>
            <a:ext cx="3890650" cy="4196472"/>
          </a:xfrm>
          <a:prstGeom prst="rect">
            <a:avLst/>
          </a:prstGeom>
        </p:spPr>
        <p:txBody>
          <a:bodyPr/>
          <a:lstStyle>
            <a:lvl1pPr marL="342000" indent="-342000" algn="l" defTabSz="914400" rtl="0" eaLnBrk="1" latinLnBrk="0" hangingPunct="1">
              <a:lnSpc>
                <a:spcPct val="95000"/>
              </a:lnSpc>
              <a:spcBef>
                <a:spcPts val="180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1pPr>
            <a:lvl2pPr marL="622800" indent="-266400" algn="l" defTabSz="914400" rtl="0" eaLnBrk="1" latinLnBrk="0" hangingPunct="1">
              <a:lnSpc>
                <a:spcPct val="95000"/>
              </a:lnSpc>
              <a:spcBef>
                <a:spcPts val="600"/>
              </a:spcBef>
              <a:spcAft>
                <a:spcPts val="0"/>
              </a:spcAft>
              <a:buClr>
                <a:schemeClr val="accent1"/>
              </a:buClr>
              <a:buSzPct val="100000"/>
              <a:buFont typeface="Wingdings 3" panose="05040102010807070707" pitchFamily="18" charset="2"/>
              <a:buChar char=""/>
              <a:defRPr sz="2000" b="0" i="0" kern="1200" baseline="0">
                <a:solidFill>
                  <a:schemeClr val="tx1"/>
                </a:solidFill>
                <a:latin typeface="Arial" panose="020B0604020202020204" pitchFamily="34" charset="0"/>
                <a:ea typeface="+mn-ea"/>
                <a:cs typeface="+mn-cs"/>
              </a:defRPr>
            </a:lvl2pPr>
            <a:lvl3pPr marL="900000" indent="-277200" algn="l" defTabSz="9144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3pPr>
            <a:lvl4pPr marL="11664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4pPr>
            <a:lvl5pPr marL="16236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8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4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lvl="0"/>
            <a:r>
              <a:rPr lang="en-US" sz="1800" b="1" dirty="0"/>
              <a:t>Chemicals: </a:t>
            </a:r>
            <a:r>
              <a:rPr lang="en-US" sz="1800" dirty="0"/>
              <a:t>The Commission suggests conducting a study during the implementation of the first ESPR Working Plan. This study shall define precisely the potential scope of one or several measures for consideration in a subsequent working plan.</a:t>
            </a:r>
          </a:p>
          <a:p>
            <a:pPr lvl="0"/>
            <a:r>
              <a:rPr lang="en-US" sz="1800" b="1" dirty="0"/>
              <a:t>Polymers: </a:t>
            </a:r>
            <a:r>
              <a:rPr lang="en-US" sz="1800" dirty="0"/>
              <a:t>Not mentioned in the draft document</a:t>
            </a:r>
          </a:p>
          <a:p>
            <a:pPr lvl="0"/>
            <a:r>
              <a:rPr lang="en-US" sz="1800" dirty="0"/>
              <a:t>The work plan is </a:t>
            </a:r>
            <a:r>
              <a:rPr lang="en-US" sz="1800" b="1" dirty="0"/>
              <a:t>to be adopted by 19.4.2025</a:t>
            </a:r>
            <a:r>
              <a:rPr lang="en-US" sz="1800" dirty="0"/>
              <a:t>. Once adopted, it will be up for review after 3 years</a:t>
            </a:r>
            <a:endParaRPr lang="de-DE" dirty="0"/>
          </a:p>
        </p:txBody>
      </p:sp>
      <p:pic>
        <p:nvPicPr>
          <p:cNvPr id="6" name="Grafik 5">
            <a:extLst>
              <a:ext uri="{FF2B5EF4-FFF2-40B4-BE49-F238E27FC236}">
                <a16:creationId xmlns:a16="http://schemas.microsoft.com/office/drawing/2014/main" id="{A884F398-BE4A-8370-608B-DEE8D0A8F2D4}"/>
              </a:ext>
            </a:extLst>
          </p:cNvPr>
          <p:cNvPicPr>
            <a:picLocks noChangeAspect="1"/>
          </p:cNvPicPr>
          <p:nvPr/>
        </p:nvPicPr>
        <p:blipFill>
          <a:blip r:embed="rId2"/>
          <a:stretch>
            <a:fillRect/>
          </a:stretch>
        </p:blipFill>
        <p:spPr>
          <a:xfrm>
            <a:off x="519838" y="1510038"/>
            <a:ext cx="6883125" cy="4525122"/>
          </a:xfrm>
          <a:prstGeom prst="rect">
            <a:avLst/>
          </a:prstGeom>
        </p:spPr>
      </p:pic>
      <p:sp>
        <p:nvSpPr>
          <p:cNvPr id="7" name="Fußzeilenplatzhalter 3">
            <a:extLst>
              <a:ext uri="{FF2B5EF4-FFF2-40B4-BE49-F238E27FC236}">
                <a16:creationId xmlns:a16="http://schemas.microsoft.com/office/drawing/2014/main" id="{A05407D2-C7A1-0C19-D540-5D00F55257D9}"/>
              </a:ext>
            </a:extLst>
          </p:cNvPr>
          <p:cNvSpPr txBox="1">
            <a:spLocks/>
          </p:cNvSpPr>
          <p:nvPr/>
        </p:nvSpPr>
        <p:spPr>
          <a:xfrm>
            <a:off x="1368178" y="6516000"/>
            <a:ext cx="7020448" cy="167933"/>
          </a:xfrm>
          <a:prstGeom prst="rect">
            <a:avLst/>
          </a:prstGeom>
        </p:spPr>
        <p:txBody>
          <a:bodyPr lIns="0" tIns="0" rIns="0" bIns="0"/>
          <a:ls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900" dirty="0">
                <a:latin typeface="Arial" panose="020B0604020202020204"/>
                <a:cs typeface="Arial"/>
              </a:rPr>
              <a:t>|  </a:t>
            </a:r>
            <a:r>
              <a:rPr lang="en-US" sz="900" dirty="0">
                <a:latin typeface="+mj-lt"/>
                <a:cs typeface="Calibri" panose="020F0502020204030204" pitchFamily="34" charset="0"/>
                <a:sym typeface="Calibri" panose="020F0502020204030204" pitchFamily="34" charset="0"/>
              </a:rPr>
              <a:t>Source: </a:t>
            </a:r>
            <a:r>
              <a:rPr lang="en-US" sz="900" dirty="0">
                <a:latin typeface="Arial" panose="020B0604020202020204"/>
                <a:cs typeface="Arial"/>
                <a:sym typeface="Calibri" panose="020F0502020204030204" pitchFamily="34" charset="0"/>
              </a:rPr>
              <a:t>https://</a:t>
            </a:r>
            <a:r>
              <a:rPr lang="en-US" sz="900" dirty="0" err="1">
                <a:latin typeface="Arial" panose="020B0604020202020204"/>
                <a:cs typeface="Arial"/>
                <a:sym typeface="Calibri" panose="020F0502020204030204" pitchFamily="34" charset="0"/>
              </a:rPr>
              <a:t>ec.europa.eu</a:t>
            </a:r>
            <a:r>
              <a:rPr lang="en-US" sz="900" dirty="0">
                <a:latin typeface="Arial" panose="020B0604020202020204"/>
                <a:cs typeface="Arial"/>
                <a:sym typeface="Calibri" panose="020F0502020204030204" pitchFamily="34" charset="0"/>
              </a:rPr>
              <a:t>/transparency/expert-groups-register/core/</a:t>
            </a:r>
            <a:r>
              <a:rPr lang="en-US" sz="900" dirty="0" err="1">
                <a:latin typeface="Arial" panose="020B0604020202020204"/>
                <a:cs typeface="Arial"/>
                <a:sym typeface="Calibri" panose="020F0502020204030204" pitchFamily="34" charset="0"/>
              </a:rPr>
              <a:t>api</a:t>
            </a:r>
            <a:r>
              <a:rPr lang="en-US" sz="900" dirty="0">
                <a:latin typeface="Arial" panose="020B0604020202020204"/>
                <a:cs typeface="Arial"/>
                <a:sym typeface="Calibri" panose="020F0502020204030204" pitchFamily="34" charset="0"/>
              </a:rPr>
              <a:t>/front/document/113700/download</a:t>
            </a:r>
          </a:p>
        </p:txBody>
      </p:sp>
    </p:spTree>
    <p:extLst>
      <p:ext uri="{BB962C8B-B14F-4D97-AF65-F5344CB8AC3E}">
        <p14:creationId xmlns:p14="http://schemas.microsoft.com/office/powerpoint/2010/main" val="36134975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D56E58-681A-7223-9929-F6B568833D4D}"/>
              </a:ext>
            </a:extLst>
          </p:cNvPr>
          <p:cNvSpPr>
            <a:spLocks noGrp="1"/>
          </p:cNvSpPr>
          <p:nvPr>
            <p:ph type="title"/>
          </p:nvPr>
        </p:nvSpPr>
        <p:spPr/>
        <p:txBody>
          <a:bodyPr/>
          <a:lstStyle/>
          <a:p>
            <a:r>
              <a:rPr lang="en-US"/>
              <a:t>Timeline </a:t>
            </a:r>
            <a:r>
              <a:rPr lang="en-US" err="1"/>
              <a:t>con’t</a:t>
            </a:r>
            <a:endParaRPr lang="en-US"/>
          </a:p>
        </p:txBody>
      </p:sp>
      <p:sp>
        <p:nvSpPr>
          <p:cNvPr id="3" name="Date Placeholder 2">
            <a:extLst>
              <a:ext uri="{FF2B5EF4-FFF2-40B4-BE49-F238E27FC236}">
                <a16:creationId xmlns:a16="http://schemas.microsoft.com/office/drawing/2014/main" id="{DE79C9B7-2370-C448-BAD3-7D79253A7AAB}"/>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2E752000-55A0-4553-BBD4-CFFEEB173D51}"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4" name="Slide Number Placeholder 3">
            <a:extLst>
              <a:ext uri="{FF2B5EF4-FFF2-40B4-BE49-F238E27FC236}">
                <a16:creationId xmlns:a16="http://schemas.microsoft.com/office/drawing/2014/main" id="{DFC2076C-4E92-B05C-5B9D-144C9349083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33</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
        <p:nvSpPr>
          <p:cNvPr id="87" name="Rounded Rectangle 86">
            <a:extLst>
              <a:ext uri="{FF2B5EF4-FFF2-40B4-BE49-F238E27FC236}">
                <a16:creationId xmlns:a16="http://schemas.microsoft.com/office/drawing/2014/main" id="{DEDADCE5-D171-4AFC-2B0D-811FFA71FDB6}"/>
              </a:ext>
            </a:extLst>
          </p:cNvPr>
          <p:cNvSpPr/>
          <p:nvPr/>
        </p:nvSpPr>
        <p:spPr>
          <a:xfrm>
            <a:off x="7915275" y="3357105"/>
            <a:ext cx="3067050" cy="876300"/>
          </a:xfrm>
          <a:prstGeom prst="roundRect">
            <a:avLst/>
          </a:prstGeom>
          <a:solidFill>
            <a:srgbClr val="F3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t>Consultation of Ecodesign Forum</a:t>
            </a:r>
          </a:p>
        </p:txBody>
      </p:sp>
      <p:sp>
        <p:nvSpPr>
          <p:cNvPr id="89" name="Rounded Rectangle 88">
            <a:extLst>
              <a:ext uri="{FF2B5EF4-FFF2-40B4-BE49-F238E27FC236}">
                <a16:creationId xmlns:a16="http://schemas.microsoft.com/office/drawing/2014/main" id="{F2F9EF34-4691-3516-5FB2-78269999B894}"/>
              </a:ext>
            </a:extLst>
          </p:cNvPr>
          <p:cNvSpPr/>
          <p:nvPr/>
        </p:nvSpPr>
        <p:spPr>
          <a:xfrm>
            <a:off x="5534025" y="5601375"/>
            <a:ext cx="3067050" cy="876300"/>
          </a:xfrm>
          <a:prstGeom prst="roundRect">
            <a:avLst/>
          </a:prstGeom>
          <a:solidFill>
            <a:srgbClr val="65AC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t>Measures applies</a:t>
            </a:r>
          </a:p>
        </p:txBody>
      </p:sp>
      <p:grpSp>
        <p:nvGrpSpPr>
          <p:cNvPr id="132" name="Group 131">
            <a:extLst>
              <a:ext uri="{FF2B5EF4-FFF2-40B4-BE49-F238E27FC236}">
                <a16:creationId xmlns:a16="http://schemas.microsoft.com/office/drawing/2014/main" id="{73F509D9-93DE-7088-2B7C-3479D28A6CD8}"/>
              </a:ext>
            </a:extLst>
          </p:cNvPr>
          <p:cNvGrpSpPr/>
          <p:nvPr/>
        </p:nvGrpSpPr>
        <p:grpSpPr>
          <a:xfrm>
            <a:off x="2748681" y="3183724"/>
            <a:ext cx="3459312" cy="1326300"/>
            <a:chOff x="2636688" y="3554475"/>
            <a:chExt cx="3459312" cy="1326300"/>
          </a:xfrm>
        </p:grpSpPr>
        <p:sp>
          <p:nvSpPr>
            <p:cNvPr id="88" name="Rounded Rectangle 87">
              <a:extLst>
                <a:ext uri="{FF2B5EF4-FFF2-40B4-BE49-F238E27FC236}">
                  <a16:creationId xmlns:a16="http://schemas.microsoft.com/office/drawing/2014/main" id="{74DBCE02-0F61-7024-5C83-0D6FD2261179}"/>
                </a:ext>
              </a:extLst>
            </p:cNvPr>
            <p:cNvSpPr/>
            <p:nvPr/>
          </p:nvSpPr>
          <p:spPr>
            <a:xfrm>
              <a:off x="3028950" y="4004475"/>
              <a:ext cx="3067050" cy="876300"/>
            </a:xfrm>
            <a:prstGeom prst="roundRect">
              <a:avLst/>
            </a:prstGeom>
            <a:solidFill>
              <a:srgbClr val="21A0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t>Adoption of Measure</a:t>
              </a:r>
            </a:p>
          </p:txBody>
        </p:sp>
        <p:grpSp>
          <p:nvGrpSpPr>
            <p:cNvPr id="111" name="Group 110">
              <a:extLst>
                <a:ext uri="{FF2B5EF4-FFF2-40B4-BE49-F238E27FC236}">
                  <a16:creationId xmlns:a16="http://schemas.microsoft.com/office/drawing/2014/main" id="{F3AB493D-DECD-63A9-2BE5-0C869AD7B655}"/>
                </a:ext>
              </a:extLst>
            </p:cNvPr>
            <p:cNvGrpSpPr/>
            <p:nvPr/>
          </p:nvGrpSpPr>
          <p:grpSpPr>
            <a:xfrm>
              <a:off x="2636688" y="3554475"/>
              <a:ext cx="900000" cy="900000"/>
              <a:chOff x="2766276" y="3561675"/>
              <a:chExt cx="900000" cy="900000"/>
            </a:xfrm>
          </p:grpSpPr>
          <p:sp>
            <p:nvSpPr>
              <p:cNvPr id="109" name="Oval 108">
                <a:extLst>
                  <a:ext uri="{FF2B5EF4-FFF2-40B4-BE49-F238E27FC236}">
                    <a16:creationId xmlns:a16="http://schemas.microsoft.com/office/drawing/2014/main" id="{69CD5003-FA47-2A90-5BC4-F0D41F86F622}"/>
                  </a:ext>
                </a:extLst>
              </p:cNvPr>
              <p:cNvSpPr>
                <a:spLocks noChangeAspect="1"/>
              </p:cNvSpPr>
              <p:nvPr/>
            </p:nvSpPr>
            <p:spPr>
              <a:xfrm>
                <a:off x="2766276" y="3561675"/>
                <a:ext cx="900000" cy="900000"/>
              </a:xfrm>
              <a:prstGeom prst="ellipse">
                <a:avLst/>
              </a:prstGeom>
              <a:solidFill>
                <a:srgbClr val="86C7E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5" name="Graphic 94">
                <a:extLst>
                  <a:ext uri="{FF2B5EF4-FFF2-40B4-BE49-F238E27FC236}">
                    <a16:creationId xmlns:a16="http://schemas.microsoft.com/office/drawing/2014/main" id="{0FD67E61-8CB0-46A0-233A-DF693A96638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10276" y="3705675"/>
                <a:ext cx="612000" cy="612000"/>
              </a:xfrm>
              <a:prstGeom prst="rect">
                <a:avLst/>
              </a:prstGeom>
            </p:spPr>
          </p:pic>
        </p:grpSp>
      </p:grpSp>
      <p:grpSp>
        <p:nvGrpSpPr>
          <p:cNvPr id="115" name="Group 114">
            <a:extLst>
              <a:ext uri="{FF2B5EF4-FFF2-40B4-BE49-F238E27FC236}">
                <a16:creationId xmlns:a16="http://schemas.microsoft.com/office/drawing/2014/main" id="{6DA1B6A0-CB83-1A28-A2F7-B0249DB8FDF4}"/>
              </a:ext>
            </a:extLst>
          </p:cNvPr>
          <p:cNvGrpSpPr/>
          <p:nvPr/>
        </p:nvGrpSpPr>
        <p:grpSpPr>
          <a:xfrm>
            <a:off x="5068600" y="5144625"/>
            <a:ext cx="900000" cy="900000"/>
            <a:chOff x="5068600" y="5144625"/>
            <a:chExt cx="900000" cy="900000"/>
          </a:xfrm>
        </p:grpSpPr>
        <p:sp>
          <p:nvSpPr>
            <p:cNvPr id="113" name="Oval 112">
              <a:extLst>
                <a:ext uri="{FF2B5EF4-FFF2-40B4-BE49-F238E27FC236}">
                  <a16:creationId xmlns:a16="http://schemas.microsoft.com/office/drawing/2014/main" id="{E2011283-709D-9A23-CB0F-31B22A323B72}"/>
                </a:ext>
              </a:extLst>
            </p:cNvPr>
            <p:cNvSpPr>
              <a:spLocks noChangeAspect="1"/>
            </p:cNvSpPr>
            <p:nvPr/>
          </p:nvSpPr>
          <p:spPr>
            <a:xfrm>
              <a:off x="5068600" y="5144625"/>
              <a:ext cx="900000" cy="900000"/>
            </a:xfrm>
            <a:prstGeom prst="ellipse">
              <a:avLst/>
            </a:prstGeom>
            <a:solidFill>
              <a:srgbClr val="A5CE8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3" name="Graphic 92">
              <a:extLst>
                <a:ext uri="{FF2B5EF4-FFF2-40B4-BE49-F238E27FC236}">
                  <a16:creationId xmlns:a16="http://schemas.microsoft.com/office/drawing/2014/main" id="{3081A0C1-62D0-AC41-3CC4-CB41566F75F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122600" y="5198625"/>
              <a:ext cx="792000" cy="792000"/>
            </a:xfrm>
            <a:prstGeom prst="rect">
              <a:avLst/>
            </a:prstGeom>
          </p:spPr>
        </p:pic>
      </p:grpSp>
      <p:grpSp>
        <p:nvGrpSpPr>
          <p:cNvPr id="119" name="Group 118">
            <a:extLst>
              <a:ext uri="{FF2B5EF4-FFF2-40B4-BE49-F238E27FC236}">
                <a16:creationId xmlns:a16="http://schemas.microsoft.com/office/drawing/2014/main" id="{51F1FCA8-936B-7E8D-A72F-5C4FF661D60E}"/>
              </a:ext>
            </a:extLst>
          </p:cNvPr>
          <p:cNvGrpSpPr/>
          <p:nvPr/>
        </p:nvGrpSpPr>
        <p:grpSpPr>
          <a:xfrm>
            <a:off x="10600587" y="2804655"/>
            <a:ext cx="900000" cy="900000"/>
            <a:chOff x="10600587" y="3152775"/>
            <a:chExt cx="900000" cy="900000"/>
          </a:xfrm>
        </p:grpSpPr>
        <p:sp>
          <p:nvSpPr>
            <p:cNvPr id="117" name="Oval 116">
              <a:extLst>
                <a:ext uri="{FF2B5EF4-FFF2-40B4-BE49-F238E27FC236}">
                  <a16:creationId xmlns:a16="http://schemas.microsoft.com/office/drawing/2014/main" id="{B9A27B16-D15C-638D-01CD-A9038DCE97D3}"/>
                </a:ext>
              </a:extLst>
            </p:cNvPr>
            <p:cNvSpPr>
              <a:spLocks noChangeAspect="1"/>
            </p:cNvSpPr>
            <p:nvPr/>
          </p:nvSpPr>
          <p:spPr>
            <a:xfrm>
              <a:off x="10600587" y="3152775"/>
              <a:ext cx="900000" cy="900000"/>
            </a:xfrm>
            <a:prstGeom prst="ellipse">
              <a:avLst/>
            </a:prstGeom>
            <a:solidFill>
              <a:srgbClr val="F9C07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1" name="Graphic 90">
              <a:extLst>
                <a:ext uri="{FF2B5EF4-FFF2-40B4-BE49-F238E27FC236}">
                  <a16:creationId xmlns:a16="http://schemas.microsoft.com/office/drawing/2014/main" id="{0382194D-5734-7FD9-42BA-F3F697D1EDB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726587" y="3278775"/>
              <a:ext cx="648000" cy="648000"/>
            </a:xfrm>
            <a:prstGeom prst="rect">
              <a:avLst/>
            </a:prstGeom>
          </p:spPr>
        </p:pic>
      </p:grpSp>
      <p:cxnSp>
        <p:nvCxnSpPr>
          <p:cNvPr id="123" name="Straight Arrow Connector 122">
            <a:extLst>
              <a:ext uri="{FF2B5EF4-FFF2-40B4-BE49-F238E27FC236}">
                <a16:creationId xmlns:a16="http://schemas.microsoft.com/office/drawing/2014/main" id="{21F5C146-0459-8BE8-D541-0AB924204FC4}"/>
              </a:ext>
            </a:extLst>
          </p:cNvPr>
          <p:cNvCxnSpPr>
            <a:cxnSpLocks/>
            <a:stCxn id="85" idx="1"/>
            <a:endCxn id="86" idx="1"/>
          </p:cNvCxnSpPr>
          <p:nvPr/>
        </p:nvCxnSpPr>
        <p:spPr>
          <a:xfrm>
            <a:off x="1390650" y="1801390"/>
            <a:ext cx="4591050" cy="71922"/>
          </a:xfrm>
          <a:prstGeom prst="straightConnector1">
            <a:avLst/>
          </a:prstGeom>
          <a:ln w="38100">
            <a:solidFill>
              <a:srgbClr val="004A96"/>
            </a:solidFill>
            <a:tailEnd type="triangle" w="lg" len="lg"/>
          </a:ln>
        </p:spPr>
        <p:style>
          <a:lnRef idx="1">
            <a:schemeClr val="accent1"/>
          </a:lnRef>
          <a:fillRef idx="0">
            <a:schemeClr val="accent1"/>
          </a:fillRef>
          <a:effectRef idx="0">
            <a:schemeClr val="accent1"/>
          </a:effectRef>
          <a:fontRef idx="minor">
            <a:schemeClr val="tx1"/>
          </a:fontRef>
        </p:style>
      </p:cxnSp>
      <p:sp>
        <p:nvSpPr>
          <p:cNvPr id="85" name="Rounded Rectangle 84">
            <a:extLst>
              <a:ext uri="{FF2B5EF4-FFF2-40B4-BE49-F238E27FC236}">
                <a16:creationId xmlns:a16="http://schemas.microsoft.com/office/drawing/2014/main" id="{C3CBDD69-588B-9A2B-D56C-9894B2213E41}"/>
              </a:ext>
            </a:extLst>
          </p:cNvPr>
          <p:cNvSpPr/>
          <p:nvPr/>
        </p:nvSpPr>
        <p:spPr>
          <a:xfrm>
            <a:off x="1390650" y="1363240"/>
            <a:ext cx="3067050" cy="8763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t>Multiannual Work Plans</a:t>
            </a:r>
          </a:p>
        </p:txBody>
      </p:sp>
      <p:grpSp>
        <p:nvGrpSpPr>
          <p:cNvPr id="103" name="Group 102">
            <a:extLst>
              <a:ext uri="{FF2B5EF4-FFF2-40B4-BE49-F238E27FC236}">
                <a16:creationId xmlns:a16="http://schemas.microsoft.com/office/drawing/2014/main" id="{DEB9A39E-93D3-D2EB-F418-20B5654506B6}"/>
              </a:ext>
            </a:extLst>
          </p:cNvPr>
          <p:cNvGrpSpPr/>
          <p:nvPr/>
        </p:nvGrpSpPr>
        <p:grpSpPr>
          <a:xfrm>
            <a:off x="4028337" y="1637665"/>
            <a:ext cx="900000" cy="900000"/>
            <a:chOff x="4084262" y="2156701"/>
            <a:chExt cx="900000" cy="900000"/>
          </a:xfrm>
        </p:grpSpPr>
        <p:sp>
          <p:nvSpPr>
            <p:cNvPr id="102" name="Oval 101">
              <a:extLst>
                <a:ext uri="{FF2B5EF4-FFF2-40B4-BE49-F238E27FC236}">
                  <a16:creationId xmlns:a16="http://schemas.microsoft.com/office/drawing/2014/main" id="{B70F52FC-5A3D-910C-DF68-5191CF47F451}"/>
                </a:ext>
              </a:extLst>
            </p:cNvPr>
            <p:cNvSpPr>
              <a:spLocks noChangeAspect="1"/>
            </p:cNvSpPr>
            <p:nvPr/>
          </p:nvSpPr>
          <p:spPr>
            <a:xfrm>
              <a:off x="4084262" y="2156701"/>
              <a:ext cx="900000" cy="90000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1" name="Graphic 100">
              <a:extLst>
                <a:ext uri="{FF2B5EF4-FFF2-40B4-BE49-F238E27FC236}">
                  <a16:creationId xmlns:a16="http://schemas.microsoft.com/office/drawing/2014/main" id="{608601D0-73C7-3927-7EFA-647A3E46477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228262" y="2300701"/>
              <a:ext cx="612000" cy="612000"/>
            </a:xfrm>
            <a:prstGeom prst="rect">
              <a:avLst/>
            </a:prstGeom>
          </p:spPr>
        </p:pic>
      </p:grpSp>
      <p:sp>
        <p:nvSpPr>
          <p:cNvPr id="126" name="TextBox 125">
            <a:extLst>
              <a:ext uri="{FF2B5EF4-FFF2-40B4-BE49-F238E27FC236}">
                <a16:creationId xmlns:a16="http://schemas.microsoft.com/office/drawing/2014/main" id="{D57857BF-F7A3-D59E-426A-A6B749767455}"/>
              </a:ext>
            </a:extLst>
          </p:cNvPr>
          <p:cNvSpPr txBox="1"/>
          <p:nvPr/>
        </p:nvSpPr>
        <p:spPr>
          <a:xfrm>
            <a:off x="1784561" y="2352999"/>
            <a:ext cx="2179315" cy="369332"/>
          </a:xfrm>
          <a:prstGeom prst="rect">
            <a:avLst/>
          </a:prstGeom>
          <a:noFill/>
        </p:spPr>
        <p:txBody>
          <a:bodyPr wrap="none" lIns="0" tIns="0" rIns="0" bIns="0" rtlCol="0">
            <a:spAutoFit/>
          </a:bodyPr>
          <a:lstStyle/>
          <a:p>
            <a:r>
              <a:rPr lang="en-US" sz="2400">
                <a:solidFill>
                  <a:schemeClr val="tx1">
                    <a:lumMod val="65000"/>
                    <a:lumOff val="35000"/>
                  </a:schemeClr>
                </a:solidFill>
              </a:rPr>
              <a:t>~ 1</a:t>
            </a:r>
            <a:r>
              <a:rPr lang="en-US" sz="2400" baseline="30000">
                <a:solidFill>
                  <a:schemeClr val="tx1">
                    <a:lumMod val="65000"/>
                    <a:lumOff val="35000"/>
                  </a:schemeClr>
                </a:solidFill>
              </a:rPr>
              <a:t>st</a:t>
            </a:r>
            <a:r>
              <a:rPr lang="en-US" sz="2400">
                <a:solidFill>
                  <a:schemeClr val="tx1">
                    <a:lumMod val="65000"/>
                    <a:lumOff val="35000"/>
                  </a:schemeClr>
                </a:solidFill>
              </a:rPr>
              <a:t> WP Q1/25 </a:t>
            </a:r>
          </a:p>
        </p:txBody>
      </p:sp>
      <p:sp>
        <p:nvSpPr>
          <p:cNvPr id="127" name="TextBox 126">
            <a:extLst>
              <a:ext uri="{FF2B5EF4-FFF2-40B4-BE49-F238E27FC236}">
                <a16:creationId xmlns:a16="http://schemas.microsoft.com/office/drawing/2014/main" id="{A74D1DF6-DA89-9759-4128-1F734264FD0E}"/>
              </a:ext>
            </a:extLst>
          </p:cNvPr>
          <p:cNvSpPr txBox="1"/>
          <p:nvPr/>
        </p:nvSpPr>
        <p:spPr>
          <a:xfrm>
            <a:off x="6821742" y="2416891"/>
            <a:ext cx="1779333" cy="369332"/>
          </a:xfrm>
          <a:prstGeom prst="rect">
            <a:avLst/>
          </a:prstGeom>
          <a:noFill/>
        </p:spPr>
        <p:txBody>
          <a:bodyPr wrap="none" lIns="0" tIns="0" rIns="0" bIns="0" rtlCol="0">
            <a:spAutoFit/>
          </a:bodyPr>
          <a:lstStyle/>
          <a:p>
            <a:r>
              <a:rPr lang="en-US" sz="2400">
                <a:solidFill>
                  <a:schemeClr val="tx1">
                    <a:lumMod val="65000"/>
                    <a:lumOff val="35000"/>
                  </a:schemeClr>
                </a:solidFill>
              </a:rPr>
              <a:t>1,5 – 2 years</a:t>
            </a:r>
          </a:p>
        </p:txBody>
      </p:sp>
      <p:sp>
        <p:nvSpPr>
          <p:cNvPr id="131" name="Freeform 130">
            <a:extLst>
              <a:ext uri="{FF2B5EF4-FFF2-40B4-BE49-F238E27FC236}">
                <a16:creationId xmlns:a16="http://schemas.microsoft.com/office/drawing/2014/main" id="{A089985C-B744-0463-D57A-E8AA98454973}"/>
              </a:ext>
            </a:extLst>
          </p:cNvPr>
          <p:cNvSpPr/>
          <p:nvPr/>
        </p:nvSpPr>
        <p:spPr>
          <a:xfrm>
            <a:off x="9020175" y="1771650"/>
            <a:ext cx="1638777" cy="1585455"/>
          </a:xfrm>
          <a:custGeom>
            <a:avLst/>
            <a:gdLst>
              <a:gd name="connsiteX0" fmla="*/ 0 w 1638777"/>
              <a:gd name="connsiteY0" fmla="*/ 0 h 1952625"/>
              <a:gd name="connsiteX1" fmla="*/ 1628775 w 1638777"/>
              <a:gd name="connsiteY1" fmla="*/ 457200 h 1952625"/>
              <a:gd name="connsiteX2" fmla="*/ 561975 w 1638777"/>
              <a:gd name="connsiteY2" fmla="*/ 1952625 h 1952625"/>
            </a:gdLst>
            <a:ahLst/>
            <a:cxnLst>
              <a:cxn ang="0">
                <a:pos x="connsiteX0" y="connsiteY0"/>
              </a:cxn>
              <a:cxn ang="0">
                <a:pos x="connsiteX1" y="connsiteY1"/>
              </a:cxn>
              <a:cxn ang="0">
                <a:pos x="connsiteX2" y="connsiteY2"/>
              </a:cxn>
            </a:cxnLst>
            <a:rect l="l" t="t" r="r" b="b"/>
            <a:pathLst>
              <a:path w="1638777" h="1952625">
                <a:moveTo>
                  <a:pt x="0" y="0"/>
                </a:moveTo>
                <a:cubicBezTo>
                  <a:pt x="767556" y="65881"/>
                  <a:pt x="1535113" y="131763"/>
                  <a:pt x="1628775" y="457200"/>
                </a:cubicBezTo>
                <a:cubicBezTo>
                  <a:pt x="1722437" y="782637"/>
                  <a:pt x="1142206" y="1367631"/>
                  <a:pt x="561975" y="1952625"/>
                </a:cubicBezTo>
              </a:path>
            </a:pathLst>
          </a:custGeom>
          <a:noFill/>
          <a:ln w="38100">
            <a:solidFill>
              <a:srgbClr val="F39500"/>
            </a:solidFill>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ounded Rectangle 85">
            <a:extLst>
              <a:ext uri="{FF2B5EF4-FFF2-40B4-BE49-F238E27FC236}">
                <a16:creationId xmlns:a16="http://schemas.microsoft.com/office/drawing/2014/main" id="{14836415-F77C-C976-589B-AB1039CAAE19}"/>
              </a:ext>
            </a:extLst>
          </p:cNvPr>
          <p:cNvSpPr/>
          <p:nvPr/>
        </p:nvSpPr>
        <p:spPr>
          <a:xfrm>
            <a:off x="5981700" y="1435162"/>
            <a:ext cx="3067050" cy="876300"/>
          </a:xfrm>
          <a:prstGeom prst="roundRect">
            <a:avLst/>
          </a:prstGeom>
          <a:solidFill>
            <a:srgbClr val="004A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t>Preparatory Study &amp; Impact Assessment</a:t>
            </a:r>
          </a:p>
        </p:txBody>
      </p:sp>
      <p:grpSp>
        <p:nvGrpSpPr>
          <p:cNvPr id="107" name="Group 106">
            <a:extLst>
              <a:ext uri="{FF2B5EF4-FFF2-40B4-BE49-F238E27FC236}">
                <a16:creationId xmlns:a16="http://schemas.microsoft.com/office/drawing/2014/main" id="{3957EBC9-967D-9646-471E-7A4806B0DD49}"/>
              </a:ext>
            </a:extLst>
          </p:cNvPr>
          <p:cNvGrpSpPr/>
          <p:nvPr/>
        </p:nvGrpSpPr>
        <p:grpSpPr>
          <a:xfrm>
            <a:off x="8867037" y="1736505"/>
            <a:ext cx="900000" cy="900000"/>
            <a:chOff x="8867037" y="2168243"/>
            <a:chExt cx="900000" cy="900000"/>
          </a:xfrm>
        </p:grpSpPr>
        <p:sp>
          <p:nvSpPr>
            <p:cNvPr id="105" name="Oval 104">
              <a:extLst>
                <a:ext uri="{FF2B5EF4-FFF2-40B4-BE49-F238E27FC236}">
                  <a16:creationId xmlns:a16="http://schemas.microsoft.com/office/drawing/2014/main" id="{83E13F65-0209-48E1-FE63-CF90EFEFB2E2}"/>
                </a:ext>
              </a:extLst>
            </p:cNvPr>
            <p:cNvSpPr>
              <a:spLocks noChangeAspect="1"/>
            </p:cNvSpPr>
            <p:nvPr/>
          </p:nvSpPr>
          <p:spPr>
            <a:xfrm>
              <a:off x="8867037" y="2168243"/>
              <a:ext cx="900000" cy="900000"/>
            </a:xfrm>
            <a:prstGeom prst="ellipse">
              <a:avLst/>
            </a:prstGeom>
            <a:solidFill>
              <a:srgbClr val="96B0D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9" name="Graphic 98">
              <a:extLst>
                <a:ext uri="{FF2B5EF4-FFF2-40B4-BE49-F238E27FC236}">
                  <a16:creationId xmlns:a16="http://schemas.microsoft.com/office/drawing/2014/main" id="{4D23F043-4FA3-1C0F-80E1-41664925804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011037" y="2312243"/>
              <a:ext cx="612000" cy="612000"/>
            </a:xfrm>
            <a:prstGeom prst="rect">
              <a:avLst/>
            </a:prstGeom>
          </p:spPr>
        </p:pic>
      </p:grpSp>
      <p:sp>
        <p:nvSpPr>
          <p:cNvPr id="133" name="TextBox 132">
            <a:extLst>
              <a:ext uri="{FF2B5EF4-FFF2-40B4-BE49-F238E27FC236}">
                <a16:creationId xmlns:a16="http://schemas.microsoft.com/office/drawing/2014/main" id="{DAE4524C-DECE-6E7D-5DC4-2A4CA063D6E5}"/>
              </a:ext>
            </a:extLst>
          </p:cNvPr>
          <p:cNvSpPr txBox="1"/>
          <p:nvPr/>
        </p:nvSpPr>
        <p:spPr>
          <a:xfrm>
            <a:off x="406800" y="4585777"/>
            <a:ext cx="4845878" cy="738664"/>
          </a:xfrm>
          <a:prstGeom prst="rect">
            <a:avLst/>
          </a:prstGeom>
          <a:noFill/>
        </p:spPr>
        <p:txBody>
          <a:bodyPr wrap="none" lIns="0" tIns="0" rIns="0" bIns="0" rtlCol="0">
            <a:spAutoFit/>
          </a:bodyPr>
          <a:lstStyle/>
          <a:p>
            <a:r>
              <a:rPr lang="en-US" sz="2400">
                <a:solidFill>
                  <a:schemeClr val="tx1">
                    <a:lumMod val="65000"/>
                    <a:lumOff val="35000"/>
                  </a:schemeClr>
                </a:solidFill>
              </a:rPr>
              <a:t>Adoption first measures 2026</a:t>
            </a:r>
          </a:p>
          <a:p>
            <a:r>
              <a:rPr lang="en-US" sz="2400">
                <a:solidFill>
                  <a:schemeClr val="tx1">
                    <a:lumMod val="65000"/>
                    <a:lumOff val="35000"/>
                  </a:schemeClr>
                </a:solidFill>
              </a:rPr>
              <a:t>Applicable after 18 months 2027/28</a:t>
            </a:r>
          </a:p>
        </p:txBody>
      </p:sp>
      <p:sp>
        <p:nvSpPr>
          <p:cNvPr id="134" name="Freeform 133">
            <a:extLst>
              <a:ext uri="{FF2B5EF4-FFF2-40B4-BE49-F238E27FC236}">
                <a16:creationId xmlns:a16="http://schemas.microsoft.com/office/drawing/2014/main" id="{596FD79C-65BD-9A7F-FF71-9DCC6BE460F6}"/>
              </a:ext>
            </a:extLst>
          </p:cNvPr>
          <p:cNvSpPr/>
          <p:nvPr/>
        </p:nvSpPr>
        <p:spPr>
          <a:xfrm>
            <a:off x="6219825" y="3781425"/>
            <a:ext cx="1685925" cy="361950"/>
          </a:xfrm>
          <a:custGeom>
            <a:avLst/>
            <a:gdLst>
              <a:gd name="connsiteX0" fmla="*/ 1685925 w 1685925"/>
              <a:gd name="connsiteY0" fmla="*/ 19050 h 361950"/>
              <a:gd name="connsiteX1" fmla="*/ 733425 w 1685925"/>
              <a:gd name="connsiteY1" fmla="*/ 38100 h 361950"/>
              <a:gd name="connsiteX2" fmla="*/ 0 w 1685925"/>
              <a:gd name="connsiteY2" fmla="*/ 361950 h 361950"/>
            </a:gdLst>
            <a:ahLst/>
            <a:cxnLst>
              <a:cxn ang="0">
                <a:pos x="connsiteX0" y="connsiteY0"/>
              </a:cxn>
              <a:cxn ang="0">
                <a:pos x="connsiteX1" y="connsiteY1"/>
              </a:cxn>
              <a:cxn ang="0">
                <a:pos x="connsiteX2" y="connsiteY2"/>
              </a:cxn>
            </a:cxnLst>
            <a:rect l="l" t="t" r="r" b="b"/>
            <a:pathLst>
              <a:path w="1685925" h="361950">
                <a:moveTo>
                  <a:pt x="1685925" y="19050"/>
                </a:moveTo>
                <a:cubicBezTo>
                  <a:pt x="1350168" y="0"/>
                  <a:pt x="1014412" y="-19050"/>
                  <a:pt x="733425" y="38100"/>
                </a:cubicBezTo>
                <a:cubicBezTo>
                  <a:pt x="452438" y="95250"/>
                  <a:pt x="226219" y="228600"/>
                  <a:pt x="0" y="361950"/>
                </a:cubicBezTo>
              </a:path>
            </a:pathLst>
          </a:custGeom>
          <a:noFill/>
          <a:ln w="38100">
            <a:solidFill>
              <a:srgbClr val="21A0D2"/>
            </a:solidFill>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Freeform 134">
            <a:extLst>
              <a:ext uri="{FF2B5EF4-FFF2-40B4-BE49-F238E27FC236}">
                <a16:creationId xmlns:a16="http://schemas.microsoft.com/office/drawing/2014/main" id="{11212566-74E2-86BF-244A-87B5B0C826AD}"/>
              </a:ext>
            </a:extLst>
          </p:cNvPr>
          <p:cNvSpPr/>
          <p:nvPr/>
        </p:nvSpPr>
        <p:spPr>
          <a:xfrm>
            <a:off x="5191125" y="4524375"/>
            <a:ext cx="2057400" cy="1057275"/>
          </a:xfrm>
          <a:custGeom>
            <a:avLst/>
            <a:gdLst>
              <a:gd name="connsiteX0" fmla="*/ 0 w 2057400"/>
              <a:gd name="connsiteY0" fmla="*/ 0 h 1057275"/>
              <a:gd name="connsiteX1" fmla="*/ 1695450 w 2057400"/>
              <a:gd name="connsiteY1" fmla="*/ 523875 h 1057275"/>
              <a:gd name="connsiteX2" fmla="*/ 2057400 w 2057400"/>
              <a:gd name="connsiteY2" fmla="*/ 1057275 h 1057275"/>
            </a:gdLst>
            <a:ahLst/>
            <a:cxnLst>
              <a:cxn ang="0">
                <a:pos x="connsiteX0" y="connsiteY0"/>
              </a:cxn>
              <a:cxn ang="0">
                <a:pos x="connsiteX1" y="connsiteY1"/>
              </a:cxn>
              <a:cxn ang="0">
                <a:pos x="connsiteX2" y="connsiteY2"/>
              </a:cxn>
            </a:cxnLst>
            <a:rect l="l" t="t" r="r" b="b"/>
            <a:pathLst>
              <a:path w="2057400" h="1057275">
                <a:moveTo>
                  <a:pt x="0" y="0"/>
                </a:moveTo>
                <a:cubicBezTo>
                  <a:pt x="676275" y="173831"/>
                  <a:pt x="1352550" y="347663"/>
                  <a:pt x="1695450" y="523875"/>
                </a:cubicBezTo>
                <a:cubicBezTo>
                  <a:pt x="2038350" y="700087"/>
                  <a:pt x="2047875" y="878681"/>
                  <a:pt x="2057400" y="1057275"/>
                </a:cubicBezTo>
              </a:path>
            </a:pathLst>
          </a:custGeom>
          <a:noFill/>
          <a:ln w="38100">
            <a:solidFill>
              <a:srgbClr val="65AC1E"/>
            </a:solidFill>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Fußzeilenplatzhalter 3">
            <a:extLst>
              <a:ext uri="{FF2B5EF4-FFF2-40B4-BE49-F238E27FC236}">
                <a16:creationId xmlns:a16="http://schemas.microsoft.com/office/drawing/2014/main" id="{5E211351-08E9-9B0E-5A67-4803B981B0FA}"/>
              </a:ext>
            </a:extLst>
          </p:cNvPr>
          <p:cNvSpPr txBox="1">
            <a:spLocks/>
          </p:cNvSpPr>
          <p:nvPr/>
        </p:nvSpPr>
        <p:spPr>
          <a:xfrm>
            <a:off x="1368178" y="6516000"/>
            <a:ext cx="9828000" cy="167933"/>
          </a:xfrm>
          <a:prstGeom prst="rect">
            <a:avLst/>
          </a:prstGeom>
        </p:spPr>
        <p:txBody>
          <a:bodyPr lIns="0" tIns="0" rIns="0" bIns="0"/>
          <a:ls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900">
                <a:latin typeface="Arial" panose="020B0604020202020204"/>
                <a:cs typeface="Arial"/>
              </a:rPr>
              <a:t>|  </a:t>
            </a:r>
            <a:r>
              <a:rPr lang="en-US" sz="900">
                <a:latin typeface="+mj-lt"/>
                <a:cs typeface="Calibri" panose="020F0502020204030204" pitchFamily="34" charset="0"/>
                <a:sym typeface="Calibri" panose="020F0502020204030204" pitchFamily="34" charset="0"/>
              </a:rPr>
              <a:t>Source: </a:t>
            </a:r>
            <a:r>
              <a:rPr lang="en-US" sz="900">
                <a:latin typeface="Arial" panose="020B0604020202020204"/>
                <a:cs typeface="Arial"/>
                <a:sym typeface="Calibri" panose="020F0502020204030204" pitchFamily="34" charset="0"/>
                <a:hlinkClick r:id="rId13">
                  <a:extLst>
                    <a:ext uri="{A12FA001-AC4F-418D-AE19-62706E023703}">
                      <ahyp:hlinkClr xmlns:ahyp="http://schemas.microsoft.com/office/drawing/2018/hyperlinkcolor" val="tx"/>
                    </a:ext>
                  </a:extLst>
                </a:hlinkClick>
              </a:rPr>
              <a:t>https://commission.europa.eu/document/download/c5db3b9e-23ae-42c8-a50a-b549f20a377d_en?filename=2024_05_22_EC%20Presentation%20ESPR%20Webinar_final.pdf</a:t>
            </a:r>
            <a:r>
              <a:rPr lang="en-US" sz="900">
                <a:latin typeface="Arial" panose="020B0604020202020204"/>
                <a:cs typeface="Arial"/>
                <a:sym typeface="Calibri" panose="020F0502020204030204" pitchFamily="34" charset="0"/>
              </a:rPr>
              <a:t> </a:t>
            </a:r>
          </a:p>
        </p:txBody>
      </p:sp>
    </p:spTree>
    <p:extLst>
      <p:ext uri="{BB962C8B-B14F-4D97-AF65-F5344CB8AC3E}">
        <p14:creationId xmlns:p14="http://schemas.microsoft.com/office/powerpoint/2010/main" val="42495741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7EE095-9B78-D46C-F02C-3E2BCA7EDB6A}"/>
              </a:ext>
            </a:extLst>
          </p:cNvPr>
          <p:cNvSpPr>
            <a:spLocks noGrp="1"/>
          </p:cNvSpPr>
          <p:nvPr>
            <p:ph type="title"/>
          </p:nvPr>
        </p:nvSpPr>
        <p:spPr/>
        <p:txBody>
          <a:bodyPr/>
          <a:lstStyle/>
          <a:p>
            <a:r>
              <a:rPr lang="en-US"/>
              <a:t>Wrap-up &amp; Checklist </a:t>
            </a:r>
          </a:p>
        </p:txBody>
      </p:sp>
      <p:sp>
        <p:nvSpPr>
          <p:cNvPr id="5" name="SmartArt Placeholder 4">
            <a:extLst>
              <a:ext uri="{FF2B5EF4-FFF2-40B4-BE49-F238E27FC236}">
                <a16:creationId xmlns:a16="http://schemas.microsoft.com/office/drawing/2014/main" id="{63A0103E-9A00-042A-C211-19B8E1F38C57}"/>
              </a:ext>
            </a:extLst>
          </p:cNvPr>
          <p:cNvSpPr>
            <a:spLocks noGrp="1"/>
          </p:cNvSpPr>
          <p:nvPr>
            <p:ph type="dgm" idx="1"/>
          </p:nvPr>
        </p:nvSpPr>
        <p:spPr/>
        <p:txBody>
          <a:bodyPr/>
          <a:lstStyle/>
          <a:p>
            <a:pPr marL="457200" indent="-457200">
              <a:spcBef>
                <a:spcPts val="300"/>
              </a:spcBef>
              <a:buFont typeface="+mj-lt"/>
              <a:buAutoNum type="arabicPeriod"/>
            </a:pPr>
            <a:r>
              <a:rPr lang="en-US">
                <a:solidFill>
                  <a:schemeClr val="tx1">
                    <a:lumMod val="65000"/>
                    <a:lumOff val="35000"/>
                  </a:schemeClr>
                </a:solidFill>
              </a:rPr>
              <a:t>Is there a viable </a:t>
            </a:r>
            <a:r>
              <a:rPr lang="en-US" b="1">
                <a:solidFill>
                  <a:schemeClr val="tx1">
                    <a:lumMod val="65000"/>
                    <a:lumOff val="35000"/>
                  </a:schemeClr>
                </a:solidFill>
              </a:rPr>
              <a:t>Business</a:t>
            </a:r>
            <a:r>
              <a:rPr lang="en-US">
                <a:solidFill>
                  <a:schemeClr val="tx1">
                    <a:lumMod val="65000"/>
                    <a:lumOff val="35000"/>
                  </a:schemeClr>
                </a:solidFill>
              </a:rPr>
              <a:t> </a:t>
            </a:r>
            <a:r>
              <a:rPr lang="en-US" b="1">
                <a:solidFill>
                  <a:schemeClr val="tx1">
                    <a:lumMod val="65000"/>
                    <a:lumOff val="35000"/>
                  </a:schemeClr>
                </a:solidFill>
              </a:rPr>
              <a:t>Case</a:t>
            </a:r>
            <a:r>
              <a:rPr lang="en-US">
                <a:solidFill>
                  <a:schemeClr val="tx1">
                    <a:lumMod val="65000"/>
                    <a:lumOff val="35000"/>
                  </a:schemeClr>
                </a:solidFill>
              </a:rPr>
              <a:t>?</a:t>
            </a:r>
          </a:p>
          <a:p>
            <a:pPr marL="457200" indent="-457200">
              <a:spcBef>
                <a:spcPts val="300"/>
              </a:spcBef>
              <a:buFont typeface="+mj-lt"/>
              <a:buAutoNum type="arabicPeriod"/>
            </a:pPr>
            <a:r>
              <a:rPr lang="en-US">
                <a:solidFill>
                  <a:schemeClr val="tx1">
                    <a:lumMod val="65000"/>
                    <a:lumOff val="35000"/>
                  </a:schemeClr>
                </a:solidFill>
              </a:rPr>
              <a:t>Are you an </a:t>
            </a:r>
            <a:r>
              <a:rPr lang="en-US" b="1">
                <a:solidFill>
                  <a:schemeClr val="tx1">
                    <a:lumMod val="65000"/>
                    <a:lumOff val="35000"/>
                  </a:schemeClr>
                </a:solidFill>
              </a:rPr>
              <a:t>Economic Operator</a:t>
            </a:r>
            <a:r>
              <a:rPr lang="en-US">
                <a:solidFill>
                  <a:schemeClr val="tx1">
                    <a:lumMod val="65000"/>
                    <a:lumOff val="35000"/>
                  </a:schemeClr>
                </a:solidFill>
              </a:rPr>
              <a:t>?</a:t>
            </a:r>
          </a:p>
          <a:p>
            <a:pPr marL="457200" indent="-457200">
              <a:spcBef>
                <a:spcPts val="300"/>
              </a:spcBef>
              <a:buFont typeface="+mj-lt"/>
              <a:buAutoNum type="arabicPeriod"/>
            </a:pPr>
            <a:r>
              <a:rPr lang="en-US">
                <a:solidFill>
                  <a:schemeClr val="tx1">
                    <a:lumMod val="65000"/>
                    <a:lumOff val="35000"/>
                  </a:schemeClr>
                </a:solidFill>
              </a:rPr>
              <a:t>Are your </a:t>
            </a:r>
            <a:r>
              <a:rPr lang="en-US" b="1">
                <a:solidFill>
                  <a:schemeClr val="tx1">
                    <a:lumMod val="65000"/>
                    <a:lumOff val="35000"/>
                  </a:schemeClr>
                </a:solidFill>
              </a:rPr>
              <a:t>products</a:t>
            </a:r>
            <a:r>
              <a:rPr lang="en-US">
                <a:solidFill>
                  <a:schemeClr val="tx1">
                    <a:lumMod val="65000"/>
                    <a:lumOff val="35000"/>
                  </a:schemeClr>
                </a:solidFill>
              </a:rPr>
              <a:t> </a:t>
            </a:r>
            <a:r>
              <a:rPr lang="en-US" b="1">
                <a:solidFill>
                  <a:schemeClr val="tx1">
                    <a:lumMod val="65000"/>
                    <a:lumOff val="35000"/>
                  </a:schemeClr>
                </a:solidFill>
              </a:rPr>
              <a:t>falling</a:t>
            </a:r>
            <a:r>
              <a:rPr lang="en-US">
                <a:solidFill>
                  <a:schemeClr val="tx1">
                    <a:lumMod val="65000"/>
                    <a:lumOff val="35000"/>
                  </a:schemeClr>
                </a:solidFill>
              </a:rPr>
              <a:t> </a:t>
            </a:r>
            <a:r>
              <a:rPr lang="en-US" b="1">
                <a:solidFill>
                  <a:schemeClr val="tx1">
                    <a:lumMod val="65000"/>
                    <a:lumOff val="35000"/>
                  </a:schemeClr>
                </a:solidFill>
              </a:rPr>
              <a:t>under</a:t>
            </a:r>
            <a:r>
              <a:rPr lang="en-US">
                <a:solidFill>
                  <a:schemeClr val="tx1">
                    <a:lumMod val="65000"/>
                    <a:lumOff val="35000"/>
                  </a:schemeClr>
                </a:solidFill>
              </a:rPr>
              <a:t> the </a:t>
            </a:r>
            <a:r>
              <a:rPr lang="en-US" b="1">
                <a:solidFill>
                  <a:schemeClr val="tx1">
                    <a:lumMod val="65000"/>
                    <a:lumOff val="35000"/>
                  </a:schemeClr>
                </a:solidFill>
              </a:rPr>
              <a:t>ESPR</a:t>
            </a:r>
            <a:r>
              <a:rPr lang="en-US">
                <a:solidFill>
                  <a:schemeClr val="tx1">
                    <a:lumMod val="65000"/>
                    <a:lumOff val="35000"/>
                  </a:schemeClr>
                </a:solidFill>
              </a:rPr>
              <a:t>?</a:t>
            </a:r>
          </a:p>
          <a:p>
            <a:pPr marL="457200" indent="-457200">
              <a:spcBef>
                <a:spcPts val="300"/>
              </a:spcBef>
              <a:buFont typeface="+mj-lt"/>
              <a:buAutoNum type="arabicPeriod"/>
            </a:pPr>
            <a:r>
              <a:rPr lang="en-US">
                <a:solidFill>
                  <a:schemeClr val="tx1">
                    <a:lumMod val="65000"/>
                    <a:lumOff val="35000"/>
                  </a:schemeClr>
                </a:solidFill>
              </a:rPr>
              <a:t>Is your </a:t>
            </a:r>
            <a:r>
              <a:rPr lang="en-US" b="1">
                <a:solidFill>
                  <a:schemeClr val="tx1">
                    <a:lumMod val="65000"/>
                    <a:lumOff val="35000"/>
                  </a:schemeClr>
                </a:solidFill>
              </a:rPr>
              <a:t>product</a:t>
            </a:r>
            <a:r>
              <a:rPr lang="en-US">
                <a:solidFill>
                  <a:schemeClr val="tx1">
                    <a:lumMod val="65000"/>
                    <a:lumOff val="35000"/>
                  </a:schemeClr>
                </a:solidFill>
              </a:rPr>
              <a:t> </a:t>
            </a:r>
            <a:r>
              <a:rPr lang="en-US" b="1">
                <a:solidFill>
                  <a:schemeClr val="tx1">
                    <a:lumMod val="65000"/>
                    <a:lumOff val="35000"/>
                  </a:schemeClr>
                </a:solidFill>
              </a:rPr>
              <a:t>part</a:t>
            </a:r>
            <a:r>
              <a:rPr lang="en-US">
                <a:solidFill>
                  <a:schemeClr val="tx1">
                    <a:lumMod val="65000"/>
                    <a:lumOff val="35000"/>
                  </a:schemeClr>
                </a:solidFill>
              </a:rPr>
              <a:t> </a:t>
            </a:r>
            <a:r>
              <a:rPr lang="en-US" b="1">
                <a:solidFill>
                  <a:schemeClr val="tx1">
                    <a:lumMod val="65000"/>
                    <a:lumOff val="35000"/>
                  </a:schemeClr>
                </a:solidFill>
              </a:rPr>
              <a:t>of</a:t>
            </a:r>
            <a:r>
              <a:rPr lang="en-US">
                <a:solidFill>
                  <a:schemeClr val="tx1">
                    <a:lumMod val="65000"/>
                    <a:lumOff val="35000"/>
                  </a:schemeClr>
                </a:solidFill>
              </a:rPr>
              <a:t> a prioritized </a:t>
            </a:r>
            <a:r>
              <a:rPr lang="en-US" b="1">
                <a:solidFill>
                  <a:schemeClr val="tx1">
                    <a:lumMod val="65000"/>
                    <a:lumOff val="35000"/>
                  </a:schemeClr>
                </a:solidFill>
              </a:rPr>
              <a:t>product groups</a:t>
            </a:r>
            <a:r>
              <a:rPr lang="en-US">
                <a:solidFill>
                  <a:schemeClr val="tx1">
                    <a:lumMod val="65000"/>
                    <a:lumOff val="35000"/>
                  </a:schemeClr>
                </a:solidFill>
              </a:rPr>
              <a:t>?</a:t>
            </a:r>
          </a:p>
          <a:p>
            <a:pPr marL="457200" indent="-457200">
              <a:spcBef>
                <a:spcPts val="300"/>
              </a:spcBef>
              <a:buFont typeface="+mj-lt"/>
              <a:buAutoNum type="arabicPeriod"/>
            </a:pPr>
            <a:r>
              <a:rPr lang="en-US">
                <a:solidFill>
                  <a:schemeClr val="tx1">
                    <a:lumMod val="65000"/>
                    <a:lumOff val="35000"/>
                  </a:schemeClr>
                </a:solidFill>
              </a:rPr>
              <a:t>Are you aware of the data required to report on the </a:t>
            </a:r>
            <a:r>
              <a:rPr lang="en-US" b="1">
                <a:solidFill>
                  <a:schemeClr val="tx1">
                    <a:lumMod val="65000"/>
                    <a:lumOff val="35000"/>
                  </a:schemeClr>
                </a:solidFill>
              </a:rPr>
              <a:t>Ecodesign</a:t>
            </a:r>
            <a:r>
              <a:rPr lang="en-US">
                <a:solidFill>
                  <a:schemeClr val="tx1">
                    <a:lumMod val="65000"/>
                    <a:lumOff val="35000"/>
                  </a:schemeClr>
                </a:solidFill>
              </a:rPr>
              <a:t> </a:t>
            </a:r>
            <a:r>
              <a:rPr lang="en-US" b="1">
                <a:solidFill>
                  <a:schemeClr val="tx1">
                    <a:lumMod val="65000"/>
                    <a:lumOff val="35000"/>
                  </a:schemeClr>
                </a:solidFill>
              </a:rPr>
              <a:t>Requirements</a:t>
            </a:r>
            <a:r>
              <a:rPr lang="en-US">
                <a:solidFill>
                  <a:schemeClr val="tx1">
                    <a:lumMod val="65000"/>
                    <a:lumOff val="35000"/>
                  </a:schemeClr>
                </a:solidFill>
              </a:rPr>
              <a:t>?</a:t>
            </a:r>
          </a:p>
          <a:p>
            <a:pPr marL="457200" indent="-457200">
              <a:spcBef>
                <a:spcPts val="300"/>
              </a:spcBef>
              <a:buFont typeface="+mj-lt"/>
              <a:buAutoNum type="arabicPeriod"/>
            </a:pPr>
            <a:r>
              <a:rPr lang="en-US">
                <a:solidFill>
                  <a:schemeClr val="tx1">
                    <a:lumMod val="65000"/>
                    <a:lumOff val="35000"/>
                  </a:schemeClr>
                </a:solidFill>
              </a:rPr>
              <a:t>Are you aware of the </a:t>
            </a:r>
            <a:r>
              <a:rPr lang="en-US" b="1">
                <a:solidFill>
                  <a:schemeClr val="tx1">
                    <a:lumMod val="65000"/>
                    <a:lumOff val="35000"/>
                  </a:schemeClr>
                </a:solidFill>
              </a:rPr>
              <a:t>product</a:t>
            </a:r>
            <a:r>
              <a:rPr lang="en-US">
                <a:solidFill>
                  <a:schemeClr val="tx1">
                    <a:lumMod val="65000"/>
                    <a:lumOff val="35000"/>
                  </a:schemeClr>
                </a:solidFill>
              </a:rPr>
              <a:t> </a:t>
            </a:r>
            <a:r>
              <a:rPr lang="en-US" b="1">
                <a:solidFill>
                  <a:schemeClr val="tx1">
                    <a:lumMod val="65000"/>
                    <a:lumOff val="35000"/>
                  </a:schemeClr>
                </a:solidFill>
              </a:rPr>
              <a:t>categories</a:t>
            </a:r>
            <a:r>
              <a:rPr lang="en-US">
                <a:solidFill>
                  <a:schemeClr val="tx1">
                    <a:lumMod val="65000"/>
                    <a:lumOff val="35000"/>
                  </a:schemeClr>
                </a:solidFill>
              </a:rPr>
              <a:t>' priorities and </a:t>
            </a:r>
            <a:r>
              <a:rPr lang="en-US" b="1">
                <a:solidFill>
                  <a:schemeClr val="tx1">
                    <a:lumMod val="65000"/>
                    <a:lumOff val="35000"/>
                  </a:schemeClr>
                </a:solidFill>
              </a:rPr>
              <a:t>timelines</a:t>
            </a:r>
            <a:r>
              <a:rPr lang="en-US">
                <a:solidFill>
                  <a:schemeClr val="tx1">
                    <a:lumMod val="65000"/>
                    <a:lumOff val="35000"/>
                  </a:schemeClr>
                </a:solidFill>
              </a:rPr>
              <a:t>?</a:t>
            </a:r>
          </a:p>
          <a:p>
            <a:pPr marL="457200" indent="-457200">
              <a:spcBef>
                <a:spcPts val="300"/>
              </a:spcBef>
              <a:buFont typeface="+mj-lt"/>
              <a:buAutoNum type="arabicPeriod"/>
            </a:pPr>
            <a:r>
              <a:rPr lang="en-US">
                <a:solidFill>
                  <a:schemeClr val="tx1">
                    <a:lumMod val="65000"/>
                    <a:lumOff val="35000"/>
                  </a:schemeClr>
                </a:solidFill>
              </a:rPr>
              <a:t>Do you possess the relevant </a:t>
            </a:r>
            <a:r>
              <a:rPr lang="en-US" b="1">
                <a:solidFill>
                  <a:schemeClr val="tx1">
                    <a:lumMod val="65000"/>
                    <a:lumOff val="35000"/>
                  </a:schemeClr>
                </a:solidFill>
              </a:rPr>
              <a:t>information</a:t>
            </a:r>
            <a:r>
              <a:rPr lang="en-US">
                <a:solidFill>
                  <a:schemeClr val="tx1">
                    <a:lumMod val="65000"/>
                    <a:lumOff val="35000"/>
                  </a:schemeClr>
                </a:solidFill>
              </a:rPr>
              <a:t>, </a:t>
            </a:r>
            <a:r>
              <a:rPr lang="en-US" b="1">
                <a:solidFill>
                  <a:schemeClr val="tx1">
                    <a:lumMod val="65000"/>
                    <a:lumOff val="35000"/>
                  </a:schemeClr>
                </a:solidFill>
              </a:rPr>
              <a:t>performance</a:t>
            </a:r>
            <a:r>
              <a:rPr lang="en-US">
                <a:solidFill>
                  <a:schemeClr val="tx1">
                    <a:lumMod val="65000"/>
                    <a:lumOff val="35000"/>
                  </a:schemeClr>
                </a:solidFill>
              </a:rPr>
              <a:t>, and </a:t>
            </a:r>
            <a:r>
              <a:rPr lang="en-US" b="1">
                <a:solidFill>
                  <a:schemeClr val="tx1">
                    <a:lumMod val="65000"/>
                    <a:lumOff val="35000"/>
                  </a:schemeClr>
                </a:solidFill>
              </a:rPr>
              <a:t>additional</a:t>
            </a:r>
            <a:r>
              <a:rPr lang="en-US">
                <a:solidFill>
                  <a:schemeClr val="tx1">
                    <a:lumMod val="65000"/>
                    <a:lumOff val="35000"/>
                  </a:schemeClr>
                </a:solidFill>
              </a:rPr>
              <a:t> </a:t>
            </a:r>
            <a:r>
              <a:rPr lang="en-US" b="1">
                <a:solidFill>
                  <a:schemeClr val="tx1">
                    <a:lumMod val="65000"/>
                    <a:lumOff val="35000"/>
                  </a:schemeClr>
                </a:solidFill>
              </a:rPr>
              <a:t>requirements</a:t>
            </a:r>
            <a:r>
              <a:rPr lang="en-US">
                <a:solidFill>
                  <a:schemeClr val="tx1">
                    <a:lumMod val="65000"/>
                    <a:lumOff val="35000"/>
                  </a:schemeClr>
                </a:solidFill>
              </a:rPr>
              <a:t>?</a:t>
            </a:r>
          </a:p>
          <a:p>
            <a:pPr marL="457200" indent="-457200">
              <a:spcBef>
                <a:spcPts val="300"/>
              </a:spcBef>
              <a:buFont typeface="+mj-lt"/>
              <a:buAutoNum type="arabicPeriod"/>
            </a:pPr>
            <a:r>
              <a:rPr lang="en-US">
                <a:solidFill>
                  <a:schemeClr val="tx1">
                    <a:lumMod val="65000"/>
                    <a:lumOff val="35000"/>
                  </a:schemeClr>
                </a:solidFill>
              </a:rPr>
              <a:t>Is your </a:t>
            </a:r>
            <a:r>
              <a:rPr lang="en-US" b="1">
                <a:solidFill>
                  <a:schemeClr val="tx1">
                    <a:lumMod val="65000"/>
                    <a:lumOff val="35000"/>
                  </a:schemeClr>
                </a:solidFill>
              </a:rPr>
              <a:t>MDM / PIM ready</a:t>
            </a:r>
            <a:r>
              <a:rPr lang="en-US">
                <a:solidFill>
                  <a:schemeClr val="tx1">
                    <a:lumMod val="65000"/>
                    <a:lumOff val="35000"/>
                  </a:schemeClr>
                </a:solidFill>
              </a:rPr>
              <a:t> to host the </a:t>
            </a:r>
            <a:r>
              <a:rPr lang="en-US" b="1">
                <a:solidFill>
                  <a:schemeClr val="tx1">
                    <a:lumMod val="65000"/>
                    <a:lumOff val="35000"/>
                  </a:schemeClr>
                </a:solidFill>
              </a:rPr>
              <a:t>DPP-Data</a:t>
            </a:r>
            <a:r>
              <a:rPr lang="en-US">
                <a:solidFill>
                  <a:schemeClr val="tx1">
                    <a:lumMod val="65000"/>
                    <a:lumOff val="35000"/>
                  </a:schemeClr>
                </a:solidFill>
              </a:rPr>
              <a:t>?</a:t>
            </a:r>
          </a:p>
          <a:p>
            <a:pPr marL="457200" indent="-457200">
              <a:spcBef>
                <a:spcPts val="300"/>
              </a:spcBef>
              <a:buFont typeface="+mj-lt"/>
              <a:buAutoNum type="arabicPeriod"/>
            </a:pPr>
            <a:r>
              <a:rPr lang="en-US">
                <a:solidFill>
                  <a:schemeClr val="tx1">
                    <a:lumMod val="65000"/>
                    <a:lumOff val="35000"/>
                  </a:schemeClr>
                </a:solidFill>
              </a:rPr>
              <a:t>Do you know the downstream </a:t>
            </a:r>
            <a:r>
              <a:rPr lang="en-US" b="1">
                <a:solidFill>
                  <a:schemeClr val="tx1">
                    <a:lumMod val="65000"/>
                    <a:lumOff val="35000"/>
                  </a:schemeClr>
                </a:solidFill>
              </a:rPr>
              <a:t>actors</a:t>
            </a:r>
            <a:r>
              <a:rPr lang="en-US">
                <a:solidFill>
                  <a:schemeClr val="tx1">
                    <a:lumMod val="65000"/>
                    <a:lumOff val="35000"/>
                  </a:schemeClr>
                </a:solidFill>
              </a:rPr>
              <a:t> and their </a:t>
            </a:r>
            <a:r>
              <a:rPr lang="en-US" b="1">
                <a:solidFill>
                  <a:schemeClr val="tx1">
                    <a:lumMod val="65000"/>
                    <a:lumOff val="35000"/>
                  </a:schemeClr>
                </a:solidFill>
              </a:rPr>
              <a:t>R&amp;Rs </a:t>
            </a:r>
            <a:r>
              <a:rPr lang="en-US">
                <a:solidFill>
                  <a:schemeClr val="tx1">
                    <a:lumMod val="65000"/>
                    <a:lumOff val="35000"/>
                  </a:schemeClr>
                </a:solidFill>
              </a:rPr>
              <a:t>along the </a:t>
            </a:r>
            <a:r>
              <a:rPr lang="en-US" b="1">
                <a:solidFill>
                  <a:schemeClr val="tx1">
                    <a:lumMod val="65000"/>
                    <a:lumOff val="35000"/>
                  </a:schemeClr>
                </a:solidFill>
              </a:rPr>
              <a:t>product lifecycle</a:t>
            </a:r>
            <a:r>
              <a:rPr lang="en-US">
                <a:solidFill>
                  <a:schemeClr val="tx1">
                    <a:lumMod val="65000"/>
                    <a:lumOff val="35000"/>
                  </a:schemeClr>
                </a:solidFill>
              </a:rPr>
              <a:t>?</a:t>
            </a:r>
          </a:p>
          <a:p>
            <a:pPr marL="457200" indent="-457200">
              <a:spcBef>
                <a:spcPts val="300"/>
              </a:spcBef>
              <a:buFont typeface="+mj-lt"/>
              <a:buAutoNum type="arabicPeriod"/>
            </a:pPr>
            <a:r>
              <a:rPr lang="en-US">
                <a:solidFill>
                  <a:schemeClr val="tx1">
                    <a:lumMod val="65000"/>
                    <a:lumOff val="35000"/>
                  </a:schemeClr>
                </a:solidFill>
              </a:rPr>
              <a:t>Are you aware of the </a:t>
            </a:r>
            <a:r>
              <a:rPr lang="en-US" b="1">
                <a:solidFill>
                  <a:schemeClr val="tx1">
                    <a:lumMod val="65000"/>
                    <a:lumOff val="35000"/>
                  </a:schemeClr>
                </a:solidFill>
              </a:rPr>
              <a:t>market surveillance </a:t>
            </a:r>
            <a:r>
              <a:rPr lang="en-US">
                <a:solidFill>
                  <a:schemeClr val="tx1">
                    <a:lumMod val="65000"/>
                    <a:lumOff val="35000"/>
                  </a:schemeClr>
                </a:solidFill>
              </a:rPr>
              <a:t>mechanism?</a:t>
            </a:r>
          </a:p>
          <a:p>
            <a:pPr marL="457200" indent="-457200">
              <a:spcBef>
                <a:spcPts val="300"/>
              </a:spcBef>
              <a:buFont typeface="+mj-lt"/>
              <a:buAutoNum type="arabicPeriod"/>
            </a:pPr>
            <a:r>
              <a:rPr lang="en-US">
                <a:solidFill>
                  <a:schemeClr val="tx1">
                    <a:lumMod val="65000"/>
                    <a:lumOff val="35000"/>
                  </a:schemeClr>
                </a:solidFill>
              </a:rPr>
              <a:t>Can you issue a </a:t>
            </a:r>
            <a:r>
              <a:rPr lang="en-US" b="1">
                <a:solidFill>
                  <a:schemeClr val="tx1">
                    <a:lumMod val="65000"/>
                    <a:lumOff val="35000"/>
                  </a:schemeClr>
                </a:solidFill>
              </a:rPr>
              <a:t>unique</a:t>
            </a:r>
            <a:r>
              <a:rPr lang="en-US">
                <a:solidFill>
                  <a:schemeClr val="tx1">
                    <a:lumMod val="65000"/>
                    <a:lumOff val="35000"/>
                  </a:schemeClr>
                </a:solidFill>
              </a:rPr>
              <a:t> </a:t>
            </a:r>
            <a:r>
              <a:rPr lang="en-US" b="1">
                <a:solidFill>
                  <a:schemeClr val="tx1">
                    <a:lumMod val="65000"/>
                    <a:lumOff val="35000"/>
                  </a:schemeClr>
                </a:solidFill>
              </a:rPr>
              <a:t>identifier</a:t>
            </a:r>
            <a:r>
              <a:rPr lang="en-US">
                <a:solidFill>
                  <a:schemeClr val="tx1">
                    <a:lumMod val="65000"/>
                    <a:lumOff val="35000"/>
                  </a:schemeClr>
                </a:solidFill>
              </a:rPr>
              <a:t> for the granularity required?</a:t>
            </a:r>
          </a:p>
          <a:p>
            <a:pPr marL="457200" indent="-457200">
              <a:spcBef>
                <a:spcPts val="300"/>
              </a:spcBef>
              <a:buFont typeface="+mj-lt"/>
              <a:buAutoNum type="arabicPeriod"/>
            </a:pPr>
            <a:r>
              <a:rPr lang="en-US">
                <a:solidFill>
                  <a:schemeClr val="tx1">
                    <a:lumMod val="65000"/>
                    <a:lumOff val="35000"/>
                  </a:schemeClr>
                </a:solidFill>
              </a:rPr>
              <a:t>Can you </a:t>
            </a:r>
            <a:r>
              <a:rPr lang="en-US" b="1">
                <a:solidFill>
                  <a:schemeClr val="tx1">
                    <a:lumMod val="65000"/>
                    <a:lumOff val="35000"/>
                  </a:schemeClr>
                </a:solidFill>
              </a:rPr>
              <a:t>back up</a:t>
            </a:r>
            <a:r>
              <a:rPr lang="en-US">
                <a:solidFill>
                  <a:schemeClr val="tx1">
                    <a:lumMod val="65000"/>
                    <a:lumOff val="35000"/>
                  </a:schemeClr>
                </a:solidFill>
              </a:rPr>
              <a:t> </a:t>
            </a:r>
            <a:r>
              <a:rPr lang="en-US" b="1">
                <a:solidFill>
                  <a:schemeClr val="tx1">
                    <a:lumMod val="65000"/>
                    <a:lumOff val="35000"/>
                  </a:schemeClr>
                </a:solidFill>
              </a:rPr>
              <a:t>DPPs</a:t>
            </a:r>
            <a:r>
              <a:rPr lang="en-US">
                <a:solidFill>
                  <a:schemeClr val="tx1">
                    <a:lumMod val="65000"/>
                    <a:lumOff val="35000"/>
                  </a:schemeClr>
                </a:solidFill>
              </a:rPr>
              <a:t>?</a:t>
            </a:r>
          </a:p>
          <a:p>
            <a:pPr marL="457200" indent="-457200">
              <a:spcBef>
                <a:spcPts val="300"/>
              </a:spcBef>
              <a:buFont typeface="+mj-lt"/>
              <a:buAutoNum type="arabicPeriod"/>
            </a:pPr>
            <a:r>
              <a:rPr lang="en-US">
                <a:solidFill>
                  <a:schemeClr val="tx1">
                    <a:lumMod val="65000"/>
                    <a:lumOff val="35000"/>
                  </a:schemeClr>
                </a:solidFill>
              </a:rPr>
              <a:t>Is there a viable </a:t>
            </a:r>
            <a:r>
              <a:rPr lang="en-US" b="1">
                <a:solidFill>
                  <a:schemeClr val="tx1">
                    <a:lumMod val="65000"/>
                    <a:lumOff val="35000"/>
                  </a:schemeClr>
                </a:solidFill>
              </a:rPr>
              <a:t>Business</a:t>
            </a:r>
            <a:r>
              <a:rPr lang="en-US">
                <a:solidFill>
                  <a:schemeClr val="tx1">
                    <a:lumMod val="65000"/>
                    <a:lumOff val="35000"/>
                  </a:schemeClr>
                </a:solidFill>
              </a:rPr>
              <a:t> </a:t>
            </a:r>
            <a:r>
              <a:rPr lang="en-US" b="1">
                <a:solidFill>
                  <a:schemeClr val="tx1">
                    <a:lumMod val="65000"/>
                    <a:lumOff val="35000"/>
                  </a:schemeClr>
                </a:solidFill>
              </a:rPr>
              <a:t>Case</a:t>
            </a:r>
            <a:r>
              <a:rPr lang="en-US">
                <a:solidFill>
                  <a:schemeClr val="tx1">
                    <a:lumMod val="65000"/>
                    <a:lumOff val="35000"/>
                  </a:schemeClr>
                </a:solidFill>
              </a:rPr>
              <a:t>?</a:t>
            </a:r>
          </a:p>
          <a:p>
            <a:pPr marL="457200" indent="-457200">
              <a:spcBef>
                <a:spcPts val="300"/>
              </a:spcBef>
              <a:buFont typeface="+mj-lt"/>
              <a:buAutoNum type="arabicPeriod"/>
            </a:pPr>
            <a:endParaRPr lang="en-US">
              <a:solidFill>
                <a:schemeClr val="tx1">
                  <a:lumMod val="65000"/>
                  <a:lumOff val="35000"/>
                </a:schemeClr>
              </a:solidFill>
            </a:endParaRPr>
          </a:p>
          <a:p>
            <a:pPr marL="457200" indent="-457200">
              <a:spcBef>
                <a:spcPts val="300"/>
              </a:spcBef>
              <a:buFont typeface="+mj-lt"/>
              <a:buAutoNum type="arabicPeriod"/>
            </a:pPr>
            <a:endParaRPr lang="en-US">
              <a:solidFill>
                <a:schemeClr val="tx1">
                  <a:lumMod val="65000"/>
                  <a:lumOff val="35000"/>
                </a:schemeClr>
              </a:solidFill>
            </a:endParaRPr>
          </a:p>
        </p:txBody>
      </p:sp>
      <p:sp>
        <p:nvSpPr>
          <p:cNvPr id="3" name="Date Placeholder 2">
            <a:extLst>
              <a:ext uri="{FF2B5EF4-FFF2-40B4-BE49-F238E27FC236}">
                <a16:creationId xmlns:a16="http://schemas.microsoft.com/office/drawing/2014/main" id="{0EAC4A15-7141-3364-FCD8-D3FB380521CF}"/>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2E752000-55A0-4553-BBD4-CFFEEB173D51}"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4" name="Slide Number Placeholder 3">
            <a:extLst>
              <a:ext uri="{FF2B5EF4-FFF2-40B4-BE49-F238E27FC236}">
                <a16:creationId xmlns:a16="http://schemas.microsoft.com/office/drawing/2014/main" id="{C8E08C5D-FDF5-B513-7BE6-10E9528AEC1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34</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7608108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D4E4DBA-BC01-CD07-C857-236C90A0DA0A}"/>
              </a:ext>
            </a:extLst>
          </p:cNvPr>
          <p:cNvSpPr>
            <a:spLocks noGrp="1"/>
          </p:cNvSpPr>
          <p:nvPr>
            <p:ph type="dt" sz="half" idx="2"/>
          </p:nvPr>
        </p:nvSpPr>
        <p:spPr>
          <a:xfrm>
            <a:off x="685760" y="6516409"/>
            <a:ext cx="468126" cy="175322"/>
          </a:xfrm>
          <a:prstGeom prst="rect">
            <a:avLst/>
          </a:prstGeom>
        </p:spPr>
        <p:txBody>
          <a:bodyPr wrap="none" lIns="0" tIns="0" rIns="0" bIns="0"/>
          <a:lstStyle>
            <a:defPPr>
              <a:defRPr lang="de-DE"/>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010B03-D230-4701-9F37-B6F131066B93}" type="datetime1">
              <a:rPr lang="de-DE" smtClean="0"/>
              <a:pPr/>
              <a:t>16.02.25</a:t>
            </a:fld>
            <a:endParaRPr lang="de-DE"/>
          </a:p>
        </p:txBody>
      </p:sp>
      <p:sp>
        <p:nvSpPr>
          <p:cNvPr id="4" name="Slide Number Placeholder 3">
            <a:extLst>
              <a:ext uri="{FF2B5EF4-FFF2-40B4-BE49-F238E27FC236}">
                <a16:creationId xmlns:a16="http://schemas.microsoft.com/office/drawing/2014/main" id="{0378654B-7B7D-C4F9-59D3-238E27082A37}"/>
              </a:ext>
            </a:extLst>
          </p:cNvPr>
          <p:cNvSpPr>
            <a:spLocks noGrp="1"/>
          </p:cNvSpPr>
          <p:nvPr>
            <p:ph type="sldNum" sz="quarter" idx="4"/>
          </p:nvPr>
        </p:nvSpPr>
        <p:spPr>
          <a:xfrm>
            <a:off x="227013" y="6514798"/>
            <a:ext cx="384217" cy="151200"/>
          </a:xfrm>
          <a:prstGeom prst="rect">
            <a:avLst/>
          </a:prstGeom>
        </p:spPr>
        <p:txBody>
          <a:bodyPr lIns="0" tIns="0" rIns="0" bIns="0"/>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2EA1D04-CA53-4DE3-84A8-2B63E41036C9}" type="slidenum">
              <a:rPr lang="de-DE" smtClean="0"/>
              <a:pPr/>
              <a:t>35</a:t>
            </a:fld>
            <a:endParaRPr lang="de-DE"/>
          </a:p>
        </p:txBody>
      </p:sp>
      <p:sp>
        <p:nvSpPr>
          <p:cNvPr id="5" name="Title 4">
            <a:extLst>
              <a:ext uri="{FF2B5EF4-FFF2-40B4-BE49-F238E27FC236}">
                <a16:creationId xmlns:a16="http://schemas.microsoft.com/office/drawing/2014/main" id="{8AD36964-5CA0-70B5-6DD5-0D19A0058232}"/>
              </a:ext>
            </a:extLst>
          </p:cNvPr>
          <p:cNvSpPr>
            <a:spLocks noGrp="1"/>
          </p:cNvSpPr>
          <p:nvPr>
            <p:ph type="title"/>
          </p:nvPr>
        </p:nvSpPr>
        <p:spPr/>
        <p:txBody>
          <a:bodyPr/>
          <a:lstStyle/>
          <a:p>
            <a:r>
              <a:rPr lang="en-US" dirty="0"/>
              <a:t>Don’t let yourself be Swept Away by the Regulatory Tsunami</a:t>
            </a:r>
          </a:p>
        </p:txBody>
      </p:sp>
      <p:pic>
        <p:nvPicPr>
          <p:cNvPr id="15" name="Picture 14" descr="A wave of papers and city&#10;&#10;AI-generated content may be incorrect.">
            <a:extLst>
              <a:ext uri="{FF2B5EF4-FFF2-40B4-BE49-F238E27FC236}">
                <a16:creationId xmlns:a16="http://schemas.microsoft.com/office/drawing/2014/main" id="{58F8F228-838C-39B6-875C-6962023820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79850" y="1473201"/>
            <a:ext cx="7772400" cy="4441371"/>
          </a:xfrm>
          <a:prstGeom prst="rect">
            <a:avLst/>
          </a:prstGeom>
        </p:spPr>
      </p:pic>
      <p:sp>
        <p:nvSpPr>
          <p:cNvPr id="6" name="TextBox 5">
            <a:extLst>
              <a:ext uri="{FF2B5EF4-FFF2-40B4-BE49-F238E27FC236}">
                <a16:creationId xmlns:a16="http://schemas.microsoft.com/office/drawing/2014/main" id="{877BE970-0001-C7FB-8B68-E939D7E5552B}"/>
              </a:ext>
            </a:extLst>
          </p:cNvPr>
          <p:cNvSpPr txBox="1"/>
          <p:nvPr/>
        </p:nvSpPr>
        <p:spPr>
          <a:xfrm>
            <a:off x="302547" y="2024064"/>
            <a:ext cx="1075615" cy="430887"/>
          </a:xfrm>
          <a:prstGeom prst="rect">
            <a:avLst/>
          </a:prstGeom>
          <a:noFill/>
        </p:spPr>
        <p:txBody>
          <a:bodyPr wrap="none" lIns="0" tIns="0" rIns="0" bIns="0" rtlCol="0">
            <a:spAutoFit/>
          </a:bodyPr>
          <a:lstStyle/>
          <a:p>
            <a:r>
              <a:rPr lang="en-US" sz="2800" b="1" dirty="0">
                <a:solidFill>
                  <a:schemeClr val="accent1"/>
                </a:solidFill>
              </a:rPr>
              <a:t>PPWD</a:t>
            </a:r>
            <a:endParaRPr lang="en-US" b="1" dirty="0">
              <a:solidFill>
                <a:schemeClr val="accent1"/>
              </a:solidFill>
            </a:endParaRPr>
          </a:p>
        </p:txBody>
      </p:sp>
      <p:sp>
        <p:nvSpPr>
          <p:cNvPr id="8" name="TextBox 7">
            <a:extLst>
              <a:ext uri="{FF2B5EF4-FFF2-40B4-BE49-F238E27FC236}">
                <a16:creationId xmlns:a16="http://schemas.microsoft.com/office/drawing/2014/main" id="{15E13A6D-D04C-3286-BBFE-2333DC6438E9}"/>
              </a:ext>
            </a:extLst>
          </p:cNvPr>
          <p:cNvSpPr txBox="1"/>
          <p:nvPr/>
        </p:nvSpPr>
        <p:spPr>
          <a:xfrm>
            <a:off x="512859" y="2454950"/>
            <a:ext cx="2253683" cy="959430"/>
          </a:xfrm>
          <a:prstGeom prst="rect">
            <a:avLst/>
          </a:prstGeom>
          <a:noFill/>
        </p:spPr>
        <p:txBody>
          <a:bodyPr wrap="square" lIns="0" tIns="0" rIns="0" bIns="0" rtlCol="0">
            <a:spAutoFit/>
          </a:bodyPr>
          <a:lstStyle/>
          <a:p>
            <a:pPr>
              <a:lnSpc>
                <a:spcPct val="114000"/>
              </a:lnSpc>
              <a:spcAft>
                <a:spcPts val="300"/>
              </a:spcAft>
            </a:pPr>
            <a:r>
              <a:rPr lang="en-US" dirty="0">
                <a:solidFill>
                  <a:schemeClr val="tx1">
                    <a:lumMod val="65000"/>
                    <a:lumOff val="35000"/>
                  </a:schemeClr>
                </a:solidFill>
              </a:rPr>
              <a:t>Recycled Content?</a:t>
            </a:r>
          </a:p>
          <a:p>
            <a:pPr>
              <a:lnSpc>
                <a:spcPct val="114000"/>
              </a:lnSpc>
              <a:spcAft>
                <a:spcPts val="300"/>
              </a:spcAft>
            </a:pPr>
            <a:r>
              <a:rPr lang="en-US" dirty="0">
                <a:solidFill>
                  <a:schemeClr val="tx1">
                    <a:lumMod val="65000"/>
                    <a:lumOff val="35000"/>
                  </a:schemeClr>
                </a:solidFill>
              </a:rPr>
              <a:t>Reusable?</a:t>
            </a:r>
            <a:br>
              <a:rPr lang="en-US" dirty="0">
                <a:solidFill>
                  <a:schemeClr val="tx1">
                    <a:lumMod val="65000"/>
                    <a:lumOff val="35000"/>
                  </a:schemeClr>
                </a:solidFill>
              </a:rPr>
            </a:br>
            <a:r>
              <a:rPr lang="en-US" dirty="0">
                <a:solidFill>
                  <a:schemeClr val="tx1">
                    <a:lumMod val="65000"/>
                    <a:lumOff val="35000"/>
                  </a:schemeClr>
                </a:solidFill>
              </a:rPr>
              <a:t>Compostable?</a:t>
            </a:r>
          </a:p>
        </p:txBody>
      </p:sp>
      <p:sp>
        <p:nvSpPr>
          <p:cNvPr id="10" name="TextBox 9">
            <a:extLst>
              <a:ext uri="{FF2B5EF4-FFF2-40B4-BE49-F238E27FC236}">
                <a16:creationId xmlns:a16="http://schemas.microsoft.com/office/drawing/2014/main" id="{4F332A3F-2B14-5163-C58F-C11D5D149EDA}"/>
              </a:ext>
            </a:extLst>
          </p:cNvPr>
          <p:cNvSpPr txBox="1"/>
          <p:nvPr/>
        </p:nvSpPr>
        <p:spPr>
          <a:xfrm>
            <a:off x="616873" y="3572055"/>
            <a:ext cx="737381" cy="430887"/>
          </a:xfrm>
          <a:prstGeom prst="rect">
            <a:avLst/>
          </a:prstGeom>
          <a:noFill/>
        </p:spPr>
        <p:txBody>
          <a:bodyPr wrap="none" lIns="0" tIns="0" rIns="0" bIns="0" rtlCol="0">
            <a:spAutoFit/>
          </a:bodyPr>
          <a:lstStyle/>
          <a:p>
            <a:r>
              <a:rPr lang="en-US" sz="2800" b="1" dirty="0">
                <a:solidFill>
                  <a:schemeClr val="accent1"/>
                </a:solidFill>
              </a:rPr>
              <a:t>SUP</a:t>
            </a:r>
            <a:endParaRPr lang="en-US" b="1" dirty="0">
              <a:solidFill>
                <a:schemeClr val="accent1"/>
              </a:solidFill>
            </a:endParaRPr>
          </a:p>
        </p:txBody>
      </p:sp>
      <p:sp>
        <p:nvSpPr>
          <p:cNvPr id="12" name="TextBox 11">
            <a:extLst>
              <a:ext uri="{FF2B5EF4-FFF2-40B4-BE49-F238E27FC236}">
                <a16:creationId xmlns:a16="http://schemas.microsoft.com/office/drawing/2014/main" id="{C678A015-C1D1-2229-8A31-560EB688A971}"/>
              </a:ext>
            </a:extLst>
          </p:cNvPr>
          <p:cNvSpPr txBox="1"/>
          <p:nvPr/>
        </p:nvSpPr>
        <p:spPr>
          <a:xfrm>
            <a:off x="617223" y="4535921"/>
            <a:ext cx="737381" cy="430887"/>
          </a:xfrm>
          <a:prstGeom prst="rect">
            <a:avLst/>
          </a:prstGeom>
          <a:noFill/>
        </p:spPr>
        <p:txBody>
          <a:bodyPr wrap="none" lIns="0" tIns="0" rIns="0" bIns="0" rtlCol="0">
            <a:spAutoFit/>
          </a:bodyPr>
          <a:lstStyle/>
          <a:p>
            <a:r>
              <a:rPr lang="en-US" sz="2800" b="1" dirty="0">
                <a:solidFill>
                  <a:schemeClr val="accent1"/>
                </a:solidFill>
              </a:rPr>
              <a:t>EPR</a:t>
            </a:r>
            <a:endParaRPr lang="en-US" b="1" dirty="0">
              <a:solidFill>
                <a:schemeClr val="accent1"/>
              </a:solidFill>
            </a:endParaRPr>
          </a:p>
        </p:txBody>
      </p:sp>
      <p:sp>
        <p:nvSpPr>
          <p:cNvPr id="14" name="TextBox 13">
            <a:extLst>
              <a:ext uri="{FF2B5EF4-FFF2-40B4-BE49-F238E27FC236}">
                <a16:creationId xmlns:a16="http://schemas.microsoft.com/office/drawing/2014/main" id="{2463A1A2-5E3A-4840-CCE4-601E8B6A72AA}"/>
              </a:ext>
            </a:extLst>
          </p:cNvPr>
          <p:cNvSpPr txBox="1"/>
          <p:nvPr/>
        </p:nvSpPr>
        <p:spPr>
          <a:xfrm>
            <a:off x="2067418" y="4056179"/>
            <a:ext cx="1017907" cy="430887"/>
          </a:xfrm>
          <a:prstGeom prst="rect">
            <a:avLst/>
          </a:prstGeom>
          <a:noFill/>
        </p:spPr>
        <p:txBody>
          <a:bodyPr wrap="none" lIns="0" tIns="0" rIns="0" bIns="0" rtlCol="0">
            <a:spAutoFit/>
          </a:bodyPr>
          <a:lstStyle/>
          <a:p>
            <a:r>
              <a:rPr lang="en-US" sz="2800" b="1" dirty="0">
                <a:solidFill>
                  <a:schemeClr val="accent1"/>
                </a:solidFill>
              </a:rPr>
              <a:t>CSRD</a:t>
            </a:r>
            <a:endParaRPr lang="en-US" b="1" dirty="0">
              <a:solidFill>
                <a:schemeClr val="accent1"/>
              </a:solidFill>
            </a:endParaRPr>
          </a:p>
        </p:txBody>
      </p:sp>
      <p:sp>
        <p:nvSpPr>
          <p:cNvPr id="16" name="TextBox 15">
            <a:extLst>
              <a:ext uri="{FF2B5EF4-FFF2-40B4-BE49-F238E27FC236}">
                <a16:creationId xmlns:a16="http://schemas.microsoft.com/office/drawing/2014/main" id="{C57BD811-9314-12E9-B033-FF2AC896985B}"/>
              </a:ext>
            </a:extLst>
          </p:cNvPr>
          <p:cNvSpPr txBox="1"/>
          <p:nvPr/>
        </p:nvSpPr>
        <p:spPr>
          <a:xfrm>
            <a:off x="2067417" y="4966808"/>
            <a:ext cx="1277594" cy="430887"/>
          </a:xfrm>
          <a:prstGeom prst="rect">
            <a:avLst/>
          </a:prstGeom>
          <a:noFill/>
        </p:spPr>
        <p:txBody>
          <a:bodyPr wrap="none" lIns="0" tIns="0" rIns="0" bIns="0" rtlCol="0">
            <a:spAutoFit/>
          </a:bodyPr>
          <a:lstStyle/>
          <a:p>
            <a:r>
              <a:rPr lang="en-US" sz="2800" b="1" dirty="0">
                <a:solidFill>
                  <a:schemeClr val="accent1"/>
                </a:solidFill>
              </a:rPr>
              <a:t>CSDDD</a:t>
            </a:r>
            <a:endParaRPr lang="en-US" b="1" dirty="0">
              <a:solidFill>
                <a:schemeClr val="accent1"/>
              </a:solidFill>
            </a:endParaRPr>
          </a:p>
        </p:txBody>
      </p:sp>
    </p:spTree>
    <p:extLst>
      <p:ext uri="{BB962C8B-B14F-4D97-AF65-F5344CB8AC3E}">
        <p14:creationId xmlns:p14="http://schemas.microsoft.com/office/powerpoint/2010/main" val="277059995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702C9A7-41FF-C7BC-49B8-08D6A8F6D9D0}"/>
              </a:ext>
            </a:extLst>
          </p:cNvPr>
          <p:cNvSpPr>
            <a:spLocks noGrp="1"/>
          </p:cNvSpPr>
          <p:nvPr>
            <p:ph type="dt" sz="half" idx="2"/>
          </p:nvPr>
        </p:nvSpPr>
        <p:spPr>
          <a:xfrm>
            <a:off x="685760" y="6516409"/>
            <a:ext cx="468126" cy="175322"/>
          </a:xfrm>
          <a:prstGeom prst="rect">
            <a:avLst/>
          </a:prstGeom>
        </p:spPr>
        <p:txBody>
          <a:bodyPr wrap="none" lIns="0" tIns="0" rIns="0" bIns="0"/>
          <a:lstStyle>
            <a:defPPr>
              <a:defRPr lang="de-DE"/>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010B03-D230-4701-9F37-B6F131066B93}" type="datetime1">
              <a:rPr lang="de-DE" smtClean="0"/>
              <a:pPr/>
              <a:t>16.02.25</a:t>
            </a:fld>
            <a:endParaRPr lang="de-DE"/>
          </a:p>
        </p:txBody>
      </p:sp>
      <p:sp>
        <p:nvSpPr>
          <p:cNvPr id="4" name="Slide Number Placeholder 3">
            <a:extLst>
              <a:ext uri="{FF2B5EF4-FFF2-40B4-BE49-F238E27FC236}">
                <a16:creationId xmlns:a16="http://schemas.microsoft.com/office/drawing/2014/main" id="{DCBA4D93-8336-9120-96A4-0E56E6B94430}"/>
              </a:ext>
            </a:extLst>
          </p:cNvPr>
          <p:cNvSpPr>
            <a:spLocks noGrp="1"/>
          </p:cNvSpPr>
          <p:nvPr>
            <p:ph type="sldNum" sz="quarter" idx="4"/>
          </p:nvPr>
        </p:nvSpPr>
        <p:spPr>
          <a:xfrm>
            <a:off x="227013" y="6514798"/>
            <a:ext cx="384217" cy="151200"/>
          </a:xfrm>
          <a:prstGeom prst="rect">
            <a:avLst/>
          </a:prstGeom>
        </p:spPr>
        <p:txBody>
          <a:bodyPr lIns="0" tIns="0" rIns="0" bIns="0"/>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2EA1D04-CA53-4DE3-84A8-2B63E41036C9}" type="slidenum">
              <a:rPr lang="de-DE" smtClean="0"/>
              <a:pPr/>
              <a:t>36</a:t>
            </a:fld>
            <a:endParaRPr lang="de-DE"/>
          </a:p>
        </p:txBody>
      </p:sp>
      <p:sp>
        <p:nvSpPr>
          <p:cNvPr id="5" name="Title 4">
            <a:extLst>
              <a:ext uri="{FF2B5EF4-FFF2-40B4-BE49-F238E27FC236}">
                <a16:creationId xmlns:a16="http://schemas.microsoft.com/office/drawing/2014/main" id="{B42C5712-D01D-EDCB-AA97-6BA4FF08F92A}"/>
              </a:ext>
            </a:extLst>
          </p:cNvPr>
          <p:cNvSpPr>
            <a:spLocks noGrp="1"/>
          </p:cNvSpPr>
          <p:nvPr>
            <p:ph type="title"/>
          </p:nvPr>
        </p:nvSpPr>
        <p:spPr/>
        <p:txBody>
          <a:bodyPr/>
          <a:lstStyle/>
          <a:p>
            <a:r>
              <a:rPr lang="en-US" dirty="0"/>
              <a:t>Stabilize your Core Processes – Use Standards, Harmonize Data Exchange and Foster Transparency. Act Now!</a:t>
            </a:r>
          </a:p>
        </p:txBody>
      </p:sp>
      <p:pic>
        <p:nvPicPr>
          <p:cNvPr id="7" name="Picture 6" descr="A close-up of a group of gears&#10;&#10;AI-generated content may be incorrect.">
            <a:extLst>
              <a:ext uri="{FF2B5EF4-FFF2-40B4-BE49-F238E27FC236}">
                <a16:creationId xmlns:a16="http://schemas.microsoft.com/office/drawing/2014/main" id="{0DA145AA-24A1-904E-788F-90C248A794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7808" y="2182009"/>
            <a:ext cx="11736387" cy="2493982"/>
          </a:xfrm>
          <a:prstGeom prst="rect">
            <a:avLst/>
          </a:prstGeom>
        </p:spPr>
      </p:pic>
    </p:spTree>
    <p:extLst>
      <p:ext uri="{BB962C8B-B14F-4D97-AF65-F5344CB8AC3E}">
        <p14:creationId xmlns:p14="http://schemas.microsoft.com/office/powerpoint/2010/main" val="4430926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F7EF8-9812-4894-7BCA-121BEF8486E3}"/>
              </a:ext>
            </a:extLst>
          </p:cNvPr>
          <p:cNvSpPr>
            <a:spLocks noGrp="1"/>
          </p:cNvSpPr>
          <p:nvPr>
            <p:ph type="title"/>
          </p:nvPr>
        </p:nvSpPr>
        <p:spPr/>
        <p:txBody>
          <a:bodyPr/>
          <a:lstStyle/>
          <a:p>
            <a:r>
              <a:rPr lang="en-US"/>
              <a:t>Take Home Messages</a:t>
            </a:r>
          </a:p>
        </p:txBody>
      </p:sp>
      <p:sp>
        <p:nvSpPr>
          <p:cNvPr id="3" name="SmartArt Placeholder 2">
            <a:extLst>
              <a:ext uri="{FF2B5EF4-FFF2-40B4-BE49-F238E27FC236}">
                <a16:creationId xmlns:a16="http://schemas.microsoft.com/office/drawing/2014/main" id="{838B520A-B4FD-AD31-3827-4E9C8B77F653}"/>
              </a:ext>
            </a:extLst>
          </p:cNvPr>
          <p:cNvSpPr>
            <a:spLocks noGrp="1"/>
          </p:cNvSpPr>
          <p:nvPr>
            <p:ph type="dgm" idx="1"/>
          </p:nvPr>
        </p:nvSpPr>
        <p:spPr/>
        <p:txBody>
          <a:bodyPr/>
          <a:lstStyle/>
          <a:p>
            <a:pPr marL="341630" indent="-341630"/>
            <a:r>
              <a:rPr lang="en-US" dirty="0">
                <a:solidFill>
                  <a:schemeClr val="tx1">
                    <a:lumMod val="65000"/>
                    <a:lumOff val="35000"/>
                  </a:schemeClr>
                </a:solidFill>
              </a:rPr>
              <a:t>Horizontal DPPs are key</a:t>
            </a:r>
            <a:endParaRPr lang="de-DE" dirty="0"/>
          </a:p>
          <a:p>
            <a:pPr marL="622300" lvl="1" indent="-266065"/>
            <a:r>
              <a:rPr lang="en-US" dirty="0">
                <a:solidFill>
                  <a:schemeClr val="tx1">
                    <a:lumMod val="65000"/>
                    <a:lumOff val="35000"/>
                  </a:schemeClr>
                </a:solidFill>
              </a:rPr>
              <a:t>Standards for technical implementation</a:t>
            </a:r>
          </a:p>
          <a:p>
            <a:pPr marL="622300" lvl="1" indent="-266065"/>
            <a:r>
              <a:rPr lang="en-US" dirty="0">
                <a:solidFill>
                  <a:schemeClr val="tx1">
                    <a:lumMod val="65000"/>
                    <a:lumOff val="35000"/>
                  </a:schemeClr>
                </a:solidFill>
              </a:rPr>
              <a:t>Standards for Interoperability (”what” &amp; “how”)</a:t>
            </a:r>
          </a:p>
          <a:p>
            <a:pPr marL="622300" lvl="1" indent="-266065">
              <a:buClr>
                <a:srgbClr val="C50022"/>
              </a:buClr>
              <a:defRPr/>
            </a:pPr>
            <a:r>
              <a:rPr lang="en-US" dirty="0">
                <a:solidFill>
                  <a:schemeClr val="tx1">
                    <a:lumMod val="65000"/>
                    <a:lumOff val="35000"/>
                  </a:schemeClr>
                </a:solidFill>
                <a:latin typeface="Arial"/>
                <a:cs typeface="Arial"/>
              </a:rPr>
              <a:t>Standards for assessment algorithms (e.g. PCF)</a:t>
            </a:r>
          </a:p>
          <a:p>
            <a:pPr marL="341630" marR="0" lvl="0" indent="-341630" algn="l" defTabSz="914400" rtl="0" eaLnBrk="1" fontAlgn="auto" latinLnBrk="0" hangingPunct="1">
              <a:lnSpc>
                <a:spcPct val="95000"/>
              </a:lnSpc>
              <a:spcBef>
                <a:spcPts val="1800"/>
              </a:spcBef>
              <a:spcAft>
                <a:spcPts val="0"/>
              </a:spcAft>
              <a:buClr>
                <a:srgbClr val="C50022"/>
              </a:buClr>
              <a:buSzPct val="100000"/>
              <a:buFont typeface="Wingdings" panose="05000000000000000000" pitchFamily="2" charset="2"/>
              <a:buChar char=""/>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Arial" panose="020B0604020202020204" pitchFamily="34" charset="0"/>
                <a:cs typeface="Arial"/>
              </a:rPr>
              <a:t>Data Sovereignty is key</a:t>
            </a:r>
            <a:endParaRPr lang="en-US" sz="2000" b="0" i="0" u="none" strike="noStrike" kern="1200" cap="none" spc="0" normalizeH="0" baseline="0" noProof="0" dirty="0">
              <a:ln>
                <a:noFill/>
              </a:ln>
              <a:solidFill>
                <a:srgbClr val="000000">
                  <a:lumMod val="65000"/>
                  <a:lumOff val="35000"/>
                </a:srgbClr>
              </a:solidFill>
              <a:effectLst/>
              <a:uLnTx/>
              <a:uFillTx/>
              <a:cs typeface="Arial"/>
            </a:endParaRPr>
          </a:p>
          <a:p>
            <a:pPr marL="622300" lvl="1" indent="-266065"/>
            <a:r>
              <a:rPr lang="en-US" dirty="0">
                <a:solidFill>
                  <a:schemeClr val="tx1">
                    <a:lumMod val="65000"/>
                    <a:lumOff val="35000"/>
                  </a:schemeClr>
                </a:solidFill>
              </a:rPr>
              <a:t>Decentralized DPP Data Storage</a:t>
            </a:r>
            <a:endParaRPr lang="en-US" dirty="0">
              <a:solidFill>
                <a:srgbClr val="000000">
                  <a:lumMod val="65000"/>
                  <a:lumOff val="35000"/>
                </a:srgbClr>
              </a:solidFill>
              <a:cs typeface="Arial"/>
            </a:endParaRPr>
          </a:p>
          <a:p>
            <a:pPr marL="341630" indent="-341630">
              <a:buClr>
                <a:srgbClr val="C50022"/>
              </a:buClr>
              <a:defRPr/>
            </a:pPr>
            <a:r>
              <a:rPr lang="en-US" dirty="0">
                <a:solidFill>
                  <a:schemeClr val="tx1">
                    <a:lumMod val="65000"/>
                    <a:lumOff val="35000"/>
                  </a:schemeClr>
                </a:solidFill>
                <a:latin typeface="Arial"/>
                <a:cs typeface="Arial"/>
              </a:rPr>
              <a:t>Chem-X addresses these key requirements</a:t>
            </a:r>
          </a:p>
          <a:p>
            <a:pPr marL="622300" lvl="1" indent="-266065"/>
            <a:r>
              <a:rPr lang="en-US" dirty="0">
                <a:solidFill>
                  <a:schemeClr val="tx1">
                    <a:lumMod val="65000"/>
                    <a:lumOff val="35000"/>
                  </a:schemeClr>
                </a:solidFill>
                <a:cs typeface="Arial"/>
              </a:rPr>
              <a:t>Launch &amp; Press Release in January 2025</a:t>
            </a:r>
            <a:endParaRPr lang="en-US" dirty="0">
              <a:solidFill>
                <a:srgbClr val="000000">
                  <a:lumMod val="65000"/>
                  <a:lumOff val="35000"/>
                </a:srgbClr>
              </a:solidFill>
              <a:cs typeface="Arial"/>
            </a:endParaRPr>
          </a:p>
          <a:p>
            <a:pPr marL="0" marR="0" lvl="0" indent="0" algn="l" defTabSz="914400" rtl="0" eaLnBrk="1" fontAlgn="auto" latinLnBrk="0" hangingPunct="1">
              <a:lnSpc>
                <a:spcPct val="95000"/>
              </a:lnSpc>
              <a:spcBef>
                <a:spcPts val="1800"/>
              </a:spcBef>
              <a:spcAft>
                <a:spcPts val="0"/>
              </a:spcAft>
              <a:buClr>
                <a:srgbClr val="C50022"/>
              </a:buClr>
              <a:buSzPct val="100000"/>
              <a:buNone/>
              <a:tabLst/>
              <a:defRPr/>
            </a:pPr>
            <a:endParaRPr kumimoji="0" lang="en-US" sz="2000" b="0" i="0" u="none" strike="noStrike" kern="1200" cap="none" spc="0" normalizeH="0" baseline="0" noProof="0" dirty="0">
              <a:ln>
                <a:noFill/>
              </a:ln>
              <a:solidFill>
                <a:srgbClr val="000000">
                  <a:lumMod val="65000"/>
                  <a:lumOff val="35000"/>
                </a:srgbClr>
              </a:solidFill>
              <a:effectLst/>
              <a:uLnTx/>
              <a:uFillTx/>
              <a:latin typeface="Arial" panose="020B0604020202020204" pitchFamily="34" charset="0"/>
              <a:cs typeface="Arial"/>
            </a:endParaRPr>
          </a:p>
          <a:p>
            <a:pPr marL="356235" lvl="1" indent="0">
              <a:buNone/>
            </a:pPr>
            <a:endParaRPr lang="en-US" dirty="0">
              <a:solidFill>
                <a:schemeClr val="tx1">
                  <a:lumMod val="65000"/>
                  <a:lumOff val="35000"/>
                </a:schemeClr>
              </a:solidFill>
            </a:endParaRPr>
          </a:p>
          <a:p>
            <a:pPr marL="622300" lvl="1" indent="-266065"/>
            <a:endParaRPr lang="en-US" dirty="0">
              <a:solidFill>
                <a:schemeClr val="tx1">
                  <a:lumMod val="65000"/>
                  <a:lumOff val="35000"/>
                </a:schemeClr>
              </a:solidFill>
            </a:endParaRPr>
          </a:p>
        </p:txBody>
      </p:sp>
      <p:sp>
        <p:nvSpPr>
          <p:cNvPr id="4" name="Date Placeholder 3">
            <a:extLst>
              <a:ext uri="{FF2B5EF4-FFF2-40B4-BE49-F238E27FC236}">
                <a16:creationId xmlns:a16="http://schemas.microsoft.com/office/drawing/2014/main" id="{266D2C71-F66E-55A8-5FA4-C739367B33A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F458B07D-B1E9-499A-953F-B5C3869B847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5" name="Slide Number Placeholder 4">
            <a:extLst>
              <a:ext uri="{FF2B5EF4-FFF2-40B4-BE49-F238E27FC236}">
                <a16:creationId xmlns:a16="http://schemas.microsoft.com/office/drawing/2014/main" id="{E9566684-B7F3-E31A-933E-7A95FA82909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37</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3387087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A1D6C4-434A-B265-FCAB-CC767F383B64}"/>
              </a:ext>
            </a:extLst>
          </p:cNvPr>
          <p:cNvSpPr>
            <a:spLocks noGrp="1"/>
          </p:cNvSpPr>
          <p:nvPr>
            <p:ph type="title"/>
          </p:nvPr>
        </p:nvSpPr>
        <p:spPr/>
        <p:txBody>
          <a:bodyPr/>
          <a:lstStyle/>
          <a:p>
            <a:r>
              <a:rPr lang="en-US"/>
              <a:t>References in the Sequence of Appearance</a:t>
            </a:r>
          </a:p>
        </p:txBody>
      </p:sp>
      <p:sp>
        <p:nvSpPr>
          <p:cNvPr id="7" name="Text Placeholder 6">
            <a:extLst>
              <a:ext uri="{FF2B5EF4-FFF2-40B4-BE49-F238E27FC236}">
                <a16:creationId xmlns:a16="http://schemas.microsoft.com/office/drawing/2014/main" id="{C429985F-0F43-5250-F0A0-7BD20345322E}"/>
              </a:ext>
            </a:extLst>
          </p:cNvPr>
          <p:cNvSpPr>
            <a:spLocks noGrp="1"/>
          </p:cNvSpPr>
          <p:nvPr>
            <p:ph type="body" idx="1"/>
          </p:nvPr>
        </p:nvSpPr>
        <p:spPr/>
        <p:txBody>
          <a:bodyPr vert="horz" lIns="0" tIns="0" rIns="0" bIns="0" rtlCol="0" anchor="t">
            <a:noAutofit/>
          </a:bodyPr>
          <a:lstStyle/>
          <a:p>
            <a:pPr marL="341630" indent="-341630">
              <a:spcBef>
                <a:spcPts val="300"/>
              </a:spcBef>
            </a:pPr>
            <a:r>
              <a:rPr lang="en-US" sz="950" dirty="0">
                <a:solidFill>
                  <a:schemeClr val="tx1">
                    <a:lumMod val="65000"/>
                    <a:lumOff val="35000"/>
                  </a:schemeClr>
                </a:solidFill>
                <a:latin typeface="+mj-lt"/>
                <a:cs typeface="Calibri"/>
                <a:sym typeface="Calibri" panose="020F0502020204030204" pitchFamily="34" charset="0"/>
              </a:rPr>
              <a:t>EU Green Deal – EU’s Man on the Moon Moment - </a:t>
            </a:r>
            <a:r>
              <a:rPr lang="en-US" sz="950" dirty="0">
                <a:solidFill>
                  <a:schemeClr val="tx1">
                    <a:lumMod val="65000"/>
                    <a:lumOff val="35000"/>
                  </a:schemeClr>
                </a:solidFill>
                <a:latin typeface="+mj-lt"/>
                <a:cs typeface="Calibri"/>
                <a:sym typeface="Calibri" panose="020F0502020204030204" pitchFamily="34" charset="0"/>
                <a:hlinkClick r:id="rId2">
                  <a:extLst>
                    <a:ext uri="{A12FA001-AC4F-418D-AE19-62706E023703}">
                      <ahyp:hlinkClr xmlns:ahyp="http://schemas.microsoft.com/office/drawing/2018/hyperlinkcolor" val="tx"/>
                    </a:ext>
                  </a:extLst>
                </a:hlinkClick>
              </a:rPr>
              <a:t>https://youtu.be/F2Z7rio5sow?si=ZK8jhl6a6SvvM-Rx</a:t>
            </a:r>
            <a:endParaRPr lang="en-US" sz="950" dirty="0">
              <a:solidFill>
                <a:schemeClr val="tx1">
                  <a:lumMod val="65000"/>
                  <a:lumOff val="35000"/>
                </a:schemeClr>
              </a:solidFill>
              <a:latin typeface="+mj-lt"/>
              <a:cs typeface="Calibri"/>
            </a:endParaRPr>
          </a:p>
          <a:p>
            <a:pPr marL="341630" indent="-341630">
              <a:spcBef>
                <a:spcPts val="300"/>
              </a:spcBef>
            </a:pPr>
            <a:r>
              <a:rPr lang="en-US" sz="950" dirty="0">
                <a:solidFill>
                  <a:schemeClr val="tx1">
                    <a:lumMod val="65000"/>
                    <a:lumOff val="35000"/>
                  </a:schemeClr>
                </a:solidFill>
                <a:latin typeface="+mj-lt"/>
              </a:rPr>
              <a:t>EU Green Deal </a:t>
            </a:r>
            <a:r>
              <a:rPr lang="en-US" sz="950" dirty="0">
                <a:solidFill>
                  <a:schemeClr val="tx1">
                    <a:lumMod val="65000"/>
                    <a:lumOff val="35000"/>
                  </a:schemeClr>
                </a:solidFill>
                <a:latin typeface="+mj-lt"/>
                <a:cs typeface="Calibri"/>
                <a:sym typeface="Calibri" panose="020F0502020204030204" pitchFamily="34" charset="0"/>
              </a:rPr>
              <a:t>–</a:t>
            </a:r>
            <a:r>
              <a:rPr lang="en-US" sz="950" dirty="0">
                <a:solidFill>
                  <a:schemeClr val="tx1">
                    <a:lumMod val="65000"/>
                    <a:lumOff val="35000"/>
                  </a:schemeClr>
                </a:solidFill>
                <a:latin typeface="+mj-lt"/>
              </a:rPr>
              <a:t> </a:t>
            </a:r>
            <a:r>
              <a:rPr lang="en-US" sz="950" dirty="0">
                <a:solidFill>
                  <a:schemeClr val="tx1">
                    <a:lumMod val="65000"/>
                    <a:lumOff val="35000"/>
                  </a:schemeClr>
                </a:solidFill>
                <a:latin typeface="+mj-lt"/>
                <a:cs typeface="Calibri"/>
                <a:hlinkClick r:id="rId3">
                  <a:extLst>
                    <a:ext uri="{A12FA001-AC4F-418D-AE19-62706E023703}">
                      <ahyp:hlinkClr xmlns:ahyp="http://schemas.microsoft.com/office/drawing/2018/hyperlinkcolor" val="tx"/>
                    </a:ext>
                  </a:extLst>
                </a:hlinkClick>
              </a:rPr>
              <a:t>https://eur-lex.europa.eu/legal-content/EN/TXT/?uri=CELEX:52019DC0640</a:t>
            </a:r>
            <a:endParaRPr lang="en-US" sz="950" dirty="0">
              <a:solidFill>
                <a:schemeClr val="tx1">
                  <a:lumMod val="65000"/>
                  <a:lumOff val="35000"/>
                </a:schemeClr>
              </a:solidFill>
              <a:latin typeface="+mj-lt"/>
              <a:cs typeface="Calibri"/>
            </a:endParaRPr>
          </a:p>
          <a:p>
            <a:pPr marL="341630" indent="-341630">
              <a:spcBef>
                <a:spcPts val="300"/>
              </a:spcBef>
            </a:pPr>
            <a:r>
              <a:rPr lang="en-US" sz="950" dirty="0">
                <a:solidFill>
                  <a:schemeClr val="tx1">
                    <a:lumMod val="65000"/>
                    <a:lumOff val="35000"/>
                  </a:schemeClr>
                </a:solidFill>
                <a:latin typeface="+mj-lt"/>
              </a:rPr>
              <a:t>EU Green Deal overview –</a:t>
            </a:r>
            <a:r>
              <a:rPr lang="en-US" sz="950" dirty="0">
                <a:solidFill>
                  <a:schemeClr val="tx1">
                    <a:lumMod val="65000"/>
                    <a:lumOff val="35000"/>
                  </a:schemeClr>
                </a:solidFill>
                <a:latin typeface="+mj-lt"/>
                <a:cs typeface="Calibri"/>
              </a:rPr>
              <a:t> </a:t>
            </a:r>
            <a:r>
              <a:rPr lang="en-US" sz="950" dirty="0">
                <a:solidFill>
                  <a:schemeClr val="tx1">
                    <a:lumMod val="65000"/>
                    <a:lumOff val="35000"/>
                  </a:schemeClr>
                </a:solidFill>
                <a:latin typeface="+mj-lt"/>
                <a:cs typeface="Calibri"/>
                <a:hlinkClick r:id="rId4">
                  <a:extLst>
                    <a:ext uri="{A12FA001-AC4F-418D-AE19-62706E023703}">
                      <ahyp:hlinkClr xmlns:ahyp="http://schemas.microsoft.com/office/drawing/2018/hyperlinkcolor" val="tx"/>
                    </a:ext>
                  </a:extLst>
                </a:hlinkClick>
              </a:rPr>
              <a:t>https://www.circulaw.nl/European_green_deal.pdf</a:t>
            </a:r>
            <a:r>
              <a:rPr lang="en-US" sz="950" dirty="0">
                <a:solidFill>
                  <a:schemeClr val="tx1">
                    <a:lumMod val="65000"/>
                    <a:lumOff val="35000"/>
                  </a:schemeClr>
                </a:solidFill>
                <a:latin typeface="+mj-lt"/>
                <a:cs typeface="Calibri"/>
              </a:rPr>
              <a:t> </a:t>
            </a:r>
          </a:p>
          <a:p>
            <a:pPr marL="341630" indent="-341630">
              <a:spcBef>
                <a:spcPts val="300"/>
              </a:spcBef>
            </a:pPr>
            <a:r>
              <a:rPr lang="en-US" sz="950" dirty="0">
                <a:solidFill>
                  <a:schemeClr val="tx1">
                    <a:lumMod val="65000"/>
                    <a:lumOff val="35000"/>
                  </a:schemeClr>
                </a:solidFill>
                <a:latin typeface="+mj-lt"/>
                <a:cs typeface="Calibri"/>
              </a:rPr>
              <a:t>Batteries and waste batteries regulation, (EU) 2023/1524 </a:t>
            </a:r>
            <a:r>
              <a:rPr lang="en-US" sz="950" dirty="0">
                <a:solidFill>
                  <a:schemeClr val="tx1">
                    <a:lumMod val="65000"/>
                    <a:lumOff val="35000"/>
                  </a:schemeClr>
                </a:solidFill>
                <a:latin typeface="+mj-lt"/>
                <a:cs typeface="Calibri"/>
                <a:sym typeface="Calibri" panose="020F0502020204030204" pitchFamily="34" charset="0"/>
              </a:rPr>
              <a:t>–</a:t>
            </a:r>
            <a:r>
              <a:rPr lang="en-US" sz="950" dirty="0">
                <a:solidFill>
                  <a:schemeClr val="tx1">
                    <a:lumMod val="65000"/>
                    <a:lumOff val="35000"/>
                  </a:schemeClr>
                </a:solidFill>
                <a:latin typeface="+mj-lt"/>
                <a:cs typeface="Calibri"/>
              </a:rPr>
              <a:t> </a:t>
            </a:r>
            <a:r>
              <a:rPr lang="en-US" sz="950" dirty="0">
                <a:solidFill>
                  <a:schemeClr val="tx1">
                    <a:lumMod val="65000"/>
                    <a:lumOff val="35000"/>
                  </a:schemeClr>
                </a:solidFill>
                <a:latin typeface="+mj-lt"/>
                <a:cs typeface="Calibri"/>
                <a:hlinkClick r:id="rId5">
                  <a:extLst>
                    <a:ext uri="{A12FA001-AC4F-418D-AE19-62706E023703}">
                      <ahyp:hlinkClr xmlns:ahyp="http://schemas.microsoft.com/office/drawing/2018/hyperlinkcolor" val="tx"/>
                    </a:ext>
                  </a:extLst>
                </a:hlinkClick>
              </a:rPr>
              <a:t>https://eur-lex.europa.eu/eli/reg/2023/1542/oj</a:t>
            </a:r>
            <a:endParaRPr lang="en-US" sz="950" dirty="0">
              <a:solidFill>
                <a:schemeClr val="tx1">
                  <a:lumMod val="65000"/>
                  <a:lumOff val="35000"/>
                </a:schemeClr>
              </a:solidFill>
              <a:latin typeface="+mj-lt"/>
              <a:cs typeface="Calibri"/>
            </a:endParaRPr>
          </a:p>
          <a:p>
            <a:pPr marL="341630" indent="-341630">
              <a:spcBef>
                <a:spcPts val="300"/>
              </a:spcBef>
            </a:pPr>
            <a:r>
              <a:rPr lang="en-US" sz="950" dirty="0">
                <a:solidFill>
                  <a:schemeClr val="tx1">
                    <a:lumMod val="65000"/>
                    <a:lumOff val="35000"/>
                  </a:schemeClr>
                </a:solidFill>
                <a:latin typeface="+mj-lt"/>
                <a:cs typeface="Calibri"/>
              </a:rPr>
              <a:t>Ecodesign for Sustainable Product Regulation (ESPR), (EU) 2024/1781 </a:t>
            </a:r>
            <a:r>
              <a:rPr lang="en-US" sz="950" dirty="0">
                <a:solidFill>
                  <a:schemeClr val="tx1">
                    <a:lumMod val="65000"/>
                    <a:lumOff val="35000"/>
                  </a:schemeClr>
                </a:solidFill>
                <a:latin typeface="+mj-lt"/>
                <a:cs typeface="Calibri"/>
                <a:sym typeface="Calibri" panose="020F0502020204030204" pitchFamily="34" charset="0"/>
              </a:rPr>
              <a:t>–</a:t>
            </a:r>
            <a:r>
              <a:rPr lang="en-US" sz="950" dirty="0">
                <a:solidFill>
                  <a:schemeClr val="tx1">
                    <a:lumMod val="65000"/>
                    <a:lumOff val="35000"/>
                  </a:schemeClr>
                </a:solidFill>
                <a:latin typeface="+mj-lt"/>
                <a:cs typeface="Calibri"/>
              </a:rPr>
              <a:t> </a:t>
            </a:r>
            <a:r>
              <a:rPr lang="en-US" sz="950" dirty="0">
                <a:solidFill>
                  <a:schemeClr val="tx1">
                    <a:lumMod val="65000"/>
                    <a:lumOff val="35000"/>
                  </a:schemeClr>
                </a:solidFill>
                <a:latin typeface="+mj-lt"/>
                <a:cs typeface="Calibri"/>
                <a:hlinkClick r:id="rId6">
                  <a:extLst>
                    <a:ext uri="{A12FA001-AC4F-418D-AE19-62706E023703}">
                      <ahyp:hlinkClr xmlns:ahyp="http://schemas.microsoft.com/office/drawing/2018/hyperlinkcolor" val="tx"/>
                    </a:ext>
                  </a:extLst>
                </a:hlinkClick>
              </a:rPr>
              <a:t>https://eur-lex.europa.eu/legal-content/EN/TXT/?uri=CELEX:32024R1781</a:t>
            </a:r>
            <a:r>
              <a:rPr lang="en-US" sz="950" dirty="0">
                <a:solidFill>
                  <a:schemeClr val="tx1">
                    <a:lumMod val="65000"/>
                    <a:lumOff val="35000"/>
                  </a:schemeClr>
                </a:solidFill>
                <a:latin typeface="+mj-lt"/>
                <a:cs typeface="Calibri"/>
              </a:rPr>
              <a:t> </a:t>
            </a:r>
          </a:p>
          <a:p>
            <a:pPr marL="341630" indent="-341630">
              <a:spcBef>
                <a:spcPts val="300"/>
              </a:spcBef>
            </a:pPr>
            <a:r>
              <a:rPr lang="en-US" sz="950" dirty="0">
                <a:solidFill>
                  <a:schemeClr val="tx1">
                    <a:lumMod val="65000"/>
                    <a:lumOff val="35000"/>
                  </a:schemeClr>
                </a:solidFill>
                <a:latin typeface="+mj-lt"/>
                <a:cs typeface="Calibri"/>
              </a:rPr>
              <a:t>Proposal for Construction Product Regulation (CPR), 2022/0094(COD) </a:t>
            </a:r>
            <a:r>
              <a:rPr lang="en-US" sz="950" dirty="0">
                <a:solidFill>
                  <a:schemeClr val="tx1">
                    <a:lumMod val="65000"/>
                    <a:lumOff val="35000"/>
                  </a:schemeClr>
                </a:solidFill>
                <a:latin typeface="+mj-lt"/>
                <a:cs typeface="Calibri"/>
                <a:sym typeface="Calibri" panose="020F0502020204030204" pitchFamily="34" charset="0"/>
              </a:rPr>
              <a:t>–</a:t>
            </a:r>
            <a:r>
              <a:rPr lang="en-US" sz="950" dirty="0">
                <a:solidFill>
                  <a:schemeClr val="tx1">
                    <a:lumMod val="65000"/>
                    <a:lumOff val="35000"/>
                  </a:schemeClr>
                </a:solidFill>
                <a:latin typeface="+mj-lt"/>
                <a:cs typeface="Calibri"/>
              </a:rPr>
              <a:t> </a:t>
            </a:r>
            <a:r>
              <a:rPr lang="en-US" sz="950" dirty="0">
                <a:solidFill>
                  <a:schemeClr val="tx1">
                    <a:lumMod val="65000"/>
                    <a:lumOff val="35000"/>
                  </a:schemeClr>
                </a:solidFill>
                <a:latin typeface="+mj-lt"/>
                <a:cs typeface="Calibri"/>
                <a:hlinkClick r:id="rId7">
                  <a:extLst>
                    <a:ext uri="{A12FA001-AC4F-418D-AE19-62706E023703}">
                      <ahyp:hlinkClr xmlns:ahyp="http://schemas.microsoft.com/office/drawing/2018/hyperlinkcolor" val="tx"/>
                    </a:ext>
                  </a:extLst>
                </a:hlinkClick>
              </a:rPr>
              <a:t>https://eur-lex.europa.eu/legal-content/EN/TXT/?uri=celex:52022PC0144</a:t>
            </a:r>
            <a:r>
              <a:rPr lang="en-US" sz="950" dirty="0">
                <a:solidFill>
                  <a:schemeClr val="tx1">
                    <a:lumMod val="65000"/>
                    <a:lumOff val="35000"/>
                  </a:schemeClr>
                </a:solidFill>
                <a:latin typeface="+mj-lt"/>
                <a:cs typeface="Calibri"/>
              </a:rPr>
              <a:t> </a:t>
            </a:r>
          </a:p>
          <a:p>
            <a:pPr marL="341630" indent="-341630">
              <a:spcBef>
                <a:spcPts val="300"/>
              </a:spcBef>
            </a:pPr>
            <a:r>
              <a:rPr lang="en-US" sz="950" dirty="0">
                <a:solidFill>
                  <a:schemeClr val="tx1">
                    <a:lumMod val="65000"/>
                    <a:lumOff val="35000"/>
                  </a:schemeClr>
                </a:solidFill>
                <a:latin typeface="+mj-lt"/>
                <a:cs typeface="Calibri"/>
              </a:rPr>
              <a:t>Proposal for Detergents and Surfactants Regulation, 2023/0124(COD) </a:t>
            </a:r>
            <a:r>
              <a:rPr lang="en-US" sz="950" dirty="0">
                <a:solidFill>
                  <a:schemeClr val="tx1">
                    <a:lumMod val="65000"/>
                    <a:lumOff val="35000"/>
                  </a:schemeClr>
                </a:solidFill>
                <a:latin typeface="+mj-lt"/>
                <a:cs typeface="Calibri"/>
                <a:sym typeface="Calibri" panose="020F0502020204030204" pitchFamily="34" charset="0"/>
              </a:rPr>
              <a:t>–</a:t>
            </a:r>
            <a:r>
              <a:rPr lang="en-US" sz="950" dirty="0">
                <a:solidFill>
                  <a:schemeClr val="tx1">
                    <a:lumMod val="65000"/>
                    <a:lumOff val="35000"/>
                  </a:schemeClr>
                </a:solidFill>
                <a:latin typeface="+mj-lt"/>
                <a:cs typeface="Calibri"/>
              </a:rPr>
              <a:t> </a:t>
            </a:r>
            <a:r>
              <a:rPr lang="en-US" sz="950" dirty="0">
                <a:solidFill>
                  <a:schemeClr val="tx1">
                    <a:lumMod val="65000"/>
                    <a:lumOff val="35000"/>
                  </a:schemeClr>
                </a:solidFill>
                <a:latin typeface="+mj-lt"/>
                <a:cs typeface="Calibri"/>
                <a:hlinkClick r:id="rId8">
                  <a:extLst>
                    <a:ext uri="{A12FA001-AC4F-418D-AE19-62706E023703}">
                      <ahyp:hlinkClr xmlns:ahyp="http://schemas.microsoft.com/office/drawing/2018/hyperlinkcolor" val="tx"/>
                    </a:ext>
                  </a:extLst>
                </a:hlinkClick>
              </a:rPr>
              <a:t>https://eur-lex.europa.eu/legal-content/en/TXT/?uri=COM:2023:217:FIN</a:t>
            </a:r>
            <a:r>
              <a:rPr lang="en-US" sz="950" dirty="0">
                <a:solidFill>
                  <a:schemeClr val="tx1">
                    <a:lumMod val="65000"/>
                    <a:lumOff val="35000"/>
                  </a:schemeClr>
                </a:solidFill>
                <a:latin typeface="+mj-lt"/>
                <a:cs typeface="Calibri"/>
              </a:rPr>
              <a:t> </a:t>
            </a:r>
          </a:p>
          <a:p>
            <a:pPr marL="341630" indent="-341630">
              <a:spcBef>
                <a:spcPts val="300"/>
              </a:spcBef>
            </a:pPr>
            <a:r>
              <a:rPr lang="en-US" sz="950" dirty="0">
                <a:solidFill>
                  <a:schemeClr val="tx1">
                    <a:lumMod val="65000"/>
                    <a:lumOff val="35000"/>
                  </a:schemeClr>
                </a:solidFill>
                <a:latin typeface="+mj-lt"/>
                <a:cs typeface="Calibri"/>
              </a:rPr>
              <a:t>Proposal for Toys Safety Regulation, 2023/0290(COD) </a:t>
            </a:r>
            <a:r>
              <a:rPr lang="en-US" sz="950" dirty="0">
                <a:solidFill>
                  <a:schemeClr val="tx1">
                    <a:lumMod val="65000"/>
                    <a:lumOff val="35000"/>
                  </a:schemeClr>
                </a:solidFill>
                <a:latin typeface="+mj-lt"/>
                <a:cs typeface="Calibri"/>
                <a:sym typeface="Calibri" panose="020F0502020204030204" pitchFamily="34" charset="0"/>
              </a:rPr>
              <a:t>–</a:t>
            </a:r>
            <a:r>
              <a:rPr lang="en-US" sz="950" dirty="0">
                <a:solidFill>
                  <a:schemeClr val="tx1">
                    <a:lumMod val="65000"/>
                    <a:lumOff val="35000"/>
                  </a:schemeClr>
                </a:solidFill>
                <a:latin typeface="+mj-lt"/>
                <a:cs typeface="Calibri"/>
              </a:rPr>
              <a:t> </a:t>
            </a:r>
            <a:r>
              <a:rPr lang="en-US" sz="950" dirty="0">
                <a:solidFill>
                  <a:schemeClr val="tx1">
                    <a:lumMod val="65000"/>
                    <a:lumOff val="35000"/>
                  </a:schemeClr>
                </a:solidFill>
                <a:latin typeface="+mj-lt"/>
                <a:cs typeface="Calibri"/>
                <a:hlinkClick r:id="rId9">
                  <a:extLst>
                    <a:ext uri="{A12FA001-AC4F-418D-AE19-62706E023703}">
                      <ahyp:hlinkClr xmlns:ahyp="http://schemas.microsoft.com/office/drawing/2018/hyperlinkcolor" val="tx"/>
                    </a:ext>
                  </a:extLst>
                </a:hlinkClick>
              </a:rPr>
              <a:t>https://eur-lex.europa.eu/legal-content/EN/TXT/?uri=celex:52023PC0462</a:t>
            </a:r>
            <a:r>
              <a:rPr lang="en-US" sz="950" dirty="0">
                <a:solidFill>
                  <a:schemeClr val="tx1">
                    <a:lumMod val="65000"/>
                    <a:lumOff val="35000"/>
                  </a:schemeClr>
                </a:solidFill>
                <a:latin typeface="+mj-lt"/>
                <a:cs typeface="Calibri"/>
              </a:rPr>
              <a:t> </a:t>
            </a:r>
          </a:p>
          <a:p>
            <a:pPr marL="341630" indent="-341630">
              <a:spcBef>
                <a:spcPts val="300"/>
              </a:spcBef>
            </a:pPr>
            <a:r>
              <a:rPr lang="en-US" sz="950" dirty="0">
                <a:solidFill>
                  <a:schemeClr val="tx1">
                    <a:lumMod val="65000"/>
                    <a:lumOff val="35000"/>
                  </a:schemeClr>
                </a:solidFill>
                <a:latin typeface="+mj-lt"/>
                <a:cs typeface="Calibri"/>
                <a:sym typeface="Calibri" panose="020F0502020204030204" pitchFamily="34" charset="0"/>
              </a:rPr>
              <a:t>EU Green Deal Legislative Train Schedule – </a:t>
            </a:r>
            <a:r>
              <a:rPr lang="en-US" sz="950" dirty="0">
                <a:solidFill>
                  <a:schemeClr val="tx1">
                    <a:lumMod val="65000"/>
                    <a:lumOff val="35000"/>
                  </a:schemeClr>
                </a:solidFill>
                <a:latin typeface="+mj-lt"/>
                <a:cs typeface="Calibri"/>
                <a:sym typeface="Calibri" panose="020F0502020204030204" pitchFamily="34" charset="0"/>
                <a:hlinkClick r:id="rId10">
                  <a:extLst>
                    <a:ext uri="{A12FA001-AC4F-418D-AE19-62706E023703}">
                      <ahyp:hlinkClr xmlns:ahyp="http://schemas.microsoft.com/office/drawing/2018/hyperlinkcolor" val="tx"/>
                    </a:ext>
                  </a:extLst>
                </a:hlinkClick>
              </a:rPr>
              <a:t>https://www.europarl.europa.eu/legislative-train/theme-a-european-green-deal</a:t>
            </a:r>
            <a:r>
              <a:rPr lang="en-US" sz="950" dirty="0">
                <a:solidFill>
                  <a:schemeClr val="tx1">
                    <a:lumMod val="65000"/>
                    <a:lumOff val="35000"/>
                  </a:schemeClr>
                </a:solidFill>
                <a:latin typeface="+mj-lt"/>
                <a:cs typeface="Calibri"/>
                <a:sym typeface="Calibri" panose="020F0502020204030204" pitchFamily="34" charset="0"/>
              </a:rPr>
              <a:t> </a:t>
            </a:r>
            <a:endParaRPr lang="en-US" sz="950" dirty="0">
              <a:solidFill>
                <a:schemeClr val="tx1">
                  <a:lumMod val="65000"/>
                  <a:lumOff val="35000"/>
                </a:schemeClr>
              </a:solidFill>
              <a:latin typeface="+mj-lt"/>
              <a:cs typeface="Calibri"/>
            </a:endParaRPr>
          </a:p>
          <a:p>
            <a:pPr marL="341630" indent="-341630">
              <a:spcBef>
                <a:spcPts val="300"/>
              </a:spcBef>
            </a:pPr>
            <a:r>
              <a:rPr lang="en-US" sz="950" dirty="0">
                <a:solidFill>
                  <a:schemeClr val="tx1">
                    <a:lumMod val="65000"/>
                    <a:lumOff val="35000"/>
                  </a:schemeClr>
                </a:solidFill>
                <a:latin typeface="+mj-lt"/>
              </a:rPr>
              <a:t>Make sustainable Products the norm </a:t>
            </a:r>
            <a:r>
              <a:rPr lang="en-US" sz="950" dirty="0">
                <a:solidFill>
                  <a:schemeClr val="tx1">
                    <a:lumMod val="65000"/>
                    <a:lumOff val="35000"/>
                  </a:schemeClr>
                </a:solidFill>
                <a:latin typeface="+mj-lt"/>
                <a:cs typeface="Calibri"/>
                <a:sym typeface="Calibri" panose="020F0502020204030204" pitchFamily="34" charset="0"/>
              </a:rPr>
              <a:t>–</a:t>
            </a:r>
            <a:r>
              <a:rPr lang="en-US" sz="950" dirty="0">
                <a:solidFill>
                  <a:schemeClr val="tx1">
                    <a:lumMod val="65000"/>
                    <a:lumOff val="35000"/>
                  </a:schemeClr>
                </a:solidFill>
                <a:latin typeface="+mj-lt"/>
                <a:cs typeface="Calibri"/>
              </a:rPr>
              <a:t> </a:t>
            </a:r>
            <a:r>
              <a:rPr lang="en-US" sz="950" dirty="0">
                <a:solidFill>
                  <a:schemeClr val="tx1">
                    <a:lumMod val="65000"/>
                    <a:lumOff val="35000"/>
                  </a:schemeClr>
                </a:solidFill>
                <a:latin typeface="+mj-lt"/>
                <a:cs typeface="Calibri"/>
                <a:hlinkClick r:id="rId11">
                  <a:extLst>
                    <a:ext uri="{A12FA001-AC4F-418D-AE19-62706E023703}">
                      <ahyp:hlinkClr xmlns:ahyp="http://schemas.microsoft.com/office/drawing/2018/hyperlinkcolor" val="tx"/>
                    </a:ext>
                  </a:extLst>
                </a:hlinkClick>
              </a:rPr>
              <a:t>https://eur-lex.europa.eu/legal-content/EN/TXT/?uri=CELEX:52022DC0140</a:t>
            </a:r>
            <a:r>
              <a:rPr lang="en-US" sz="950" dirty="0">
                <a:solidFill>
                  <a:schemeClr val="tx1">
                    <a:lumMod val="65000"/>
                    <a:lumOff val="35000"/>
                  </a:schemeClr>
                </a:solidFill>
                <a:latin typeface="+mj-lt"/>
                <a:cs typeface="Calibri"/>
              </a:rPr>
              <a:t>  </a:t>
            </a:r>
          </a:p>
          <a:p>
            <a:pPr marL="341630" indent="-341630">
              <a:spcBef>
                <a:spcPts val="300"/>
              </a:spcBef>
            </a:pPr>
            <a:r>
              <a:rPr lang="en-US" sz="950" dirty="0">
                <a:solidFill>
                  <a:schemeClr val="tx1">
                    <a:lumMod val="65000"/>
                    <a:lumOff val="35000"/>
                  </a:schemeClr>
                </a:solidFill>
                <a:latin typeface="+mj-lt"/>
              </a:rPr>
              <a:t>Ecodesign for Sustainable Product Regulation (ESPR) </a:t>
            </a:r>
            <a:r>
              <a:rPr lang="en-US" sz="950" dirty="0">
                <a:solidFill>
                  <a:schemeClr val="tx1">
                    <a:lumMod val="65000"/>
                    <a:lumOff val="35000"/>
                  </a:schemeClr>
                </a:solidFill>
                <a:latin typeface="+mj-lt"/>
                <a:cs typeface="Calibri"/>
                <a:sym typeface="Calibri" panose="020F0502020204030204" pitchFamily="34" charset="0"/>
              </a:rPr>
              <a:t>–</a:t>
            </a:r>
            <a:r>
              <a:rPr lang="en-US" sz="950" dirty="0">
                <a:solidFill>
                  <a:schemeClr val="tx1">
                    <a:lumMod val="65000"/>
                    <a:lumOff val="35000"/>
                  </a:schemeClr>
                </a:solidFill>
                <a:latin typeface="+mj-lt"/>
              </a:rPr>
              <a:t> </a:t>
            </a:r>
            <a:r>
              <a:rPr lang="en-US" sz="950" dirty="0">
                <a:solidFill>
                  <a:schemeClr val="tx1">
                    <a:lumMod val="65000"/>
                    <a:lumOff val="35000"/>
                  </a:schemeClr>
                </a:solidFill>
                <a:latin typeface="+mj-lt"/>
                <a:cs typeface="Calibri"/>
                <a:sym typeface="Calibri" panose="020F0502020204030204" pitchFamily="34" charset="0"/>
                <a:hlinkClick r:id="rId6">
                  <a:extLst>
                    <a:ext uri="{A12FA001-AC4F-418D-AE19-62706E023703}">
                      <ahyp:hlinkClr xmlns:ahyp="http://schemas.microsoft.com/office/drawing/2018/hyperlinkcolor" val="tx"/>
                    </a:ext>
                  </a:extLst>
                </a:hlinkClick>
              </a:rPr>
              <a:t>https://eur-lex.europa.eu/legal-content/EN/TXT/?uri=CELEX:32024R1781</a:t>
            </a:r>
            <a:endParaRPr lang="en-US" sz="950" dirty="0">
              <a:solidFill>
                <a:schemeClr val="tx1">
                  <a:lumMod val="65000"/>
                  <a:lumOff val="35000"/>
                </a:schemeClr>
              </a:solidFill>
              <a:latin typeface="+mj-lt"/>
              <a:cs typeface="Calibri"/>
            </a:endParaRPr>
          </a:p>
          <a:p>
            <a:pPr marL="341630" indent="-341630">
              <a:spcBef>
                <a:spcPts val="300"/>
              </a:spcBef>
            </a:pPr>
            <a:r>
              <a:rPr lang="en-US" sz="950" dirty="0">
                <a:solidFill>
                  <a:schemeClr val="tx1">
                    <a:lumMod val="65000"/>
                    <a:lumOff val="35000"/>
                  </a:schemeClr>
                </a:solidFill>
                <a:latin typeface="+mj-lt"/>
                <a:cs typeface="Calibri"/>
                <a:sym typeface="Calibri" panose="020F0502020204030204" pitchFamily="34" charset="0"/>
              </a:rPr>
              <a:t>JRC Preliminary Study on New Product Priorities (Draft) – </a:t>
            </a:r>
            <a:r>
              <a:rPr lang="en-US" sz="950" dirty="0">
                <a:solidFill>
                  <a:schemeClr val="tx1">
                    <a:lumMod val="65000"/>
                    <a:lumOff val="35000"/>
                  </a:schemeClr>
                </a:solidFill>
                <a:latin typeface="+mj-lt"/>
                <a:cs typeface="Calibri"/>
                <a:sym typeface="Calibri" panose="020F0502020204030204" pitchFamily="34" charset="0"/>
                <a:hlinkClick r:id="rId12">
                  <a:extLst>
                    <a:ext uri="{A12FA001-AC4F-418D-AE19-62706E023703}">
                      <ahyp:hlinkClr xmlns:ahyp="http://schemas.microsoft.com/office/drawing/2018/hyperlinkcolor" val="tx"/>
                    </a:ext>
                  </a:extLst>
                </a:hlinkClick>
              </a:rPr>
              <a:t>https://susproc.jrc.ec.europa.eu/product-bureau/sites/default/files/2023-01/Preliminary%20ESPR%20WP%20Report_MERGED_CLEAN_.pdf</a:t>
            </a:r>
            <a:r>
              <a:rPr lang="en-US" sz="950" dirty="0">
                <a:solidFill>
                  <a:schemeClr val="tx1">
                    <a:lumMod val="65000"/>
                    <a:lumOff val="35000"/>
                  </a:schemeClr>
                </a:solidFill>
                <a:latin typeface="+mj-lt"/>
                <a:cs typeface="Calibri"/>
                <a:sym typeface="Calibri" panose="020F0502020204030204" pitchFamily="34" charset="0"/>
              </a:rPr>
              <a:t> </a:t>
            </a:r>
          </a:p>
          <a:p>
            <a:pPr marL="341630" indent="-341630">
              <a:spcBef>
                <a:spcPts val="300"/>
              </a:spcBef>
            </a:pPr>
            <a:r>
              <a:rPr lang="en-US" sz="950" dirty="0">
                <a:solidFill>
                  <a:schemeClr val="tx1">
                    <a:lumMod val="65000"/>
                    <a:lumOff val="35000"/>
                  </a:schemeClr>
                </a:solidFill>
                <a:latin typeface="+mj-lt"/>
                <a:cs typeface="Calibri"/>
                <a:sym typeface="Calibri" panose="020F0502020204030204" pitchFamily="34" charset="0"/>
              </a:rPr>
              <a:t>JRC Preliminary Study on New Product Priorities - </a:t>
            </a:r>
            <a:r>
              <a:rPr lang="en-US" sz="950" dirty="0">
                <a:solidFill>
                  <a:schemeClr val="tx1">
                    <a:lumMod val="65000"/>
                    <a:lumOff val="35000"/>
                  </a:schemeClr>
                </a:solidFill>
                <a:latin typeface="+mj-lt"/>
                <a:cs typeface="Calibri"/>
                <a:sym typeface="Calibri" panose="020F0502020204030204" pitchFamily="34" charset="0"/>
                <a:hlinkClick r:id="rId13">
                  <a:extLst>
                    <a:ext uri="{A12FA001-AC4F-418D-AE19-62706E023703}">
                      <ahyp:hlinkClr xmlns:ahyp="http://schemas.microsoft.com/office/drawing/2018/hyperlinkcolor" val="tx"/>
                    </a:ext>
                  </a:extLst>
                </a:hlinkClick>
              </a:rPr>
              <a:t>https://publications.jrc.ec.europa.eu/repository/handle/JRC138903</a:t>
            </a:r>
            <a:r>
              <a:rPr lang="en-US" sz="950" dirty="0">
                <a:solidFill>
                  <a:schemeClr val="tx1">
                    <a:lumMod val="65000"/>
                    <a:lumOff val="35000"/>
                  </a:schemeClr>
                </a:solidFill>
                <a:latin typeface="+mj-lt"/>
                <a:cs typeface="Calibri"/>
                <a:sym typeface="Calibri" panose="020F0502020204030204" pitchFamily="34" charset="0"/>
              </a:rPr>
              <a:t>  </a:t>
            </a:r>
          </a:p>
          <a:p>
            <a:pPr marL="341630" indent="-341630">
              <a:spcBef>
                <a:spcPts val="300"/>
              </a:spcBef>
            </a:pPr>
            <a:r>
              <a:rPr lang="en-US" sz="950" dirty="0">
                <a:solidFill>
                  <a:schemeClr val="tx1">
                    <a:lumMod val="65000"/>
                    <a:lumOff val="35000"/>
                  </a:schemeClr>
                </a:solidFill>
                <a:latin typeface="+mj-lt"/>
                <a:cs typeface="Calibri"/>
                <a:sym typeface="Calibri" panose="020F0502020204030204" pitchFamily="34" charset="0"/>
              </a:rPr>
              <a:t>Critical Aspects of the DPP – </a:t>
            </a:r>
            <a:r>
              <a:rPr lang="en-US" sz="950" dirty="0">
                <a:solidFill>
                  <a:schemeClr val="tx1">
                    <a:lumMod val="65000"/>
                    <a:lumOff val="35000"/>
                  </a:schemeClr>
                </a:solidFill>
                <a:latin typeface="+mj-lt"/>
                <a:cs typeface="Calibri"/>
                <a:sym typeface="Calibri" panose="020F0502020204030204" pitchFamily="34" charset="0"/>
                <a:hlinkClick r:id="rId14">
                  <a:extLst>
                    <a:ext uri="{A12FA001-AC4F-418D-AE19-62706E023703}">
                      <ahyp:hlinkClr xmlns:ahyp="http://schemas.microsoft.com/office/drawing/2018/hyperlinkcolor" val="tx"/>
                    </a:ext>
                  </a:extLst>
                </a:hlinkClick>
              </a:rPr>
              <a:t>https://cirpassproject.eu/wp-content/uploads/2024/03/A2-EC-Michele-Galatola.pdf</a:t>
            </a:r>
            <a:r>
              <a:rPr lang="en-US" sz="950" dirty="0">
                <a:solidFill>
                  <a:schemeClr val="tx1">
                    <a:lumMod val="65000"/>
                    <a:lumOff val="35000"/>
                  </a:schemeClr>
                </a:solidFill>
                <a:latin typeface="+mj-lt"/>
                <a:cs typeface="Calibri"/>
                <a:sym typeface="Calibri" panose="020F0502020204030204" pitchFamily="34" charset="0"/>
              </a:rPr>
              <a:t> </a:t>
            </a:r>
            <a:endParaRPr lang="en-US" sz="950" dirty="0">
              <a:solidFill>
                <a:schemeClr val="tx1">
                  <a:lumMod val="65000"/>
                  <a:lumOff val="35000"/>
                </a:schemeClr>
              </a:solidFill>
              <a:latin typeface="+mj-lt"/>
              <a:cs typeface="Calibri"/>
            </a:endParaRPr>
          </a:p>
          <a:p>
            <a:pPr marL="341630" indent="-341630">
              <a:spcBef>
                <a:spcPts val="300"/>
              </a:spcBef>
            </a:pPr>
            <a:r>
              <a:rPr lang="en-US" sz="950" dirty="0">
                <a:solidFill>
                  <a:schemeClr val="tx1">
                    <a:lumMod val="65000"/>
                    <a:lumOff val="35000"/>
                  </a:schemeClr>
                </a:solidFill>
                <a:latin typeface="+mj-lt"/>
                <a:cs typeface="Calibri"/>
              </a:rPr>
              <a:t>ESPR EU COM Homepage </a:t>
            </a:r>
            <a:r>
              <a:rPr lang="en-US" sz="950" dirty="0">
                <a:solidFill>
                  <a:schemeClr val="tx1">
                    <a:lumMod val="65000"/>
                    <a:lumOff val="35000"/>
                  </a:schemeClr>
                </a:solidFill>
                <a:latin typeface="+mj-lt"/>
                <a:cs typeface="Calibri"/>
                <a:sym typeface="Calibri" panose="020F0502020204030204" pitchFamily="34" charset="0"/>
              </a:rPr>
              <a:t>–</a:t>
            </a:r>
            <a:r>
              <a:rPr lang="en-US" sz="950" dirty="0">
                <a:solidFill>
                  <a:schemeClr val="tx1">
                    <a:lumMod val="65000"/>
                    <a:lumOff val="35000"/>
                  </a:schemeClr>
                </a:solidFill>
                <a:latin typeface="+mj-lt"/>
                <a:cs typeface="Calibri"/>
              </a:rPr>
              <a:t> </a:t>
            </a:r>
            <a:r>
              <a:rPr lang="en-US" sz="950" dirty="0">
                <a:solidFill>
                  <a:schemeClr val="tx1">
                    <a:lumMod val="65000"/>
                    <a:lumOff val="35000"/>
                  </a:schemeClr>
                </a:solidFill>
                <a:latin typeface="+mj-lt"/>
                <a:cs typeface="Calibri"/>
                <a:hlinkClick r:id="rId15">
                  <a:extLst>
                    <a:ext uri="{A12FA001-AC4F-418D-AE19-62706E023703}">
                      <ahyp:hlinkClr xmlns:ahyp="http://schemas.microsoft.com/office/drawing/2018/hyperlinkcolor" val="tx"/>
                    </a:ext>
                  </a:extLst>
                </a:hlinkClick>
              </a:rPr>
              <a:t>https://commission.europa.eu/energy-climate-change-environment/standards-tools-and-labels/products-labelling-rules-and-requirements/ecodesign-sustainable-products-regulation_en</a:t>
            </a:r>
            <a:endParaRPr lang="en-US" sz="950" dirty="0">
              <a:solidFill>
                <a:schemeClr val="tx1">
                  <a:lumMod val="65000"/>
                  <a:lumOff val="35000"/>
                </a:schemeClr>
              </a:solidFill>
              <a:latin typeface="+mj-lt"/>
              <a:cs typeface="Calibri"/>
            </a:endParaRPr>
          </a:p>
          <a:p>
            <a:pPr marL="341630" indent="-341630">
              <a:spcBef>
                <a:spcPts val="300"/>
              </a:spcBef>
            </a:pPr>
            <a:r>
              <a:rPr lang="en-US" sz="950" dirty="0">
                <a:solidFill>
                  <a:schemeClr val="tx1">
                    <a:lumMod val="65000"/>
                    <a:lumOff val="35000"/>
                  </a:schemeClr>
                </a:solidFill>
                <a:latin typeface="+mj-lt"/>
                <a:cs typeface="Calibri"/>
              </a:rPr>
              <a:t>DPP System Standardization Request (SREQ) </a:t>
            </a:r>
            <a:r>
              <a:rPr lang="en-US" sz="950" dirty="0">
                <a:solidFill>
                  <a:schemeClr val="tx1">
                    <a:lumMod val="65000"/>
                    <a:lumOff val="35000"/>
                  </a:schemeClr>
                </a:solidFill>
                <a:latin typeface="+mj-lt"/>
                <a:cs typeface="Calibri"/>
                <a:sym typeface="Calibri" panose="020F0502020204030204" pitchFamily="34" charset="0"/>
              </a:rPr>
              <a:t>–</a:t>
            </a:r>
            <a:r>
              <a:rPr lang="en-US" sz="950" dirty="0">
                <a:solidFill>
                  <a:schemeClr val="tx1">
                    <a:lumMod val="65000"/>
                    <a:lumOff val="35000"/>
                  </a:schemeClr>
                </a:solidFill>
                <a:latin typeface="+mj-lt"/>
                <a:cs typeface="Calibri"/>
              </a:rPr>
              <a:t> </a:t>
            </a:r>
            <a:r>
              <a:rPr lang="en-US" sz="950" dirty="0">
                <a:solidFill>
                  <a:schemeClr val="tx1">
                    <a:lumMod val="65000"/>
                    <a:lumOff val="35000"/>
                  </a:schemeClr>
                </a:solidFill>
                <a:latin typeface="+mj-lt"/>
                <a:cs typeface="Calibri"/>
                <a:sym typeface="Calibri" panose="020F0502020204030204" pitchFamily="34" charset="0"/>
                <a:hlinkClick r:id="rId16">
                  <a:extLst>
                    <a:ext uri="{A12FA001-AC4F-418D-AE19-62706E023703}">
                      <ahyp:hlinkClr xmlns:ahyp="http://schemas.microsoft.com/office/drawing/2018/hyperlinkcolor" val="tx"/>
                    </a:ext>
                  </a:extLst>
                </a:hlinkClick>
              </a:rPr>
              <a:t>https://ec.europa.eu/growth/tools-databases/enorm/mandate/604_en</a:t>
            </a:r>
            <a:endParaRPr lang="en-US" sz="950" dirty="0">
              <a:solidFill>
                <a:schemeClr val="tx1">
                  <a:lumMod val="65000"/>
                  <a:lumOff val="35000"/>
                </a:schemeClr>
              </a:solidFill>
              <a:latin typeface="+mj-lt"/>
              <a:cs typeface="Calibri"/>
              <a:sym typeface="Calibri" panose="020F0502020204030204" pitchFamily="34" charset="0"/>
            </a:endParaRPr>
          </a:p>
          <a:p>
            <a:pPr marL="341630" indent="-341630">
              <a:spcBef>
                <a:spcPts val="300"/>
              </a:spcBef>
            </a:pPr>
            <a:r>
              <a:rPr lang="en-US" sz="950" dirty="0">
                <a:solidFill>
                  <a:schemeClr val="tx1">
                    <a:lumMod val="65000"/>
                    <a:lumOff val="35000"/>
                  </a:schemeClr>
                </a:solidFill>
                <a:latin typeface="+mj-lt"/>
                <a:cs typeface="Calibri"/>
                <a:sym typeface="Calibri" panose="020F0502020204030204" pitchFamily="34" charset="0"/>
              </a:rPr>
              <a:t>The Battery Pass project – </a:t>
            </a:r>
            <a:r>
              <a:rPr lang="en-US" sz="950" dirty="0">
                <a:solidFill>
                  <a:schemeClr val="tx1">
                    <a:lumMod val="65000"/>
                    <a:lumOff val="35000"/>
                  </a:schemeClr>
                </a:solidFill>
                <a:latin typeface="+mj-lt"/>
                <a:cs typeface="Calibri"/>
                <a:sym typeface="Calibri" panose="020F0502020204030204" pitchFamily="34" charset="0"/>
                <a:hlinkClick r:id="rId17">
                  <a:extLst>
                    <a:ext uri="{A12FA001-AC4F-418D-AE19-62706E023703}">
                      <ahyp:hlinkClr xmlns:ahyp="http://schemas.microsoft.com/office/drawing/2018/hyperlinkcolor" val="tx"/>
                    </a:ext>
                  </a:extLst>
                </a:hlinkClick>
              </a:rPr>
              <a:t>https://thebatterypass.eu</a:t>
            </a:r>
            <a:r>
              <a:rPr lang="en-US" sz="950" dirty="0">
                <a:solidFill>
                  <a:schemeClr val="tx1">
                    <a:lumMod val="65000"/>
                    <a:lumOff val="35000"/>
                  </a:schemeClr>
                </a:solidFill>
                <a:latin typeface="+mj-lt"/>
                <a:cs typeface="Calibri"/>
                <a:sym typeface="Calibri" panose="020F0502020204030204" pitchFamily="34" charset="0"/>
              </a:rPr>
              <a:t> </a:t>
            </a:r>
            <a:endParaRPr lang="en-US" sz="950" dirty="0">
              <a:solidFill>
                <a:schemeClr val="tx1">
                  <a:lumMod val="65000"/>
                  <a:lumOff val="35000"/>
                </a:schemeClr>
              </a:solidFill>
              <a:latin typeface="+mj-lt"/>
              <a:cs typeface="Calibri"/>
            </a:endParaRPr>
          </a:p>
          <a:p>
            <a:pPr marL="341630" indent="-341630">
              <a:spcBef>
                <a:spcPts val="300"/>
              </a:spcBef>
            </a:pPr>
            <a:r>
              <a:rPr lang="en-US" sz="950" dirty="0">
                <a:solidFill>
                  <a:schemeClr val="tx1">
                    <a:lumMod val="65000"/>
                    <a:lumOff val="35000"/>
                  </a:schemeClr>
                </a:solidFill>
                <a:latin typeface="+mj-lt"/>
                <a:cs typeface="Calibri"/>
              </a:rPr>
              <a:t>Digital Data Chain Consortium Identity Link </a:t>
            </a:r>
            <a:r>
              <a:rPr lang="en-US" sz="950" dirty="0">
                <a:solidFill>
                  <a:schemeClr val="tx1">
                    <a:lumMod val="65000"/>
                    <a:lumOff val="35000"/>
                  </a:schemeClr>
                </a:solidFill>
                <a:latin typeface="+mj-lt"/>
                <a:cs typeface="Calibri"/>
                <a:sym typeface="Calibri" panose="020F0502020204030204" pitchFamily="34" charset="0"/>
              </a:rPr>
              <a:t>–</a:t>
            </a:r>
            <a:r>
              <a:rPr lang="en-US" sz="950" dirty="0">
                <a:solidFill>
                  <a:schemeClr val="tx1">
                    <a:lumMod val="65000"/>
                    <a:lumOff val="35000"/>
                  </a:schemeClr>
                </a:solidFill>
                <a:latin typeface="+mj-lt"/>
                <a:cs typeface="Calibri"/>
              </a:rPr>
              <a:t> </a:t>
            </a:r>
            <a:r>
              <a:rPr lang="en-US" sz="950" dirty="0">
                <a:solidFill>
                  <a:schemeClr val="tx1">
                    <a:lumMod val="65000"/>
                    <a:lumOff val="35000"/>
                  </a:schemeClr>
                </a:solidFill>
                <a:latin typeface="+mj-lt"/>
                <a:cs typeface="Calibri"/>
                <a:sym typeface="Calibri" panose="020F0502020204030204" pitchFamily="34" charset="0"/>
                <a:hlinkClick r:id="rId18">
                  <a:extLst>
                    <a:ext uri="{A12FA001-AC4F-418D-AE19-62706E023703}">
                      <ahyp:hlinkClr xmlns:ahyp="http://schemas.microsoft.com/office/drawing/2018/hyperlinkcolor" val="tx"/>
                    </a:ext>
                  </a:extLst>
                </a:hlinkClick>
              </a:rPr>
              <a:t>https://www.digitaldatachain.com</a:t>
            </a:r>
            <a:r>
              <a:rPr lang="en-US" sz="950" dirty="0">
                <a:solidFill>
                  <a:schemeClr val="tx1">
                    <a:lumMod val="65000"/>
                    <a:lumOff val="35000"/>
                  </a:schemeClr>
                </a:solidFill>
                <a:latin typeface="+mj-lt"/>
                <a:cs typeface="Calibri"/>
                <a:sym typeface="Calibri" panose="020F0502020204030204" pitchFamily="34" charset="0"/>
              </a:rPr>
              <a:t> </a:t>
            </a:r>
            <a:endParaRPr lang="en-US" sz="950" dirty="0">
              <a:solidFill>
                <a:schemeClr val="tx1">
                  <a:lumMod val="65000"/>
                  <a:lumOff val="35000"/>
                </a:schemeClr>
              </a:solidFill>
              <a:latin typeface="+mj-lt"/>
              <a:cs typeface="Calibri"/>
            </a:endParaRPr>
          </a:p>
          <a:p>
            <a:pPr marL="341630" indent="-341630">
              <a:spcBef>
                <a:spcPts val="300"/>
              </a:spcBef>
            </a:pPr>
            <a:r>
              <a:rPr lang="en-US" sz="950" dirty="0">
                <a:solidFill>
                  <a:schemeClr val="tx1">
                    <a:lumMod val="65000"/>
                    <a:lumOff val="35000"/>
                  </a:schemeClr>
                </a:solidFill>
                <a:latin typeface="+mj-lt"/>
                <a:cs typeface="Calibri"/>
                <a:sym typeface="Calibri" panose="020F0502020204030204" pitchFamily="34" charset="0"/>
              </a:rPr>
              <a:t>Catena-X Architecture and Offering – </a:t>
            </a:r>
            <a:r>
              <a:rPr lang="en-US" sz="950" dirty="0">
                <a:solidFill>
                  <a:schemeClr val="tx1">
                    <a:lumMod val="65000"/>
                    <a:lumOff val="35000"/>
                  </a:schemeClr>
                </a:solidFill>
                <a:latin typeface="+mj-lt"/>
                <a:cs typeface="Arial"/>
                <a:sym typeface="Calibri" panose="020F0502020204030204" pitchFamily="34" charset="0"/>
                <a:hlinkClick r:id="rId19">
                  <a:extLst>
                    <a:ext uri="{A12FA001-AC4F-418D-AE19-62706E023703}">
                      <ahyp:hlinkClr xmlns:ahyp="http://schemas.microsoft.com/office/drawing/2018/hyperlinkcolor" val="tx"/>
                    </a:ext>
                  </a:extLst>
                </a:hlinkClick>
              </a:rPr>
              <a:t>https://catena-x.net/en/1/offers/edc-the-central-component</a:t>
            </a:r>
            <a:r>
              <a:rPr lang="en-US" sz="950" dirty="0">
                <a:solidFill>
                  <a:schemeClr val="tx1">
                    <a:lumMod val="65000"/>
                    <a:lumOff val="35000"/>
                  </a:schemeClr>
                </a:solidFill>
                <a:latin typeface="+mj-lt"/>
                <a:cs typeface="Arial"/>
                <a:sym typeface="Calibri" panose="020F0502020204030204" pitchFamily="34" charset="0"/>
              </a:rPr>
              <a:t> </a:t>
            </a:r>
          </a:p>
          <a:p>
            <a:pPr marL="341630" indent="-341630">
              <a:spcBef>
                <a:spcPts val="300"/>
              </a:spcBef>
            </a:pPr>
            <a:r>
              <a:rPr lang="en-US" sz="950" dirty="0">
                <a:solidFill>
                  <a:schemeClr val="tx1">
                    <a:lumMod val="65000"/>
                    <a:lumOff val="35000"/>
                  </a:schemeClr>
                </a:solidFill>
                <a:latin typeface="+mj-lt"/>
                <a:cs typeface="Arial"/>
                <a:sym typeface="Calibri" panose="020F0502020204030204" pitchFamily="34" charset="0"/>
              </a:rPr>
              <a:t>ESPR updated working plan </a:t>
            </a:r>
            <a:r>
              <a:rPr lang="en-US" sz="950" dirty="0">
                <a:solidFill>
                  <a:schemeClr val="tx1">
                    <a:lumMod val="65000"/>
                    <a:lumOff val="35000"/>
                  </a:schemeClr>
                </a:solidFill>
                <a:latin typeface="+mj-lt"/>
                <a:cs typeface="Calibri"/>
                <a:sym typeface="Calibri" panose="020F0502020204030204" pitchFamily="34" charset="0"/>
              </a:rPr>
              <a:t>–</a:t>
            </a:r>
            <a:r>
              <a:rPr lang="en-US" sz="950" dirty="0">
                <a:solidFill>
                  <a:schemeClr val="tx1">
                    <a:lumMod val="65000"/>
                    <a:lumOff val="35000"/>
                  </a:schemeClr>
                </a:solidFill>
                <a:latin typeface="+mj-lt"/>
                <a:cs typeface="Arial"/>
                <a:sym typeface="Calibri" panose="020F0502020204030204" pitchFamily="34" charset="0"/>
              </a:rPr>
              <a:t> </a:t>
            </a:r>
            <a:r>
              <a:rPr lang="en-US" sz="950" dirty="0">
                <a:solidFill>
                  <a:schemeClr val="tx1">
                    <a:lumMod val="65000"/>
                    <a:lumOff val="35000"/>
                  </a:schemeClr>
                </a:solidFill>
                <a:latin typeface="+mj-lt"/>
                <a:cs typeface="Arial"/>
                <a:sym typeface="Calibri" panose="020F0502020204030204" pitchFamily="34" charset="0"/>
                <a:hlinkClick r:id="rId20">
                  <a:extLst>
                    <a:ext uri="{A12FA001-AC4F-418D-AE19-62706E023703}">
                      <ahyp:hlinkClr xmlns:ahyp="http://schemas.microsoft.com/office/drawing/2018/hyperlinkcolor" val="tx"/>
                    </a:ext>
                  </a:extLst>
                </a:hlinkClick>
              </a:rPr>
              <a:t>https://ec.europa.eu/transparency/expert-groups-register/core/api/front/document/113700/download</a:t>
            </a:r>
            <a:r>
              <a:rPr lang="en-US" sz="950" dirty="0">
                <a:solidFill>
                  <a:schemeClr val="tx1">
                    <a:lumMod val="65000"/>
                    <a:lumOff val="35000"/>
                  </a:schemeClr>
                </a:solidFill>
                <a:latin typeface="+mj-lt"/>
                <a:cs typeface="Arial"/>
                <a:sym typeface="Calibri" panose="020F0502020204030204" pitchFamily="34" charset="0"/>
              </a:rPr>
              <a:t> </a:t>
            </a:r>
            <a:endParaRPr lang="en-US" sz="950" dirty="0">
              <a:solidFill>
                <a:schemeClr val="tx1">
                  <a:lumMod val="65000"/>
                  <a:lumOff val="35000"/>
                </a:schemeClr>
              </a:solidFill>
              <a:latin typeface="+mj-lt"/>
              <a:cs typeface="Arial"/>
            </a:endParaRPr>
          </a:p>
          <a:p>
            <a:pPr marL="341630" indent="-341630">
              <a:spcBef>
                <a:spcPts val="300"/>
              </a:spcBef>
            </a:pPr>
            <a:r>
              <a:rPr lang="en-US" sz="950" dirty="0">
                <a:solidFill>
                  <a:schemeClr val="tx1">
                    <a:lumMod val="65000"/>
                    <a:lumOff val="35000"/>
                  </a:schemeClr>
                </a:solidFill>
                <a:latin typeface="+mj-lt"/>
                <a:cs typeface="Arial"/>
                <a:sym typeface="Calibri" panose="020F0502020204030204" pitchFamily="34" charset="0"/>
              </a:rPr>
              <a:t>ESPR Timeline and next steps </a:t>
            </a:r>
            <a:r>
              <a:rPr lang="en-US" sz="950" dirty="0">
                <a:solidFill>
                  <a:schemeClr val="tx1">
                    <a:lumMod val="65000"/>
                    <a:lumOff val="35000"/>
                  </a:schemeClr>
                </a:solidFill>
                <a:latin typeface="+mj-lt"/>
                <a:cs typeface="Calibri"/>
                <a:sym typeface="Calibri" panose="020F0502020204030204" pitchFamily="34" charset="0"/>
              </a:rPr>
              <a:t>– </a:t>
            </a:r>
            <a:r>
              <a:rPr lang="en-US" sz="950" dirty="0">
                <a:solidFill>
                  <a:schemeClr val="tx1">
                    <a:lumMod val="65000"/>
                    <a:lumOff val="35000"/>
                  </a:schemeClr>
                </a:solidFill>
                <a:latin typeface="+mj-lt"/>
                <a:cs typeface="Arial"/>
                <a:sym typeface="Calibri" panose="020F0502020204030204" pitchFamily="34" charset="0"/>
                <a:hlinkClick r:id="rId21">
                  <a:extLst>
                    <a:ext uri="{A12FA001-AC4F-418D-AE19-62706E023703}">
                      <ahyp:hlinkClr xmlns:ahyp="http://schemas.microsoft.com/office/drawing/2018/hyperlinkcolor" val="tx"/>
                    </a:ext>
                  </a:extLst>
                </a:hlinkClick>
              </a:rPr>
              <a:t>https://commission.europa.eu/document/download/c5db3b9e-23ae-42c8-a50a-b549f20a377d_en?filename=2024_05_22_EC%20Presentation%20ESPR%20Webinar_final.pdf</a:t>
            </a:r>
            <a:r>
              <a:rPr lang="en-US" sz="950" dirty="0">
                <a:solidFill>
                  <a:schemeClr val="tx1">
                    <a:lumMod val="65000"/>
                    <a:lumOff val="35000"/>
                  </a:schemeClr>
                </a:solidFill>
                <a:latin typeface="+mj-lt"/>
                <a:cs typeface="Arial"/>
                <a:sym typeface="Calibri" panose="020F0502020204030204" pitchFamily="34" charset="0"/>
              </a:rPr>
              <a:t> </a:t>
            </a:r>
            <a:endParaRPr lang="en-US" sz="950" dirty="0">
              <a:solidFill>
                <a:schemeClr val="tx1">
                  <a:lumMod val="65000"/>
                  <a:lumOff val="35000"/>
                </a:schemeClr>
              </a:solidFill>
              <a:latin typeface="+mj-lt"/>
              <a:cs typeface="Arial"/>
            </a:endParaRPr>
          </a:p>
          <a:p>
            <a:pPr marL="0" indent="0">
              <a:spcBef>
                <a:spcPts val="300"/>
              </a:spcBef>
              <a:buNone/>
            </a:pPr>
            <a:endParaRPr lang="en-US" sz="950" dirty="0">
              <a:solidFill>
                <a:schemeClr val="tx1">
                  <a:lumMod val="65000"/>
                  <a:lumOff val="35000"/>
                </a:schemeClr>
              </a:solidFill>
              <a:latin typeface="+mj-lt"/>
              <a:cs typeface="Arial"/>
              <a:sym typeface="Calibri" panose="020F0502020204030204" pitchFamily="34" charset="0"/>
            </a:endParaRPr>
          </a:p>
        </p:txBody>
      </p:sp>
      <p:sp>
        <p:nvSpPr>
          <p:cNvPr id="5" name="Date Placeholder 4">
            <a:extLst>
              <a:ext uri="{FF2B5EF4-FFF2-40B4-BE49-F238E27FC236}">
                <a16:creationId xmlns:a16="http://schemas.microsoft.com/office/drawing/2014/main" id="{879A438E-1030-407D-1C00-BE1776B82C00}"/>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B60F8D1-6788-4364-B4B7-3C4167F5F146}"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6" name="Slide Number Placeholder 5">
            <a:extLst>
              <a:ext uri="{FF2B5EF4-FFF2-40B4-BE49-F238E27FC236}">
                <a16:creationId xmlns:a16="http://schemas.microsoft.com/office/drawing/2014/main" id="{DA54475F-94BD-1B15-FF89-CD55F1ED0BA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38</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4517717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358041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E68B7-008D-A464-C59C-E432F87D4D7B}"/>
              </a:ext>
            </a:extLst>
          </p:cNvPr>
          <p:cNvSpPr>
            <a:spLocks noGrp="1"/>
          </p:cNvSpPr>
          <p:nvPr>
            <p:ph type="title"/>
          </p:nvPr>
        </p:nvSpPr>
        <p:spPr/>
        <p:txBody>
          <a:bodyPr/>
          <a:lstStyle/>
          <a:p>
            <a:r>
              <a:rPr lang="en-US"/>
              <a:t>Green Deal - EU’s Man on the Moon Moment</a:t>
            </a:r>
          </a:p>
        </p:txBody>
      </p:sp>
      <p:sp>
        <p:nvSpPr>
          <p:cNvPr id="5" name="Date Placeholder 4">
            <a:extLst>
              <a:ext uri="{FF2B5EF4-FFF2-40B4-BE49-F238E27FC236}">
                <a16:creationId xmlns:a16="http://schemas.microsoft.com/office/drawing/2014/main" id="{4B28955D-7858-1FE2-61C7-EC76C6212F07}"/>
              </a:ext>
            </a:extLst>
          </p:cNvPr>
          <p:cNvSpPr>
            <a:spLocks noGrp="1"/>
          </p:cNvSpPr>
          <p:nvPr>
            <p:ph type="dt" sz="half" idx="11"/>
          </p:nvPr>
        </p:nvSpPr>
        <p:spPr>
          <a:xfrm>
            <a:off x="687600" y="6516000"/>
            <a:ext cx="468000" cy="151200"/>
          </a:xfrm>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B60F8D1-6788-4364-B4B7-3C4167F5F146}"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6" name="Slide Number Placeholder 5">
            <a:extLst>
              <a:ext uri="{FF2B5EF4-FFF2-40B4-BE49-F238E27FC236}">
                <a16:creationId xmlns:a16="http://schemas.microsoft.com/office/drawing/2014/main" id="{5D23F115-9C81-6A2A-F8E0-F84061CA1B5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4</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grpSp>
        <p:nvGrpSpPr>
          <p:cNvPr id="8" name="Group 7">
            <a:extLst>
              <a:ext uri="{FF2B5EF4-FFF2-40B4-BE49-F238E27FC236}">
                <a16:creationId xmlns:a16="http://schemas.microsoft.com/office/drawing/2014/main" id="{EB272602-EE35-CAD3-08C8-72DF6815C9D2}"/>
              </a:ext>
            </a:extLst>
          </p:cNvPr>
          <p:cNvGrpSpPr/>
          <p:nvPr/>
        </p:nvGrpSpPr>
        <p:grpSpPr>
          <a:xfrm>
            <a:off x="1334655" y="283139"/>
            <a:ext cx="8865114" cy="6232861"/>
            <a:chOff x="2327276" y="1019000"/>
            <a:chExt cx="7075938" cy="4974932"/>
          </a:xfrm>
        </p:grpSpPr>
        <p:sp>
          <p:nvSpPr>
            <p:cNvPr id="9" name="Freihandform: Form 76">
              <a:extLst>
                <a:ext uri="{FF2B5EF4-FFF2-40B4-BE49-F238E27FC236}">
                  <a16:creationId xmlns:a16="http://schemas.microsoft.com/office/drawing/2014/main" id="{8B6689FB-3C72-3821-2504-0281E73DDE91}"/>
                </a:ext>
              </a:extLst>
            </p:cNvPr>
            <p:cNvSpPr/>
            <p:nvPr/>
          </p:nvSpPr>
          <p:spPr bwMode="gray">
            <a:xfrm flipH="1">
              <a:off x="2327276" y="1778555"/>
              <a:ext cx="7014055" cy="3975714"/>
            </a:xfrm>
            <a:custGeom>
              <a:avLst/>
              <a:gdLst>
                <a:gd name="connsiteX0" fmla="*/ 6416996 w 7014968"/>
                <a:gd name="connsiteY0" fmla="*/ 0 h 3816448"/>
                <a:gd name="connsiteX1" fmla="*/ 597972 w 7014968"/>
                <a:gd name="connsiteY1" fmla="*/ 0 h 3816448"/>
                <a:gd name="connsiteX2" fmla="*/ 423335 w 7014968"/>
                <a:gd name="connsiteY2" fmla="*/ 287462 h 3816448"/>
                <a:gd name="connsiteX3" fmla="*/ 0 w 7014968"/>
                <a:gd name="connsiteY3" fmla="*/ 1959337 h 3816448"/>
                <a:gd name="connsiteX4" fmla="*/ 423335 w 7014968"/>
                <a:gd name="connsiteY4" fmla="*/ 3631212 h 3816448"/>
                <a:gd name="connsiteX5" fmla="*/ 535868 w 7014968"/>
                <a:gd name="connsiteY5" fmla="*/ 3816448 h 3816448"/>
                <a:gd name="connsiteX6" fmla="*/ 6479100 w 7014968"/>
                <a:gd name="connsiteY6" fmla="*/ 3816448 h 3816448"/>
                <a:gd name="connsiteX7" fmla="*/ 6591633 w 7014968"/>
                <a:gd name="connsiteY7" fmla="*/ 3631212 h 3816448"/>
                <a:gd name="connsiteX8" fmla="*/ 7014968 w 7014968"/>
                <a:gd name="connsiteY8" fmla="*/ 1959337 h 3816448"/>
                <a:gd name="connsiteX9" fmla="*/ 6591633 w 7014968"/>
                <a:gd name="connsiteY9" fmla="*/ 287462 h 3816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14968" h="3816448">
                  <a:moveTo>
                    <a:pt x="6416996" y="0"/>
                  </a:moveTo>
                  <a:lnTo>
                    <a:pt x="597972" y="0"/>
                  </a:lnTo>
                  <a:lnTo>
                    <a:pt x="423335" y="287462"/>
                  </a:lnTo>
                  <a:cubicBezTo>
                    <a:pt x="153355" y="784449"/>
                    <a:pt x="0" y="1353984"/>
                    <a:pt x="0" y="1959337"/>
                  </a:cubicBezTo>
                  <a:cubicBezTo>
                    <a:pt x="0" y="2564690"/>
                    <a:pt x="153355" y="3134226"/>
                    <a:pt x="423335" y="3631212"/>
                  </a:cubicBezTo>
                  <a:lnTo>
                    <a:pt x="535868" y="3816448"/>
                  </a:lnTo>
                  <a:lnTo>
                    <a:pt x="6479100" y="3816448"/>
                  </a:lnTo>
                  <a:lnTo>
                    <a:pt x="6591633" y="3631212"/>
                  </a:lnTo>
                  <a:cubicBezTo>
                    <a:pt x="6861613" y="3134226"/>
                    <a:pt x="7014968" y="2564690"/>
                    <a:pt x="7014968" y="1959337"/>
                  </a:cubicBezTo>
                  <a:cubicBezTo>
                    <a:pt x="7014968" y="1353984"/>
                    <a:pt x="6861613" y="784449"/>
                    <a:pt x="6591633" y="287462"/>
                  </a:cubicBezTo>
                  <a:close/>
                </a:path>
              </a:pathLst>
            </a:custGeom>
            <a:solidFill>
              <a:srgbClr val="E7E6E6"/>
            </a:solidFill>
            <a:ln w="635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0" name="Ellipse 59">
              <a:extLst>
                <a:ext uri="{FF2B5EF4-FFF2-40B4-BE49-F238E27FC236}">
                  <a16:creationId xmlns:a16="http://schemas.microsoft.com/office/drawing/2014/main" id="{FEF47570-DE60-1AE6-7087-9E6C43C83004}"/>
                </a:ext>
              </a:extLst>
            </p:cNvPr>
            <p:cNvSpPr/>
            <p:nvPr/>
          </p:nvSpPr>
          <p:spPr bwMode="gray">
            <a:xfrm>
              <a:off x="4250400" y="1989336"/>
              <a:ext cx="3167811" cy="3187672"/>
            </a:xfrm>
            <a:prstGeom prst="ellipse">
              <a:avLst/>
            </a:prstGeom>
            <a:solidFill>
              <a:srgbClr val="BBBBBC"/>
            </a:solidFill>
            <a:ln w="28575" cap="flat" cmpd="sng" algn="ctr">
              <a:solidFill>
                <a:srgbClr val="233F67"/>
              </a:solidFill>
              <a:prstDash val="solid"/>
              <a:miter lim="800000"/>
            </a:ln>
            <a:effectLst/>
          </p:spPr>
          <p:txBody>
            <a:bodyPr lIns="71991" tIns="35995" rIns="71991" bIns="35995" rtlCol="0" anchor="t"/>
            <a:lstStyle/>
            <a:p>
              <a:pPr marL="179982" marR="0" lvl="0" indent="-179982" defTabSz="914400" eaLnBrk="1" fontAlgn="auto" latinLnBrk="0" hangingPunct="1">
                <a:lnSpc>
                  <a:spcPct val="100000"/>
                </a:lnSpc>
                <a:spcBef>
                  <a:spcPts val="600"/>
                </a:spcBef>
                <a:spcAft>
                  <a:spcPts val="0"/>
                </a:spcAft>
                <a:buClr>
                  <a:srgbClr val="4472C4"/>
                </a:buClr>
                <a:buSzTx/>
                <a:buFont typeface="Wingdings" panose="05000000000000000000" pitchFamily="2" charset="2"/>
                <a:buChar char="§"/>
                <a:tabLst/>
                <a:defRPr/>
              </a:pPr>
              <a:endParaRPr kumimoji="0" lang="de-DE" sz="1200" b="0" i="0" u="none" strike="noStrike" kern="1200" cap="none" spc="0" normalizeH="0" baseline="0" noProof="0">
                <a:ln>
                  <a:noFill/>
                </a:ln>
                <a:solidFill>
                  <a:srgbClr val="FFC000"/>
                </a:solidFill>
                <a:effectLst/>
                <a:uLnTx/>
                <a:uFillTx/>
                <a:latin typeface="Calibri" panose="020F0502020204030204" pitchFamily="34" charset="0"/>
                <a:ea typeface="+mn-ea"/>
                <a:cs typeface="Calibri" panose="020F0502020204030204" pitchFamily="34" charset="0"/>
              </a:endParaRPr>
            </a:p>
          </p:txBody>
        </p:sp>
        <p:sp>
          <p:nvSpPr>
            <p:cNvPr id="11" name="Rechteck: diagonal liegende Ecken abgerundet 4">
              <a:extLst>
                <a:ext uri="{FF2B5EF4-FFF2-40B4-BE49-F238E27FC236}">
                  <a16:creationId xmlns:a16="http://schemas.microsoft.com/office/drawing/2014/main" id="{810DE450-FC82-132E-F44E-E13FDDB0635C}"/>
                </a:ext>
              </a:extLst>
            </p:cNvPr>
            <p:cNvSpPr/>
            <p:nvPr/>
          </p:nvSpPr>
          <p:spPr bwMode="gray">
            <a:xfrm>
              <a:off x="3051635" y="2095283"/>
              <a:ext cx="2159719" cy="431944"/>
            </a:xfrm>
            <a:prstGeom prst="round2DiagRect">
              <a:avLst/>
            </a:prstGeom>
            <a:solidFill>
              <a:srgbClr val="233F67"/>
            </a:solidFill>
            <a:ln w="12700" cap="flat" cmpd="sng" algn="ctr">
              <a:noFill/>
              <a:prstDash val="solid"/>
              <a:miter lim="800000"/>
            </a:ln>
            <a:effectLst/>
          </p:spPr>
          <p:txBody>
            <a:bodyPr lIns="71991" tIns="35995" rIns="71991" bIns="35995" rtlCol="0" anchor="ctr">
              <a:noAutofit/>
            </a:bodyPr>
            <a:lstStyle/>
            <a:p>
              <a:pPr marL="0" marR="0" lvl="0" indent="0" algn="ctr" defTabSz="914309"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rgbClr val="FFFFFF"/>
                  </a:solidFill>
                  <a:effectLst/>
                  <a:uLnTx/>
                  <a:uFillTx/>
                  <a:latin typeface="+mj-lt"/>
                  <a:ea typeface="+mn-ea"/>
                  <a:cs typeface="Calibri" panose="020F0502020204030204" pitchFamily="34" charset="0"/>
                </a:rPr>
                <a:t>Increasing the EU’s Climate Ambition for 2030 and 2050</a:t>
              </a:r>
            </a:p>
          </p:txBody>
        </p:sp>
        <p:sp>
          <p:nvSpPr>
            <p:cNvPr id="12" name="Rechteck: diagonal liegende Ecken abgerundet 12">
              <a:extLst>
                <a:ext uri="{FF2B5EF4-FFF2-40B4-BE49-F238E27FC236}">
                  <a16:creationId xmlns:a16="http://schemas.microsoft.com/office/drawing/2014/main" id="{360258E5-026D-BF70-8A41-4FAEEAE01D96}"/>
                </a:ext>
              </a:extLst>
            </p:cNvPr>
            <p:cNvSpPr/>
            <p:nvPr/>
          </p:nvSpPr>
          <p:spPr bwMode="gray">
            <a:xfrm>
              <a:off x="2756432" y="2757727"/>
              <a:ext cx="2159719" cy="431944"/>
            </a:xfrm>
            <a:prstGeom prst="round2DiagRect">
              <a:avLst/>
            </a:prstGeom>
            <a:solidFill>
              <a:srgbClr val="233F67"/>
            </a:solidFill>
            <a:ln w="12700" cap="flat" cmpd="sng" algn="ctr">
              <a:noFill/>
              <a:prstDash val="solid"/>
              <a:miter lim="800000"/>
            </a:ln>
            <a:effectLst/>
          </p:spPr>
          <p:txBody>
            <a:bodyPr lIns="71991" tIns="35995" rIns="71991" bIns="35995" rtlCol="0" anchor="ctr">
              <a:noAutofit/>
            </a:bodyPr>
            <a:lstStyle/>
            <a:p>
              <a:pPr marL="0" marR="0" lvl="0" indent="0" algn="ctr" defTabSz="914309"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rgbClr val="FFFFFF"/>
                  </a:solidFill>
                  <a:effectLst/>
                  <a:uLnTx/>
                  <a:uFillTx/>
                  <a:latin typeface="+mj-lt"/>
                  <a:ea typeface="+mn-ea"/>
                  <a:cs typeface="Calibri" panose="020F0502020204030204" pitchFamily="34" charset="0"/>
                </a:rPr>
                <a:t>Supplying clean, affordable and secure energy</a:t>
              </a:r>
            </a:p>
          </p:txBody>
        </p:sp>
        <p:sp>
          <p:nvSpPr>
            <p:cNvPr id="13" name="Rechteck: diagonal liegende Ecken abgerundet 16">
              <a:extLst>
                <a:ext uri="{FF2B5EF4-FFF2-40B4-BE49-F238E27FC236}">
                  <a16:creationId xmlns:a16="http://schemas.microsoft.com/office/drawing/2014/main" id="{AD63F156-CD02-89E8-9385-B84659859BF8}"/>
                </a:ext>
              </a:extLst>
            </p:cNvPr>
            <p:cNvSpPr/>
            <p:nvPr/>
          </p:nvSpPr>
          <p:spPr bwMode="gray">
            <a:xfrm>
              <a:off x="7074032" y="2751266"/>
              <a:ext cx="2159719" cy="431944"/>
            </a:xfrm>
            <a:prstGeom prst="round2DiagRect">
              <a:avLst/>
            </a:prstGeom>
            <a:solidFill>
              <a:srgbClr val="233F67"/>
            </a:solidFill>
            <a:ln w="12700" cap="flat" cmpd="sng" algn="ctr">
              <a:noFill/>
              <a:prstDash val="solid"/>
              <a:miter lim="800000"/>
            </a:ln>
            <a:effectLst/>
          </p:spPr>
          <p:txBody>
            <a:bodyPr lIns="71991" tIns="35995" rIns="71991" bIns="35995" rtlCol="0" anchor="ctr">
              <a:noAutofit/>
            </a:bodyPr>
            <a:lstStyle/>
            <a:p>
              <a:pPr marL="0" marR="0" lvl="0" indent="0" algn="ctr" defTabSz="914309"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rgbClr val="FFFFFF"/>
                  </a:solidFill>
                  <a:effectLst/>
                  <a:uLnTx/>
                  <a:uFillTx/>
                  <a:latin typeface="+mj-lt"/>
                  <a:ea typeface="+mn-ea"/>
                  <a:cs typeface="Calibri" panose="020F0502020204030204" pitchFamily="34" charset="0"/>
                </a:rPr>
                <a:t>Preserving and restoring ecosystems &amp; biodiversity</a:t>
              </a:r>
            </a:p>
          </p:txBody>
        </p:sp>
        <p:sp>
          <p:nvSpPr>
            <p:cNvPr id="14" name="Rechteck: diagonal liegende Ecken abgerundet 13">
              <a:extLst>
                <a:ext uri="{FF2B5EF4-FFF2-40B4-BE49-F238E27FC236}">
                  <a16:creationId xmlns:a16="http://schemas.microsoft.com/office/drawing/2014/main" id="{751B4438-A3DB-7609-733C-8F043175ABCF}"/>
                </a:ext>
              </a:extLst>
            </p:cNvPr>
            <p:cNvSpPr/>
            <p:nvPr/>
          </p:nvSpPr>
          <p:spPr bwMode="gray">
            <a:xfrm>
              <a:off x="2529655" y="3457658"/>
              <a:ext cx="2159719" cy="431944"/>
            </a:xfrm>
            <a:prstGeom prst="round2DiagRect">
              <a:avLst/>
            </a:prstGeom>
            <a:solidFill>
              <a:schemeClr val="accent1"/>
            </a:solidFill>
            <a:ln w="12700" cap="flat" cmpd="sng" algn="ctr">
              <a:noFill/>
              <a:prstDash val="solid"/>
              <a:miter lim="800000"/>
            </a:ln>
            <a:effectLst/>
          </p:spPr>
          <p:txBody>
            <a:bodyPr lIns="71991" tIns="35995" rIns="71991" bIns="35995" rtlCol="0" anchor="ctr">
              <a:noAutofit/>
            </a:bodyPr>
            <a:lstStyle/>
            <a:p>
              <a:pPr marL="0" marR="0" lvl="0" indent="0" algn="ctr" defTabSz="914309"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mj-lt"/>
                  <a:ea typeface="+mn-ea"/>
                  <a:cs typeface="Calibri" panose="020F0502020204030204" pitchFamily="34" charset="0"/>
                </a:rPr>
                <a:t>Mobilizing industry for a clean and circular economy</a:t>
              </a:r>
            </a:p>
          </p:txBody>
        </p:sp>
        <p:sp>
          <p:nvSpPr>
            <p:cNvPr id="15" name="Textfeld 19">
              <a:extLst>
                <a:ext uri="{FF2B5EF4-FFF2-40B4-BE49-F238E27FC236}">
                  <a16:creationId xmlns:a16="http://schemas.microsoft.com/office/drawing/2014/main" id="{32AD1F85-16B8-E69C-E32E-36EDD18C9418}"/>
                </a:ext>
              </a:extLst>
            </p:cNvPr>
            <p:cNvSpPr txBox="1"/>
            <p:nvPr/>
          </p:nvSpPr>
          <p:spPr bwMode="gray">
            <a:xfrm>
              <a:off x="7151342" y="3471163"/>
              <a:ext cx="2251872" cy="431944"/>
            </a:xfrm>
            <a:prstGeom prst="round2DiagRect">
              <a:avLst/>
            </a:prstGeom>
            <a:solidFill>
              <a:srgbClr val="233F67"/>
            </a:solidFill>
            <a:ln>
              <a:noFill/>
            </a:ln>
          </p:spPr>
          <p:txBody>
            <a:bodyPr wrap="square" lIns="71991" tIns="35995" rIns="71991" bIns="35995" rtlCol="0" anchor="ctr">
              <a:noAutofit/>
            </a:bodyPr>
            <a:lstStyle/>
            <a:p>
              <a:pPr marL="0" marR="0" lvl="0" indent="0" algn="ctr" defTabSz="914309"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rgbClr val="FFFFFF"/>
                  </a:solidFill>
                  <a:effectLst/>
                  <a:uLnTx/>
                  <a:uFillTx/>
                  <a:latin typeface="+mj-lt"/>
                  <a:ea typeface="+mn-ea"/>
                  <a:cs typeface="Calibri" panose="020F0502020204030204" pitchFamily="34" charset="0"/>
                </a:rPr>
                <a:t>From Farm-to-Fork: a fair, healthy &amp; friendly food system</a:t>
              </a:r>
            </a:p>
          </p:txBody>
        </p:sp>
        <p:sp>
          <p:nvSpPr>
            <p:cNvPr id="16" name="Textfeld 10">
              <a:extLst>
                <a:ext uri="{FF2B5EF4-FFF2-40B4-BE49-F238E27FC236}">
                  <a16:creationId xmlns:a16="http://schemas.microsoft.com/office/drawing/2014/main" id="{BF876006-9389-9F57-22BC-00A8227C6DFA}"/>
                </a:ext>
              </a:extLst>
            </p:cNvPr>
            <p:cNvSpPr txBox="1"/>
            <p:nvPr/>
          </p:nvSpPr>
          <p:spPr bwMode="gray">
            <a:xfrm>
              <a:off x="2671626" y="4153897"/>
              <a:ext cx="2329333" cy="431944"/>
            </a:xfrm>
            <a:prstGeom prst="round2DiagRect">
              <a:avLst/>
            </a:prstGeom>
            <a:solidFill>
              <a:srgbClr val="233F67"/>
            </a:solidFill>
            <a:ln>
              <a:noFill/>
            </a:ln>
          </p:spPr>
          <p:txBody>
            <a:bodyPr wrap="square" lIns="71991" tIns="35995" rIns="71991" bIns="35995" rtlCol="0" anchor="ctr">
              <a:noAutofit/>
            </a:bodyPr>
            <a:lstStyle/>
            <a:p>
              <a:pPr marL="0" marR="0" lvl="0" indent="0" algn="ctr" defTabSz="914309"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rgbClr val="FFFFFF"/>
                  </a:solidFill>
                  <a:effectLst/>
                  <a:uLnTx/>
                  <a:uFillTx/>
                  <a:latin typeface="+mj-lt"/>
                  <a:ea typeface="+mn-ea"/>
                  <a:cs typeface="Calibri" panose="020F0502020204030204" pitchFamily="34" charset="0"/>
                </a:rPr>
                <a:t>Building and renovating in an energy &amp; resource efficient way</a:t>
              </a:r>
            </a:p>
          </p:txBody>
        </p:sp>
        <p:sp>
          <p:nvSpPr>
            <p:cNvPr id="17" name="Textfeld 20">
              <a:extLst>
                <a:ext uri="{FF2B5EF4-FFF2-40B4-BE49-F238E27FC236}">
                  <a16:creationId xmlns:a16="http://schemas.microsoft.com/office/drawing/2014/main" id="{643BF440-5375-FD0E-B7CA-051FEBF7CF24}"/>
                </a:ext>
              </a:extLst>
            </p:cNvPr>
            <p:cNvSpPr txBox="1"/>
            <p:nvPr/>
          </p:nvSpPr>
          <p:spPr bwMode="gray">
            <a:xfrm>
              <a:off x="6934448" y="4190871"/>
              <a:ext cx="2251872" cy="396367"/>
            </a:xfrm>
            <a:prstGeom prst="round2DiagRect">
              <a:avLst/>
            </a:prstGeom>
            <a:solidFill>
              <a:srgbClr val="233F67"/>
            </a:solidFill>
            <a:ln>
              <a:noFill/>
            </a:ln>
          </p:spPr>
          <p:txBody>
            <a:bodyPr wrap="square" lIns="71991" tIns="35995" rIns="71991" bIns="35995" rtlCol="0" anchor="ctr">
              <a:noAutofit/>
            </a:bodyPr>
            <a:lstStyle/>
            <a:p>
              <a:pPr marL="0" marR="0" lvl="0" indent="0" algn="ctr" defTabSz="914309"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rgbClr val="FFFFFF"/>
                  </a:solidFill>
                  <a:effectLst/>
                  <a:uLnTx/>
                  <a:uFillTx/>
                  <a:latin typeface="+mj-lt"/>
                  <a:ea typeface="+mn-ea"/>
                  <a:cs typeface="Calibri" panose="020F0502020204030204" pitchFamily="34" charset="0"/>
                </a:rPr>
                <a:t>Accelerating the shift to sustainable and smart mobility</a:t>
              </a:r>
            </a:p>
          </p:txBody>
        </p:sp>
        <p:grpSp>
          <p:nvGrpSpPr>
            <p:cNvPr id="18" name="Gruppieren 63">
              <a:extLst>
                <a:ext uri="{FF2B5EF4-FFF2-40B4-BE49-F238E27FC236}">
                  <a16:creationId xmlns:a16="http://schemas.microsoft.com/office/drawing/2014/main" id="{27D47CEC-3737-C398-983B-65449644D0AA}"/>
                </a:ext>
              </a:extLst>
            </p:cNvPr>
            <p:cNvGrpSpPr/>
            <p:nvPr/>
          </p:nvGrpSpPr>
          <p:grpSpPr bwMode="gray">
            <a:xfrm>
              <a:off x="3985254" y="5011162"/>
              <a:ext cx="3866311" cy="323958"/>
              <a:chOff x="1485896" y="4908142"/>
              <a:chExt cx="4552986" cy="495000"/>
            </a:xfrm>
            <a:solidFill>
              <a:srgbClr val="4472C4">
                <a:lumMod val="60000"/>
                <a:lumOff val="40000"/>
              </a:srgbClr>
            </a:solidFill>
          </p:grpSpPr>
          <p:sp>
            <p:nvSpPr>
              <p:cNvPr id="28" name="Rechteck: diagonal liegende Ecken abgerundet 21">
                <a:extLst>
                  <a:ext uri="{FF2B5EF4-FFF2-40B4-BE49-F238E27FC236}">
                    <a16:creationId xmlns:a16="http://schemas.microsoft.com/office/drawing/2014/main" id="{BF404389-9F69-A6FF-9553-5C5B3E32D717}"/>
                  </a:ext>
                </a:extLst>
              </p:cNvPr>
              <p:cNvSpPr/>
              <p:nvPr/>
            </p:nvSpPr>
            <p:spPr bwMode="gray">
              <a:xfrm>
                <a:off x="1485896" y="4908142"/>
                <a:ext cx="2160000" cy="495000"/>
              </a:xfrm>
              <a:prstGeom prst="rect">
                <a:avLst/>
              </a:prstGeom>
              <a:solidFill>
                <a:srgbClr val="898A8D"/>
              </a:solidFill>
              <a:ln w="12700" cap="flat" cmpd="sng" algn="ctr">
                <a:noFill/>
                <a:prstDash val="solid"/>
                <a:miter lim="800000"/>
              </a:ln>
              <a:effectLst/>
            </p:spPr>
            <p:txBody>
              <a:bodyPr lIns="71991" tIns="35995" rIns="71991" bIns="35995" rtlCol="0" anchor="ctr">
                <a:noAutofit/>
              </a:bodyPr>
              <a:lstStyle/>
              <a:p>
                <a:pPr marL="0" marR="0" lvl="0" indent="0" algn="ctr" defTabSz="914309"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rgbClr val="FFFFFF"/>
                    </a:solidFill>
                    <a:effectLst/>
                    <a:uLnTx/>
                    <a:uFillTx/>
                    <a:latin typeface="+mj-lt"/>
                    <a:ea typeface="+mn-ea"/>
                    <a:cs typeface="Calibri" panose="020F0502020204030204" pitchFamily="34" charset="0"/>
                  </a:rPr>
                  <a:t>Financing the transition</a:t>
                </a:r>
              </a:p>
            </p:txBody>
          </p:sp>
          <p:sp>
            <p:nvSpPr>
              <p:cNvPr id="29" name="Rechteck: diagonal liegende Ecken abgerundet 22">
                <a:extLst>
                  <a:ext uri="{FF2B5EF4-FFF2-40B4-BE49-F238E27FC236}">
                    <a16:creationId xmlns:a16="http://schemas.microsoft.com/office/drawing/2014/main" id="{DEE33913-691A-D9E0-4CD4-EBA64AE3AB48}"/>
                  </a:ext>
                </a:extLst>
              </p:cNvPr>
              <p:cNvSpPr/>
              <p:nvPr/>
            </p:nvSpPr>
            <p:spPr bwMode="gray">
              <a:xfrm>
                <a:off x="3878882" y="4908142"/>
                <a:ext cx="2160000" cy="495000"/>
              </a:xfrm>
              <a:prstGeom prst="rect">
                <a:avLst/>
              </a:prstGeom>
              <a:solidFill>
                <a:srgbClr val="898A8D"/>
              </a:solidFill>
              <a:ln w="12700" cap="flat" cmpd="sng" algn="ctr">
                <a:noFill/>
                <a:prstDash val="solid"/>
                <a:miter lim="800000"/>
              </a:ln>
              <a:effectLst/>
            </p:spPr>
            <p:txBody>
              <a:bodyPr lIns="71991" tIns="35995" rIns="71991" bIns="35995" rtlCol="0" anchor="ctr">
                <a:noAutofit/>
              </a:bodyPr>
              <a:lstStyle/>
              <a:p>
                <a:pPr marL="0" marR="0" lvl="0" indent="0" algn="ctr" defTabSz="914309"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rgbClr val="FFFFFF"/>
                    </a:solidFill>
                    <a:effectLst/>
                    <a:uLnTx/>
                    <a:uFillTx/>
                    <a:latin typeface="+mj-lt"/>
                    <a:ea typeface="+mn-ea"/>
                    <a:cs typeface="Calibri" panose="020F0502020204030204" pitchFamily="34" charset="0"/>
                  </a:rPr>
                  <a:t>Leave no one behind</a:t>
                </a:r>
              </a:p>
            </p:txBody>
          </p:sp>
        </p:grpSp>
        <p:sp>
          <p:nvSpPr>
            <p:cNvPr id="19" name="Rechteck 23">
              <a:extLst>
                <a:ext uri="{FF2B5EF4-FFF2-40B4-BE49-F238E27FC236}">
                  <a16:creationId xmlns:a16="http://schemas.microsoft.com/office/drawing/2014/main" id="{052AA129-7A86-5D6B-C2BF-EC5B4F43399E}"/>
                </a:ext>
              </a:extLst>
            </p:cNvPr>
            <p:cNvSpPr/>
            <p:nvPr/>
          </p:nvSpPr>
          <p:spPr bwMode="gray">
            <a:xfrm>
              <a:off x="2965394" y="5809290"/>
              <a:ext cx="2069870" cy="184642"/>
            </a:xfrm>
            <a:prstGeom prst="rect">
              <a:avLst/>
            </a:prstGeom>
            <a:noFill/>
            <a:ln w="12700" cap="flat" cmpd="sng" algn="ctr">
              <a:noFill/>
              <a:prstDash val="solid"/>
              <a:miter lim="800000"/>
            </a:ln>
            <a:effectLst/>
          </p:spPr>
          <p:txBody>
            <a:bodyPr lIns="0" tIns="0" rIns="0" bIns="0" rtlCol="0" anchor="ctr">
              <a:spAutoFit/>
            </a:bodyPr>
            <a:lstStyle/>
            <a:p>
              <a:pPr marL="0" marR="0" lvl="0" indent="0" algn="ctr" defTabSz="914309"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The EU as a global leader</a:t>
              </a:r>
            </a:p>
          </p:txBody>
        </p:sp>
        <p:sp>
          <p:nvSpPr>
            <p:cNvPr id="20" name="Rechteck 24">
              <a:extLst>
                <a:ext uri="{FF2B5EF4-FFF2-40B4-BE49-F238E27FC236}">
                  <a16:creationId xmlns:a16="http://schemas.microsoft.com/office/drawing/2014/main" id="{1624558D-104D-8B4D-E554-1202C939DB9F}"/>
                </a:ext>
              </a:extLst>
            </p:cNvPr>
            <p:cNvSpPr/>
            <p:nvPr/>
          </p:nvSpPr>
          <p:spPr bwMode="gray">
            <a:xfrm>
              <a:off x="6695228" y="5779201"/>
              <a:ext cx="1928240" cy="184642"/>
            </a:xfrm>
            <a:prstGeom prst="rect">
              <a:avLst/>
            </a:prstGeom>
            <a:noFill/>
            <a:ln w="12700" cap="flat" cmpd="sng" algn="ctr">
              <a:noFill/>
              <a:prstDash val="solid"/>
              <a:miter lim="800000"/>
            </a:ln>
            <a:effectLst/>
          </p:spPr>
          <p:txBody>
            <a:bodyPr lIns="0" tIns="0" rIns="0" bIns="0" rtlCol="0" anchor="ctr">
              <a:spAutoFit/>
            </a:bodyPr>
            <a:lstStyle/>
            <a:p>
              <a:pPr marL="0" marR="0" lvl="0" indent="0" algn="ctr" defTabSz="914309"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A European climate pact</a:t>
              </a:r>
            </a:p>
          </p:txBody>
        </p:sp>
        <p:sp>
          <p:nvSpPr>
            <p:cNvPr id="21" name="Textfeld 26">
              <a:extLst>
                <a:ext uri="{FF2B5EF4-FFF2-40B4-BE49-F238E27FC236}">
                  <a16:creationId xmlns:a16="http://schemas.microsoft.com/office/drawing/2014/main" id="{5B27C8CC-B72B-BBA5-F6C4-884509251A04}"/>
                </a:ext>
              </a:extLst>
            </p:cNvPr>
            <p:cNvSpPr txBox="1"/>
            <p:nvPr/>
          </p:nvSpPr>
          <p:spPr bwMode="gray">
            <a:xfrm>
              <a:off x="3702485" y="1019000"/>
              <a:ext cx="4234000" cy="492443"/>
            </a:xfrm>
            <a:prstGeom prst="rect">
              <a:avLst/>
            </a:prstGeom>
            <a:noFill/>
          </p:spPr>
          <p:txBody>
            <a:bodyPr wrap="square" lIns="0" tIns="0" rIns="0" bIns="0" rtlCol="0">
              <a:spAutoFit/>
            </a:bodyPr>
            <a:lstStyle/>
            <a:p>
              <a:pPr algn="ctr" defTabSz="914309">
                <a:buClrTx/>
                <a:buFontTx/>
                <a:buNone/>
                <a:defRPr/>
              </a:pPr>
              <a:r>
                <a:rPr lang="en-US" sz="1600" b="1" kern="1200">
                  <a:solidFill>
                    <a:schemeClr val="bg1"/>
                  </a:solidFill>
                  <a:latin typeface="Calibri" panose="020F0502020204030204" pitchFamily="34" charset="0"/>
                  <a:ea typeface="+mn-ea"/>
                  <a:cs typeface="Calibri" panose="020F0502020204030204" pitchFamily="34" charset="0"/>
                </a:rPr>
                <a:t>Transforming the EU‘s economy for a sustainable future</a:t>
              </a:r>
            </a:p>
          </p:txBody>
        </p:sp>
        <p:grpSp>
          <p:nvGrpSpPr>
            <p:cNvPr id="22" name="Gruppieren 2">
              <a:extLst>
                <a:ext uri="{FF2B5EF4-FFF2-40B4-BE49-F238E27FC236}">
                  <a16:creationId xmlns:a16="http://schemas.microsoft.com/office/drawing/2014/main" id="{34AED347-7BA6-76B9-69C8-CA41F4FA3022}"/>
                </a:ext>
              </a:extLst>
            </p:cNvPr>
            <p:cNvGrpSpPr/>
            <p:nvPr/>
          </p:nvGrpSpPr>
          <p:grpSpPr>
            <a:xfrm>
              <a:off x="5128348" y="2887145"/>
              <a:ext cx="1411912" cy="1411912"/>
              <a:chOff x="3028784" y="2695575"/>
              <a:chExt cx="1412096" cy="1412096"/>
            </a:xfrm>
          </p:grpSpPr>
          <p:sp>
            <p:nvSpPr>
              <p:cNvPr id="24" name="Ellipse 60">
                <a:extLst>
                  <a:ext uri="{FF2B5EF4-FFF2-40B4-BE49-F238E27FC236}">
                    <a16:creationId xmlns:a16="http://schemas.microsoft.com/office/drawing/2014/main" id="{23C67639-AD36-074D-F9F4-46217CD5D783}"/>
                  </a:ext>
                </a:extLst>
              </p:cNvPr>
              <p:cNvSpPr/>
              <p:nvPr/>
            </p:nvSpPr>
            <p:spPr bwMode="gray">
              <a:xfrm>
                <a:off x="3028784" y="2695575"/>
                <a:ext cx="1412096" cy="1412096"/>
              </a:xfrm>
              <a:prstGeom prst="ellipse">
                <a:avLst/>
              </a:prstGeom>
              <a:solidFill>
                <a:srgbClr val="233F67"/>
              </a:solidFill>
              <a:ln w="12700" cap="flat" cmpd="sng" algn="ctr">
                <a:noFill/>
                <a:prstDash val="solid"/>
                <a:miter lim="800000"/>
              </a:ln>
              <a:effectLst/>
            </p:spPr>
            <p:txBody>
              <a:bodyPr lIns="71991" tIns="35995" rIns="71991" bIns="35995" rtlCol="0" anchor="t"/>
              <a:lstStyle/>
              <a:p>
                <a:pPr marL="179982" marR="0" lvl="0" indent="-179982" defTabSz="914400" eaLnBrk="1" fontAlgn="auto" latinLnBrk="0" hangingPunct="1">
                  <a:lnSpc>
                    <a:spcPct val="100000"/>
                  </a:lnSpc>
                  <a:spcBef>
                    <a:spcPts val="600"/>
                  </a:spcBef>
                  <a:spcAft>
                    <a:spcPts val="0"/>
                  </a:spcAft>
                  <a:buClr>
                    <a:srgbClr val="4472C4"/>
                  </a:buClr>
                  <a:buSzTx/>
                  <a:buFont typeface="Wingdings" panose="05000000000000000000" pitchFamily="2" charset="2"/>
                  <a:buChar char="§"/>
                  <a:tabLst/>
                  <a:defRPr/>
                </a:pPr>
                <a:endParaRPr kumimoji="0" lang="de-DE" sz="12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5" name="Textfeld 62">
                <a:extLst>
                  <a:ext uri="{FF2B5EF4-FFF2-40B4-BE49-F238E27FC236}">
                    <a16:creationId xmlns:a16="http://schemas.microsoft.com/office/drawing/2014/main" id="{B993B566-3E51-607B-10CF-86C604885DED}"/>
                  </a:ext>
                </a:extLst>
              </p:cNvPr>
              <p:cNvSpPr txBox="1"/>
              <p:nvPr/>
            </p:nvSpPr>
            <p:spPr bwMode="gray">
              <a:xfrm>
                <a:off x="3352800" y="3008516"/>
                <a:ext cx="764064" cy="786216"/>
              </a:xfrm>
              <a:prstGeom prst="rect">
                <a:avLst/>
              </a:prstGeom>
              <a:noFill/>
            </p:spPr>
            <p:txBody>
              <a:bodyPr wrap="square" lIns="0" tIns="0" rIns="0" bIns="0" rtlCol="0" anchor="ctr">
                <a:spAutoFit/>
              </a:bodyPr>
              <a:lstStyle/>
              <a:p>
                <a:pPr marL="0" marR="0" lvl="0" indent="0" algn="ctr" defTabSz="914309"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mj-lt"/>
                    <a:ea typeface="+mn-ea"/>
                    <a:cs typeface="Calibri" panose="020F0502020204030204" pitchFamily="34" charset="0"/>
                  </a:rPr>
                  <a:t>The European Green Deal</a:t>
                </a:r>
              </a:p>
            </p:txBody>
          </p:sp>
          <p:sp>
            <p:nvSpPr>
              <p:cNvPr id="26" name="Bogen 61">
                <a:extLst>
                  <a:ext uri="{FF2B5EF4-FFF2-40B4-BE49-F238E27FC236}">
                    <a16:creationId xmlns:a16="http://schemas.microsoft.com/office/drawing/2014/main" id="{11FA212C-DC51-297B-15EF-F991D1840FC7}"/>
                  </a:ext>
                </a:extLst>
              </p:cNvPr>
              <p:cNvSpPr/>
              <p:nvPr/>
            </p:nvSpPr>
            <p:spPr bwMode="gray">
              <a:xfrm>
                <a:off x="3171659" y="2838450"/>
                <a:ext cx="1126346" cy="1126346"/>
              </a:xfrm>
              <a:prstGeom prst="arc">
                <a:avLst>
                  <a:gd name="adj1" fmla="val 9341225"/>
                  <a:gd name="adj2" fmla="val 5488117"/>
                </a:avLst>
              </a:prstGeom>
              <a:noFill/>
              <a:ln w="22225" cap="rnd" cmpd="sng" algn="ctr">
                <a:solidFill>
                  <a:sysClr val="window" lastClr="FFFFFF"/>
                </a:solidFill>
                <a:prstDash val="solid"/>
                <a:round/>
              </a:ln>
              <a:effectLst/>
            </p:spPr>
            <p:txBody>
              <a:bodyPr lIns="71991" tIns="35995" rIns="71991" bIns="35995" rtlCol="0" anchor="t"/>
              <a:lstStyle/>
              <a:p>
                <a:pPr marL="179982" marR="0" lvl="0" indent="-179982" defTabSz="914400" eaLnBrk="1" fontAlgn="auto" latinLnBrk="0" hangingPunct="1">
                  <a:lnSpc>
                    <a:spcPct val="100000"/>
                  </a:lnSpc>
                  <a:spcBef>
                    <a:spcPts val="600"/>
                  </a:spcBef>
                  <a:spcAft>
                    <a:spcPts val="0"/>
                  </a:spcAft>
                  <a:buClr>
                    <a:srgbClr val="4472C4"/>
                  </a:buClr>
                  <a:buSzTx/>
                  <a:buFont typeface="Wingdings" panose="05000000000000000000" pitchFamily="2" charset="2"/>
                  <a:buChar char="§"/>
                  <a:tabLst/>
                  <a:defRPr/>
                </a:pPr>
                <a:endParaRPr kumimoji="0" lang="de-DE" sz="12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pic>
            <p:nvPicPr>
              <p:cNvPr id="27" name="Grafik 3">
                <a:extLst>
                  <a:ext uri="{FF2B5EF4-FFF2-40B4-BE49-F238E27FC236}">
                    <a16:creationId xmlns:a16="http://schemas.microsoft.com/office/drawing/2014/main" id="{D278D7B9-E495-B7AF-44E9-8290D1AA9AF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gray">
              <a:xfrm rot="19735436" flipV="1">
                <a:off x="3245267" y="3528722"/>
                <a:ext cx="307958" cy="458784"/>
              </a:xfrm>
              <a:prstGeom prst="rect">
                <a:avLst/>
              </a:prstGeom>
            </p:spPr>
          </p:pic>
        </p:grpSp>
        <p:sp>
          <p:nvSpPr>
            <p:cNvPr id="23" name="Rechteck: diagonal liegende Ecken abgerundet 38">
              <a:extLst>
                <a:ext uri="{FF2B5EF4-FFF2-40B4-BE49-F238E27FC236}">
                  <a16:creationId xmlns:a16="http://schemas.microsoft.com/office/drawing/2014/main" id="{ADBFC159-90EF-CEF0-89B8-4F7B7E04B7DA}"/>
                </a:ext>
              </a:extLst>
            </p:cNvPr>
            <p:cNvSpPr/>
            <p:nvPr/>
          </p:nvSpPr>
          <p:spPr bwMode="gray">
            <a:xfrm>
              <a:off x="6767363" y="2053125"/>
              <a:ext cx="2043385" cy="528602"/>
            </a:xfrm>
            <a:prstGeom prst="round2DiagRect">
              <a:avLst/>
            </a:prstGeom>
            <a:solidFill>
              <a:srgbClr val="233F67"/>
            </a:solidFill>
            <a:ln w="12700" cap="flat" cmpd="sng" algn="ctr">
              <a:noFill/>
              <a:prstDash val="solid"/>
              <a:miter lim="800000"/>
            </a:ln>
            <a:effectLst/>
          </p:spPr>
          <p:txBody>
            <a:bodyPr lIns="71991" tIns="35995" rIns="71991" bIns="35995" rtlCol="0" anchor="ctr">
              <a:noAutofit/>
            </a:bodyPr>
            <a:lstStyle/>
            <a:p>
              <a:pPr marL="0" marR="0" lvl="0" indent="0" algn="ctr" defTabSz="914309"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rgbClr val="FFFFFF"/>
                  </a:solidFill>
                  <a:effectLst/>
                  <a:uLnTx/>
                  <a:uFillTx/>
                  <a:latin typeface="+mj-lt"/>
                  <a:ea typeface="+mn-ea"/>
                  <a:cs typeface="Calibri" panose="020F0502020204030204" pitchFamily="34" charset="0"/>
                </a:rPr>
                <a:t>A zero-pollution ambition for a toxic-free environment</a:t>
              </a:r>
            </a:p>
          </p:txBody>
        </p:sp>
      </p:grpSp>
      <p:sp>
        <p:nvSpPr>
          <p:cNvPr id="4" name="Fußzeilenplatzhalter 3">
            <a:extLst>
              <a:ext uri="{FF2B5EF4-FFF2-40B4-BE49-F238E27FC236}">
                <a16:creationId xmlns:a16="http://schemas.microsoft.com/office/drawing/2014/main" id="{ECF912E9-3AE3-4A6B-4641-AF8E52B69207}"/>
              </a:ext>
            </a:extLst>
          </p:cNvPr>
          <p:cNvSpPr txBox="1">
            <a:spLocks/>
          </p:cNvSpPr>
          <p:nvPr/>
        </p:nvSpPr>
        <p:spPr>
          <a:xfrm>
            <a:off x="1368178" y="6516000"/>
            <a:ext cx="5616000" cy="167933"/>
          </a:xfrm>
          <a:prstGeom prst="rect">
            <a:avLst/>
          </a:prstGeom>
        </p:spPr>
        <p:txBody>
          <a:bodyPr lIns="0" tIns="0" rIns="0" bIns="0"/>
          <a:ls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900">
                <a:latin typeface="Arial" panose="020B0604020202020204"/>
                <a:cs typeface="Arial"/>
              </a:rPr>
              <a:t>|  </a:t>
            </a:r>
            <a:r>
              <a:rPr lang="en-US" sz="900">
                <a:latin typeface="+mj-lt"/>
                <a:cs typeface="Calibri" panose="020F0502020204030204" pitchFamily="34" charset="0"/>
                <a:sym typeface="Calibri" panose="020F0502020204030204" pitchFamily="34" charset="0"/>
              </a:rPr>
              <a:t>Source: </a:t>
            </a:r>
            <a:r>
              <a:rPr lang="en-US" sz="900">
                <a:latin typeface="+mj-lt"/>
                <a:cs typeface="Calibri" panose="020F0502020204030204" pitchFamily="34" charset="0"/>
                <a:sym typeface="Calibri" panose="020F0502020204030204" pitchFamily="34" charset="0"/>
                <a:hlinkClick r:id="rId4">
                  <a:extLst>
                    <a:ext uri="{A12FA001-AC4F-418D-AE19-62706E023703}">
                      <ahyp:hlinkClr xmlns:ahyp="http://schemas.microsoft.com/office/drawing/2018/hyperlinkcolor" val="tx"/>
                    </a:ext>
                  </a:extLst>
                </a:hlinkClick>
              </a:rPr>
              <a:t>https://eur-lex.europa.eu/legal-content/EN/TXT/?uri=CELEX:52019DC0640</a:t>
            </a:r>
            <a:endParaRPr lang="en-US" sz="900">
              <a:latin typeface="+mj-lt"/>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6750180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3544D2-9BEB-7E5B-B726-8C673DF4FD7A}"/>
              </a:ext>
            </a:extLst>
          </p:cNvPr>
          <p:cNvSpPr>
            <a:spLocks noGrp="1"/>
          </p:cNvSpPr>
          <p:nvPr>
            <p:ph type="title"/>
          </p:nvPr>
        </p:nvSpPr>
        <p:spPr/>
        <p:txBody>
          <a:bodyPr/>
          <a:lstStyle/>
          <a:p>
            <a:r>
              <a:rPr lang="en-US" dirty="0"/>
              <a:t>Thank you!</a:t>
            </a:r>
          </a:p>
        </p:txBody>
      </p:sp>
      <p:sp>
        <p:nvSpPr>
          <p:cNvPr id="3" name="Content Placeholder 2">
            <a:extLst>
              <a:ext uri="{FF2B5EF4-FFF2-40B4-BE49-F238E27FC236}">
                <a16:creationId xmlns:a16="http://schemas.microsoft.com/office/drawing/2014/main" id="{99A5A5DC-74A1-2C59-2144-24FD36A0D973}"/>
              </a:ext>
            </a:extLst>
          </p:cNvPr>
          <p:cNvSpPr>
            <a:spLocks noGrp="1"/>
          </p:cNvSpPr>
          <p:nvPr>
            <p:ph idx="1"/>
          </p:nvPr>
        </p:nvSpPr>
        <p:spPr/>
        <p:txBody>
          <a:bodyPr>
            <a:normAutofit/>
          </a:bodyPr>
          <a:lstStyle/>
          <a:p>
            <a:pPr marL="1430338" indent="-1430338">
              <a:spcBef>
                <a:spcPts val="4200"/>
              </a:spcBef>
              <a:buNone/>
            </a:pPr>
            <a:r>
              <a:rPr lang="en-US" sz="2400" b="1" dirty="0"/>
              <a:t>Questions? Comments? Please connect with me</a:t>
            </a:r>
          </a:p>
          <a:p>
            <a:pPr marL="2008188" indent="-1425575">
              <a:spcBef>
                <a:spcPts val="4200"/>
              </a:spcBef>
              <a:buNone/>
            </a:pPr>
            <a:r>
              <a:rPr lang="en-US" dirty="0"/>
              <a:t>	</a:t>
            </a:r>
            <a:r>
              <a:rPr lang="en-US" sz="2400" dirty="0">
                <a:solidFill>
                  <a:schemeClr val="tx1">
                    <a:lumMod val="65000"/>
                    <a:lumOff val="35000"/>
                  </a:schemeClr>
                </a:solidFill>
                <a:cs typeface="Calibri" panose="020F0502020204030204" pitchFamily="34" charset="0"/>
                <a:hlinkClick r:id="rId3">
                  <a:extLst>
                    <a:ext uri="{A12FA001-AC4F-418D-AE19-62706E023703}">
                      <ahyp:hlinkClr xmlns:ahyp="http://schemas.microsoft.com/office/drawing/2018/hyperlinkcolor" val="tx"/>
                    </a:ext>
                  </a:extLst>
                </a:hlinkClick>
              </a:rPr>
              <a:t>/in/</a:t>
            </a:r>
            <a:r>
              <a:rPr lang="en-US" sz="2400" dirty="0" err="1">
                <a:solidFill>
                  <a:schemeClr val="tx1">
                    <a:lumMod val="65000"/>
                    <a:lumOff val="35000"/>
                  </a:schemeClr>
                </a:solidFill>
                <a:cs typeface="Calibri" panose="020F0502020204030204" pitchFamily="34" charset="0"/>
                <a:hlinkClick r:id="rId3">
                  <a:extLst>
                    <a:ext uri="{A12FA001-AC4F-418D-AE19-62706E023703}">
                      <ahyp:hlinkClr xmlns:ahyp="http://schemas.microsoft.com/office/drawing/2018/hyperlinkcolor" val="tx"/>
                    </a:ext>
                  </a:extLst>
                </a:hlinkClick>
              </a:rPr>
              <a:t>adrian</a:t>
            </a:r>
            <a:r>
              <a:rPr lang="en-US" sz="2400" dirty="0">
                <a:solidFill>
                  <a:schemeClr val="tx1">
                    <a:lumMod val="65000"/>
                    <a:lumOff val="35000"/>
                  </a:schemeClr>
                </a:solidFill>
                <a:cs typeface="Calibri" panose="020F0502020204030204" pitchFamily="34" charset="0"/>
                <a:hlinkClick r:id="rId3">
                  <a:extLst>
                    <a:ext uri="{A12FA001-AC4F-418D-AE19-62706E023703}">
                      <ahyp:hlinkClr xmlns:ahyp="http://schemas.microsoft.com/office/drawing/2018/hyperlinkcolor" val="tx"/>
                    </a:ext>
                  </a:extLst>
                </a:hlinkClick>
              </a:rPr>
              <a:t>-von-</a:t>
            </a:r>
            <a:r>
              <a:rPr lang="en-US" sz="2400" dirty="0" err="1">
                <a:solidFill>
                  <a:schemeClr val="tx1">
                    <a:lumMod val="65000"/>
                    <a:lumOff val="35000"/>
                  </a:schemeClr>
                </a:solidFill>
                <a:cs typeface="Calibri" panose="020F0502020204030204" pitchFamily="34" charset="0"/>
                <a:hlinkClick r:id="rId3">
                  <a:extLst>
                    <a:ext uri="{A12FA001-AC4F-418D-AE19-62706E023703}">
                      <ahyp:hlinkClr xmlns:ahyp="http://schemas.microsoft.com/office/drawing/2018/hyperlinkcolor" val="tx"/>
                    </a:ext>
                  </a:extLst>
                </a:hlinkClick>
              </a:rPr>
              <a:t>muehlenen</a:t>
            </a:r>
            <a:endParaRPr lang="en-US" sz="2400" dirty="0">
              <a:solidFill>
                <a:schemeClr val="tx1">
                  <a:lumMod val="65000"/>
                  <a:lumOff val="35000"/>
                </a:schemeClr>
              </a:solidFill>
              <a:cs typeface="Calibri" panose="020F0502020204030204" pitchFamily="34" charset="0"/>
            </a:endParaRPr>
          </a:p>
          <a:p>
            <a:pPr marL="2008188" indent="-1425575">
              <a:spcBef>
                <a:spcPts val="4200"/>
              </a:spcBef>
              <a:buNone/>
            </a:pPr>
            <a:r>
              <a:rPr lang="en-US" sz="2400" dirty="0">
                <a:solidFill>
                  <a:schemeClr val="tx1">
                    <a:lumMod val="65000"/>
                    <a:lumOff val="35000"/>
                  </a:schemeClr>
                </a:solidFill>
                <a:cs typeface="Calibri" panose="020F0502020204030204" pitchFamily="34" charset="0"/>
              </a:rPr>
              <a:t>	</a:t>
            </a:r>
            <a:r>
              <a:rPr lang="en-US" sz="2400" dirty="0">
                <a:solidFill>
                  <a:schemeClr val="tx1">
                    <a:lumMod val="65000"/>
                    <a:lumOff val="35000"/>
                  </a:schemeClr>
                </a:solidFill>
                <a:cs typeface="Calibri" panose="020F0502020204030204" pitchFamily="34" charset="0"/>
                <a:hlinkClick r:id="rId4">
                  <a:extLst>
                    <a:ext uri="{A12FA001-AC4F-418D-AE19-62706E023703}">
                      <ahyp:hlinkClr xmlns:ahyp="http://schemas.microsoft.com/office/drawing/2018/hyperlinkcolor" val="tx"/>
                    </a:ext>
                  </a:extLst>
                </a:hlinkClick>
              </a:rPr>
              <a:t>Book an appointment</a:t>
            </a:r>
            <a:endParaRPr lang="en-US" sz="2400" dirty="0">
              <a:solidFill>
                <a:schemeClr val="tx1">
                  <a:lumMod val="65000"/>
                  <a:lumOff val="35000"/>
                </a:schemeClr>
              </a:solidFill>
              <a:cs typeface="Calibri" panose="020F0502020204030204" pitchFamily="34" charset="0"/>
            </a:endParaRPr>
          </a:p>
          <a:p>
            <a:pPr marL="2008188" indent="-1425575">
              <a:spcBef>
                <a:spcPts val="4200"/>
              </a:spcBef>
              <a:buNone/>
            </a:pPr>
            <a:r>
              <a:rPr lang="en-US" sz="2400" dirty="0">
                <a:solidFill>
                  <a:schemeClr val="tx1">
                    <a:lumMod val="65000"/>
                    <a:lumOff val="35000"/>
                  </a:schemeClr>
                </a:solidFill>
                <a:cs typeface="Calibri" panose="020F0502020204030204" pitchFamily="34" charset="0"/>
              </a:rPr>
              <a:t>	</a:t>
            </a:r>
            <a:r>
              <a:rPr lang="en-US" sz="2400" dirty="0">
                <a:solidFill>
                  <a:schemeClr val="tx1">
                    <a:lumMod val="65000"/>
                    <a:lumOff val="35000"/>
                  </a:schemeClr>
                </a:solidFill>
                <a:cs typeface="Calibri" panose="020F0502020204030204" pitchFamily="34" charset="0"/>
                <a:hlinkClick r:id="rId5">
                  <a:extLst>
                    <a:ext uri="{A12FA001-AC4F-418D-AE19-62706E023703}">
                      <ahyp:hlinkClr xmlns:ahyp="http://schemas.microsoft.com/office/drawing/2018/hyperlinkcolor" val="tx"/>
                    </a:ext>
                  </a:extLst>
                </a:hlinkClick>
              </a:rPr>
              <a:t>adrian.von-muehlenen@basf-intertrade.com</a:t>
            </a:r>
            <a:r>
              <a:rPr lang="en-US" sz="2400" dirty="0">
                <a:solidFill>
                  <a:schemeClr val="tx1">
                    <a:lumMod val="65000"/>
                    <a:lumOff val="35000"/>
                  </a:schemeClr>
                </a:solidFill>
                <a:cs typeface="Calibri" panose="020F0502020204030204" pitchFamily="34" charset="0"/>
              </a:rPr>
              <a:t> </a:t>
            </a:r>
          </a:p>
          <a:p>
            <a:pPr marL="2008188" indent="-1425575">
              <a:spcBef>
                <a:spcPts val="4200"/>
              </a:spcBef>
              <a:buNone/>
            </a:pPr>
            <a:r>
              <a:rPr lang="en-US" sz="2400" dirty="0"/>
              <a:t>	</a:t>
            </a:r>
            <a:r>
              <a:rPr lang="en-US" sz="2400" dirty="0">
                <a:solidFill>
                  <a:schemeClr val="tx1">
                    <a:lumMod val="65000"/>
                    <a:lumOff val="35000"/>
                  </a:schemeClr>
                </a:solidFill>
                <a:cs typeface="Calibri" panose="020F0502020204030204" pitchFamily="34" charset="0"/>
                <a:hlinkClick r:id="rId6">
                  <a:extLst>
                    <a:ext uri="{A12FA001-AC4F-418D-AE19-62706E023703}">
                      <ahyp:hlinkClr xmlns:ahyp="http://schemas.microsoft.com/office/drawing/2018/hyperlinkcolor" val="tx"/>
                    </a:ext>
                  </a:extLst>
                </a:hlinkClick>
              </a:rPr>
              <a:t>+49 172 86 99 530</a:t>
            </a:r>
            <a:endParaRPr lang="en-US" sz="2400" dirty="0">
              <a:solidFill>
                <a:schemeClr val="tx1">
                  <a:lumMod val="65000"/>
                  <a:lumOff val="35000"/>
                </a:schemeClr>
              </a:solidFill>
              <a:cs typeface="Calibri" panose="020F0502020204030204" pitchFamily="34" charset="0"/>
            </a:endParaRPr>
          </a:p>
        </p:txBody>
      </p:sp>
      <p:sp>
        <p:nvSpPr>
          <p:cNvPr id="4" name="Slide Number Placeholder 3">
            <a:extLst>
              <a:ext uri="{FF2B5EF4-FFF2-40B4-BE49-F238E27FC236}">
                <a16:creationId xmlns:a16="http://schemas.microsoft.com/office/drawing/2014/main" id="{A87AF5BD-765C-9759-961D-8E0B26DEC8C7}"/>
              </a:ext>
            </a:extLst>
          </p:cNvPr>
          <p:cNvSpPr>
            <a:spLocks noGrp="1"/>
          </p:cNvSpPr>
          <p:nvPr>
            <p:ph type="sldNum" sz="quarter" idx="12"/>
          </p:nvPr>
        </p:nvSpPr>
        <p:spPr>
          <a:prstGeom prst="rect">
            <a:avLst/>
          </a:prstGeom>
        </p:spPr>
        <p:txBody>
          <a:bodyPr/>
          <a:lstStyle/>
          <a:p>
            <a:fld id="{35AFA7E9-6F91-124E-B527-A4D8067F934A}" type="slidenum">
              <a:rPr lang="en-US" smtClean="0"/>
              <a:pPr/>
              <a:t>40</a:t>
            </a:fld>
            <a:endParaRPr lang="en-US" dirty="0"/>
          </a:p>
        </p:txBody>
      </p:sp>
      <p:pic>
        <p:nvPicPr>
          <p:cNvPr id="14" name="Picture 13" descr="A qr code on a white background&#10;&#10;Description automatically generated">
            <a:extLst>
              <a:ext uri="{FF2B5EF4-FFF2-40B4-BE49-F238E27FC236}">
                <a16:creationId xmlns:a16="http://schemas.microsoft.com/office/drawing/2014/main" id="{9DFBAF12-CB52-BA30-8D05-C98BBCDB895D}"/>
              </a:ext>
            </a:extLst>
          </p:cNvPr>
          <p:cNvPicPr>
            <a:picLocks noChangeAspect="1"/>
          </p:cNvPicPr>
          <p:nvPr/>
        </p:nvPicPr>
        <p:blipFill>
          <a:blip r:embed="rId7"/>
          <a:stretch>
            <a:fillRect/>
          </a:stretch>
        </p:blipFill>
        <p:spPr>
          <a:xfrm>
            <a:off x="10413103" y="681037"/>
            <a:ext cx="1516267" cy="1516267"/>
          </a:xfrm>
          <a:prstGeom prst="rect">
            <a:avLst/>
          </a:prstGeom>
        </p:spPr>
      </p:pic>
      <p:pic>
        <p:nvPicPr>
          <p:cNvPr id="6" name="Graphic 5">
            <a:extLst>
              <a:ext uri="{FF2B5EF4-FFF2-40B4-BE49-F238E27FC236}">
                <a16:creationId xmlns:a16="http://schemas.microsoft.com/office/drawing/2014/main" id="{11ED38A2-85F9-F648-D3FF-93C8E82BC86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8200" y="5308525"/>
            <a:ext cx="792000" cy="792000"/>
          </a:xfrm>
          <a:prstGeom prst="rect">
            <a:avLst/>
          </a:prstGeom>
        </p:spPr>
      </p:pic>
      <p:pic>
        <p:nvPicPr>
          <p:cNvPr id="8" name="Graphic 7">
            <a:extLst>
              <a:ext uri="{FF2B5EF4-FFF2-40B4-BE49-F238E27FC236}">
                <a16:creationId xmlns:a16="http://schemas.microsoft.com/office/drawing/2014/main" id="{A420BA2D-4EA3-044D-1491-74E9B33C448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8200" y="4415272"/>
            <a:ext cx="792000" cy="792000"/>
          </a:xfrm>
          <a:prstGeom prst="rect">
            <a:avLst/>
          </a:prstGeom>
        </p:spPr>
      </p:pic>
      <p:pic>
        <p:nvPicPr>
          <p:cNvPr id="10" name="Graphic 9">
            <a:extLst>
              <a:ext uri="{FF2B5EF4-FFF2-40B4-BE49-F238E27FC236}">
                <a16:creationId xmlns:a16="http://schemas.microsoft.com/office/drawing/2014/main" id="{3CC942C8-6724-5A6B-52D3-9523BC3D150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38200" y="2544173"/>
            <a:ext cx="792000" cy="792000"/>
          </a:xfrm>
          <a:prstGeom prst="rect">
            <a:avLst/>
          </a:prstGeom>
        </p:spPr>
      </p:pic>
      <p:pic>
        <p:nvPicPr>
          <p:cNvPr id="11" name="Graphic 10">
            <a:extLst>
              <a:ext uri="{FF2B5EF4-FFF2-40B4-BE49-F238E27FC236}">
                <a16:creationId xmlns:a16="http://schemas.microsoft.com/office/drawing/2014/main" id="{2648935F-5B23-2BD8-EEBA-7E514CF5C77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38199" y="3437425"/>
            <a:ext cx="876595" cy="876595"/>
          </a:xfrm>
          <a:prstGeom prst="rect">
            <a:avLst/>
          </a:prstGeom>
        </p:spPr>
      </p:pic>
    </p:spTree>
    <p:extLst>
      <p:ext uri="{BB962C8B-B14F-4D97-AF65-F5344CB8AC3E}">
        <p14:creationId xmlns:p14="http://schemas.microsoft.com/office/powerpoint/2010/main" val="41080169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3B20C32-76DC-8BC5-6597-7487518B35DE}"/>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5D8B96A5-E1D7-454B-BFDF-E714B7BF1A08}"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3" name="Slide Number Placeholder 2">
            <a:extLst>
              <a:ext uri="{FF2B5EF4-FFF2-40B4-BE49-F238E27FC236}">
                <a16:creationId xmlns:a16="http://schemas.microsoft.com/office/drawing/2014/main" id="{AF364FB0-8A9A-70CF-9ABC-910998B9505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5</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pic>
        <p:nvPicPr>
          <p:cNvPr id="12" name="Picture 11" descr="A screenshot of a computer screen&#10;&#10;Description automatically generated">
            <a:extLst>
              <a:ext uri="{FF2B5EF4-FFF2-40B4-BE49-F238E27FC236}">
                <a16:creationId xmlns:a16="http://schemas.microsoft.com/office/drawing/2014/main" id="{34BBEAF2-E1D8-C50D-63FE-EFD1AE6F46BD}"/>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Lst>
          </a:blip>
          <a:srcRect b="63175"/>
          <a:stretch>
            <a:fillRect/>
          </a:stretch>
        </p:blipFill>
        <p:spPr>
          <a:xfrm>
            <a:off x="-43606" y="0"/>
            <a:ext cx="12191999" cy="6858001"/>
          </a:xfrm>
          <a:custGeom>
            <a:avLst/>
            <a:gdLst>
              <a:gd name="connsiteX0" fmla="*/ 0 w 12191999"/>
              <a:gd name="connsiteY0" fmla="*/ 0 h 6858001"/>
              <a:gd name="connsiteX1" fmla="*/ 12191999 w 12191999"/>
              <a:gd name="connsiteY1" fmla="*/ 0 h 6858001"/>
              <a:gd name="connsiteX2" fmla="*/ 12191999 w 12191999"/>
              <a:gd name="connsiteY2" fmla="*/ 6858001 h 6858001"/>
              <a:gd name="connsiteX3" fmla="*/ 0 w 12191999"/>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1999" h="6858001">
                <a:moveTo>
                  <a:pt x="0" y="0"/>
                </a:moveTo>
                <a:lnTo>
                  <a:pt x="12191999" y="0"/>
                </a:lnTo>
                <a:lnTo>
                  <a:pt x="12191999" y="6858001"/>
                </a:lnTo>
                <a:lnTo>
                  <a:pt x="0" y="6858001"/>
                </a:lnTo>
                <a:close/>
              </a:path>
            </a:pathLst>
          </a:custGeom>
        </p:spPr>
      </p:pic>
      <p:sp>
        <p:nvSpPr>
          <p:cNvPr id="15" name="Rounded Rectangle 14">
            <a:extLst>
              <a:ext uri="{FF2B5EF4-FFF2-40B4-BE49-F238E27FC236}">
                <a16:creationId xmlns:a16="http://schemas.microsoft.com/office/drawing/2014/main" id="{20D3760D-B3C2-60C2-977F-9FB2F6862F73}"/>
              </a:ext>
            </a:extLst>
          </p:cNvPr>
          <p:cNvSpPr/>
          <p:nvPr/>
        </p:nvSpPr>
        <p:spPr>
          <a:xfrm>
            <a:off x="7751804" y="4098324"/>
            <a:ext cx="757881" cy="350108"/>
          </a:xfrm>
          <a:prstGeom prst="roundRect">
            <a:avLst/>
          </a:prstGeom>
          <a:no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Group 18">
            <a:extLst>
              <a:ext uri="{FF2B5EF4-FFF2-40B4-BE49-F238E27FC236}">
                <a16:creationId xmlns:a16="http://schemas.microsoft.com/office/drawing/2014/main" id="{1D1188DE-5D5A-7BED-3E0D-01263B7E3862}"/>
              </a:ext>
            </a:extLst>
          </p:cNvPr>
          <p:cNvGrpSpPr/>
          <p:nvPr/>
        </p:nvGrpSpPr>
        <p:grpSpPr>
          <a:xfrm>
            <a:off x="5620457" y="2095703"/>
            <a:ext cx="2856888" cy="2494327"/>
            <a:chOff x="5620457" y="2095703"/>
            <a:chExt cx="2856888" cy="2494327"/>
          </a:xfrm>
        </p:grpSpPr>
        <p:sp>
          <p:nvSpPr>
            <p:cNvPr id="16" name="Rounded Rectangle 15">
              <a:extLst>
                <a:ext uri="{FF2B5EF4-FFF2-40B4-BE49-F238E27FC236}">
                  <a16:creationId xmlns:a16="http://schemas.microsoft.com/office/drawing/2014/main" id="{DF35D6C3-908C-584B-6118-9104D8851F99}"/>
                </a:ext>
              </a:extLst>
            </p:cNvPr>
            <p:cNvSpPr/>
            <p:nvPr/>
          </p:nvSpPr>
          <p:spPr>
            <a:xfrm>
              <a:off x="7751805" y="2555906"/>
              <a:ext cx="725540" cy="417020"/>
            </a:xfrm>
            <a:prstGeom prst="roundRect">
              <a:avLst/>
            </a:prstGeom>
            <a:noFill/>
            <a:ln w="31750">
              <a:solidFill>
                <a:srgbClr val="F395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ounded Rectangle 16">
              <a:extLst>
                <a:ext uri="{FF2B5EF4-FFF2-40B4-BE49-F238E27FC236}">
                  <a16:creationId xmlns:a16="http://schemas.microsoft.com/office/drawing/2014/main" id="{C910D192-989A-6FF0-98FF-9268C09D90CD}"/>
                </a:ext>
              </a:extLst>
            </p:cNvPr>
            <p:cNvSpPr/>
            <p:nvPr/>
          </p:nvSpPr>
          <p:spPr>
            <a:xfrm>
              <a:off x="7751805" y="2095703"/>
              <a:ext cx="725540" cy="345700"/>
            </a:xfrm>
            <a:prstGeom prst="roundRect">
              <a:avLst/>
            </a:prstGeom>
            <a:noFill/>
            <a:ln w="31750">
              <a:solidFill>
                <a:srgbClr val="F395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ed Rectangle 17">
              <a:extLst>
                <a:ext uri="{FF2B5EF4-FFF2-40B4-BE49-F238E27FC236}">
                  <a16:creationId xmlns:a16="http://schemas.microsoft.com/office/drawing/2014/main" id="{CB9BC29C-60D5-BBEF-6BC2-CF71F03F0C98}"/>
                </a:ext>
              </a:extLst>
            </p:cNvPr>
            <p:cNvSpPr/>
            <p:nvPr/>
          </p:nvSpPr>
          <p:spPr>
            <a:xfrm>
              <a:off x="5620457" y="4239922"/>
              <a:ext cx="725540" cy="350108"/>
            </a:xfrm>
            <a:prstGeom prst="roundRect">
              <a:avLst/>
            </a:prstGeom>
            <a:noFill/>
            <a:ln w="31750">
              <a:solidFill>
                <a:srgbClr val="F395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9014166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3E837E-497B-5678-25C5-9210D94CF411}"/>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5D8B96A5-E1D7-454B-BFDF-E714B7BF1A08}"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3" name="Slide Number Placeholder 2">
            <a:extLst>
              <a:ext uri="{FF2B5EF4-FFF2-40B4-BE49-F238E27FC236}">
                <a16:creationId xmlns:a16="http://schemas.microsoft.com/office/drawing/2014/main" id="{62A482C3-204B-C52D-CB9B-FF6798629DF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6</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pic>
        <p:nvPicPr>
          <p:cNvPr id="4" name="Picture 3" descr="A screenshot of a computer screen&#10;&#10;Description automatically generated">
            <a:extLst>
              <a:ext uri="{FF2B5EF4-FFF2-40B4-BE49-F238E27FC236}">
                <a16:creationId xmlns:a16="http://schemas.microsoft.com/office/drawing/2014/main" id="{9981C83F-366A-7816-B046-2897DD3AAD32}"/>
              </a:ext>
            </a:extLst>
          </p:cNvPr>
          <p:cNvPicPr>
            <a:picLocks noChangeAspect="1"/>
          </p:cNvPicPr>
          <p:nvPr/>
        </p:nvPicPr>
        <p:blipFill>
          <a:blip r:embed="rId2">
            <a:extLst>
              <a:ext uri="{28A0092B-C50C-407E-A947-70E740481C1C}">
                <a14:useLocalDpi xmlns:a14="http://schemas.microsoft.com/office/drawing/2010/main" val="0"/>
              </a:ext>
            </a:extLst>
          </a:blip>
          <a:srcRect t="36825" b="26351"/>
          <a:stretch>
            <a:fillRect/>
          </a:stretch>
        </p:blipFill>
        <p:spPr>
          <a:xfrm>
            <a:off x="0" y="0"/>
            <a:ext cx="12192000" cy="6857999"/>
          </a:xfrm>
          <a:custGeom>
            <a:avLst/>
            <a:gdLst>
              <a:gd name="connsiteX0" fmla="*/ 0 w 12192000"/>
              <a:gd name="connsiteY0" fmla="*/ 0 h 6857999"/>
              <a:gd name="connsiteX1" fmla="*/ 12192000 w 12192000"/>
              <a:gd name="connsiteY1" fmla="*/ 0 h 6857999"/>
              <a:gd name="connsiteX2" fmla="*/ 12192000 w 12192000"/>
              <a:gd name="connsiteY2" fmla="*/ 6857999 h 6857999"/>
              <a:gd name="connsiteX3" fmla="*/ 0 w 12192000"/>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2000" h="6857999">
                <a:moveTo>
                  <a:pt x="0" y="0"/>
                </a:moveTo>
                <a:lnTo>
                  <a:pt x="12192000" y="0"/>
                </a:lnTo>
                <a:lnTo>
                  <a:pt x="12192000" y="6857999"/>
                </a:lnTo>
                <a:lnTo>
                  <a:pt x="0" y="6857999"/>
                </a:lnTo>
                <a:close/>
              </a:path>
            </a:pathLst>
          </a:custGeom>
        </p:spPr>
      </p:pic>
      <p:sp>
        <p:nvSpPr>
          <p:cNvPr id="6" name="Rounded Rectangle 5">
            <a:extLst>
              <a:ext uri="{FF2B5EF4-FFF2-40B4-BE49-F238E27FC236}">
                <a16:creationId xmlns:a16="http://schemas.microsoft.com/office/drawing/2014/main" id="{774ED880-6C5B-F5C5-413A-CFBA8C1188A5}"/>
              </a:ext>
            </a:extLst>
          </p:cNvPr>
          <p:cNvSpPr/>
          <p:nvPr/>
        </p:nvSpPr>
        <p:spPr>
          <a:xfrm>
            <a:off x="5666952" y="6546997"/>
            <a:ext cx="725540" cy="350108"/>
          </a:xfrm>
          <a:prstGeom prst="roundRect">
            <a:avLst/>
          </a:prstGeom>
          <a:noFill/>
          <a:ln w="31750">
            <a:solidFill>
              <a:srgbClr val="F395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322946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7DCFCB7-35BB-96FD-5579-F5AAE159BE89}"/>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5D8B96A5-E1D7-454B-BFDF-E714B7BF1A08}"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3" name="Slide Number Placeholder 2">
            <a:extLst>
              <a:ext uri="{FF2B5EF4-FFF2-40B4-BE49-F238E27FC236}">
                <a16:creationId xmlns:a16="http://schemas.microsoft.com/office/drawing/2014/main" id="{FEBA9375-6BF6-595D-447D-1B28DEB243B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7</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pic>
        <p:nvPicPr>
          <p:cNvPr id="9" name="Picture 8" descr="A screenshot of a computer screen&#10;&#10;Description automatically generated">
            <a:extLst>
              <a:ext uri="{FF2B5EF4-FFF2-40B4-BE49-F238E27FC236}">
                <a16:creationId xmlns:a16="http://schemas.microsoft.com/office/drawing/2014/main" id="{FCB46496-A684-D37A-B80A-3D1B6D83E8F7}"/>
              </a:ext>
            </a:extLst>
          </p:cNvPr>
          <p:cNvPicPr>
            <a:picLocks noChangeAspect="1"/>
          </p:cNvPicPr>
          <p:nvPr/>
        </p:nvPicPr>
        <p:blipFill>
          <a:blip r:embed="rId2">
            <a:extLst>
              <a:ext uri="{28A0092B-C50C-407E-A947-70E740481C1C}">
                <a14:useLocalDpi xmlns:a14="http://schemas.microsoft.com/office/drawing/2010/main" val="0"/>
              </a:ext>
            </a:extLst>
          </a:blip>
          <a:srcRect t="73524"/>
          <a:stretch>
            <a:fillRect/>
          </a:stretch>
        </p:blipFill>
        <p:spPr>
          <a:xfrm>
            <a:off x="-20702" y="0"/>
            <a:ext cx="12212702" cy="4939030"/>
          </a:xfrm>
          <a:custGeom>
            <a:avLst/>
            <a:gdLst>
              <a:gd name="connsiteX0" fmla="*/ 0 w 12212702"/>
              <a:gd name="connsiteY0" fmla="*/ 0 h 4939030"/>
              <a:gd name="connsiteX1" fmla="*/ 12212702 w 12212702"/>
              <a:gd name="connsiteY1" fmla="*/ 0 h 4939030"/>
              <a:gd name="connsiteX2" fmla="*/ 12212702 w 12212702"/>
              <a:gd name="connsiteY2" fmla="*/ 4939030 h 4939030"/>
              <a:gd name="connsiteX3" fmla="*/ 0 w 12212702"/>
              <a:gd name="connsiteY3" fmla="*/ 4939030 h 4939030"/>
            </a:gdLst>
            <a:ahLst/>
            <a:cxnLst>
              <a:cxn ang="0">
                <a:pos x="connsiteX0" y="connsiteY0"/>
              </a:cxn>
              <a:cxn ang="0">
                <a:pos x="connsiteX1" y="connsiteY1"/>
              </a:cxn>
              <a:cxn ang="0">
                <a:pos x="connsiteX2" y="connsiteY2"/>
              </a:cxn>
              <a:cxn ang="0">
                <a:pos x="connsiteX3" y="connsiteY3"/>
              </a:cxn>
            </a:cxnLst>
            <a:rect l="l" t="t" r="r" b="b"/>
            <a:pathLst>
              <a:path w="12212702" h="4939030">
                <a:moveTo>
                  <a:pt x="0" y="0"/>
                </a:moveTo>
                <a:lnTo>
                  <a:pt x="12212702" y="0"/>
                </a:lnTo>
                <a:lnTo>
                  <a:pt x="12212702" y="4939030"/>
                </a:lnTo>
                <a:lnTo>
                  <a:pt x="0" y="4939030"/>
                </a:lnTo>
                <a:close/>
              </a:path>
            </a:pathLst>
          </a:custGeom>
        </p:spPr>
      </p:pic>
      <p:sp>
        <p:nvSpPr>
          <p:cNvPr id="10" name="Fußzeilenplatzhalter 3">
            <a:extLst>
              <a:ext uri="{FF2B5EF4-FFF2-40B4-BE49-F238E27FC236}">
                <a16:creationId xmlns:a16="http://schemas.microsoft.com/office/drawing/2014/main" id="{16FFDB66-8E08-9FFB-9B79-D1A9967049CA}"/>
              </a:ext>
            </a:extLst>
          </p:cNvPr>
          <p:cNvSpPr txBox="1">
            <a:spLocks/>
          </p:cNvSpPr>
          <p:nvPr/>
        </p:nvSpPr>
        <p:spPr>
          <a:xfrm>
            <a:off x="1368178" y="6516000"/>
            <a:ext cx="7718672" cy="167933"/>
          </a:xfrm>
          <a:prstGeom prst="rect">
            <a:avLst/>
          </a:prstGeom>
        </p:spPr>
        <p:txBody>
          <a:bodyPr lIns="0" tIns="0" rIns="0" bIns="0"/>
          <a:ls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900">
                <a:latin typeface="Arial" panose="020B0604020202020204"/>
                <a:cs typeface="Arial"/>
              </a:rPr>
              <a:t>|  </a:t>
            </a:r>
            <a:r>
              <a:rPr lang="en-US" sz="900">
                <a:latin typeface="+mj-lt"/>
                <a:cs typeface="Calibri" panose="020F0502020204030204" pitchFamily="34" charset="0"/>
                <a:sym typeface="Calibri" panose="020F0502020204030204" pitchFamily="34" charset="0"/>
              </a:rPr>
              <a:t>Sources: </a:t>
            </a:r>
            <a:r>
              <a:rPr lang="en-US" sz="900">
                <a:latin typeface="+mj-lt"/>
                <a:cs typeface="Calibri" panose="020F0502020204030204" pitchFamily="34" charset="0"/>
                <a:sym typeface="Calibri" panose="020F0502020204030204" pitchFamily="34" charset="0"/>
                <a:hlinkClick r:id="rId3">
                  <a:extLst>
                    <a:ext uri="{A12FA001-AC4F-418D-AE19-62706E023703}">
                      <ahyp:hlinkClr xmlns:ahyp="http://schemas.microsoft.com/office/drawing/2018/hyperlinkcolor" val="tx"/>
                    </a:ext>
                  </a:extLst>
                </a:hlinkClick>
              </a:rPr>
              <a:t>https://www.circulaw.nl/European_green_deal.pdf</a:t>
            </a:r>
            <a:r>
              <a:rPr lang="en-US" sz="900">
                <a:latin typeface="+mj-lt"/>
                <a:cs typeface="Calibri" panose="020F0502020204030204" pitchFamily="34" charset="0"/>
                <a:sym typeface="Calibri" panose="020F0502020204030204" pitchFamily="34" charset="0"/>
              </a:rPr>
              <a:t>             </a:t>
            </a:r>
            <a:r>
              <a:rPr lang="en-US" sz="900">
                <a:latin typeface="+mj-lt"/>
                <a:cs typeface="Calibri" panose="020F0502020204030204" pitchFamily="34" charset="0"/>
                <a:sym typeface="Calibri" panose="020F0502020204030204" pitchFamily="34" charset="0"/>
                <a:hlinkClick r:id="rId4">
                  <a:extLst>
                    <a:ext uri="{A12FA001-AC4F-418D-AE19-62706E023703}">
                      <ahyp:hlinkClr xmlns:ahyp="http://schemas.microsoft.com/office/drawing/2018/hyperlinkcolor" val="tx"/>
                    </a:ext>
                  </a:extLst>
                </a:hlinkClick>
              </a:rPr>
              <a:t>https://www.europarl.europa.eu/legislative-train/theme-a-european-green-deal</a:t>
            </a:r>
            <a:r>
              <a:rPr lang="en-US" sz="900">
                <a:latin typeface="+mj-lt"/>
                <a:cs typeface="Calibri" panose="020F0502020204030204" pitchFamily="34" charset="0"/>
                <a:sym typeface="Calibri" panose="020F0502020204030204" pitchFamily="34" charset="0"/>
              </a:rPr>
              <a:t>  </a:t>
            </a:r>
          </a:p>
        </p:txBody>
      </p:sp>
    </p:spTree>
    <p:extLst>
      <p:ext uri="{BB962C8B-B14F-4D97-AF65-F5344CB8AC3E}">
        <p14:creationId xmlns:p14="http://schemas.microsoft.com/office/powerpoint/2010/main" val="34417974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C7C61FEE-2707-828E-BB64-26F637B21B9B}"/>
              </a:ext>
            </a:extLst>
          </p:cNvPr>
          <p:cNvSpPr>
            <a:spLocks noGrp="1"/>
          </p:cNvSpPr>
          <p:nvPr>
            <p:ph type="title"/>
          </p:nvPr>
        </p:nvSpPr>
        <p:spPr/>
        <p:txBody>
          <a:bodyPr/>
          <a:lstStyle/>
          <a:p>
            <a:r>
              <a:rPr lang="en-US"/>
              <a:t>EU Green Deal Initiatives Requiring DPPs </a:t>
            </a:r>
            <a:r>
              <a:rPr lang="en-US" sz="2000" b="0"/>
              <a:t>(5 out of 168) </a:t>
            </a:r>
          </a:p>
        </p:txBody>
      </p:sp>
      <p:sp>
        <p:nvSpPr>
          <p:cNvPr id="2" name="Date Placeholder 1">
            <a:extLst>
              <a:ext uri="{FF2B5EF4-FFF2-40B4-BE49-F238E27FC236}">
                <a16:creationId xmlns:a16="http://schemas.microsoft.com/office/drawing/2014/main" id="{32C8586D-B8F1-1D48-EFE4-806CE0A3AF61}"/>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5D8B96A5-E1D7-454B-BFDF-E714B7BF1A08}"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3" name="Slide Number Placeholder 2">
            <a:extLst>
              <a:ext uri="{FF2B5EF4-FFF2-40B4-BE49-F238E27FC236}">
                <a16:creationId xmlns:a16="http://schemas.microsoft.com/office/drawing/2014/main" id="{ABCBAF45-7D8A-EEC0-F8B3-AA104FBED10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8</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
        <p:nvSpPr>
          <p:cNvPr id="36" name="Oval 35">
            <a:extLst>
              <a:ext uri="{FF2B5EF4-FFF2-40B4-BE49-F238E27FC236}">
                <a16:creationId xmlns:a16="http://schemas.microsoft.com/office/drawing/2014/main" id="{51300391-E97B-3C65-122C-20D8A404AAE3}"/>
              </a:ext>
            </a:extLst>
          </p:cNvPr>
          <p:cNvSpPr/>
          <p:nvPr/>
        </p:nvSpPr>
        <p:spPr>
          <a:xfrm>
            <a:off x="675413" y="4931710"/>
            <a:ext cx="208423" cy="208423"/>
          </a:xfrm>
          <a:prstGeom prst="ellipse">
            <a:avLst/>
          </a:prstGeom>
          <a:solidFill>
            <a:srgbClr val="F26330"/>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C15E02A9-C944-F453-03C1-F1097C2C5017}"/>
              </a:ext>
            </a:extLst>
          </p:cNvPr>
          <p:cNvSpPr/>
          <p:nvPr/>
        </p:nvSpPr>
        <p:spPr>
          <a:xfrm>
            <a:off x="675413" y="5290002"/>
            <a:ext cx="208423" cy="208423"/>
          </a:xfrm>
          <a:prstGeom prst="ellipse">
            <a:avLst/>
          </a:prstGeom>
          <a:solidFill>
            <a:srgbClr val="FAA026"/>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65D06F1F-2FB4-966D-108D-818BCE321034}"/>
              </a:ext>
            </a:extLst>
          </p:cNvPr>
          <p:cNvSpPr/>
          <p:nvPr/>
        </p:nvSpPr>
        <p:spPr>
          <a:xfrm>
            <a:off x="675413" y="5638373"/>
            <a:ext cx="208423" cy="208423"/>
          </a:xfrm>
          <a:prstGeom prst="ellipse">
            <a:avLst/>
          </a:prstGeom>
          <a:solidFill>
            <a:srgbClr val="FBDAC9"/>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E9473108-697D-FC4B-1BA1-F6C7B3F5875A}"/>
              </a:ext>
            </a:extLst>
          </p:cNvPr>
          <p:cNvSpPr/>
          <p:nvPr/>
        </p:nvSpPr>
        <p:spPr>
          <a:xfrm>
            <a:off x="3758084" y="4936380"/>
            <a:ext cx="208423" cy="208423"/>
          </a:xfrm>
          <a:prstGeom prst="ellipse">
            <a:avLst/>
          </a:prstGeom>
          <a:solidFill>
            <a:srgbClr val="002F34"/>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9F205947-AE91-4AE3-C409-C3F0C7B9B5AC}"/>
              </a:ext>
            </a:extLst>
          </p:cNvPr>
          <p:cNvSpPr/>
          <p:nvPr/>
        </p:nvSpPr>
        <p:spPr>
          <a:xfrm>
            <a:off x="3758084" y="5290001"/>
            <a:ext cx="208423" cy="208423"/>
          </a:xfrm>
          <a:prstGeom prst="ellipse">
            <a:avLst/>
          </a:prstGeom>
          <a:solidFill>
            <a:srgbClr val="00A76D"/>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C6A00098-6DA6-5515-FCEF-A85E7EF8FFFE}"/>
              </a:ext>
            </a:extLst>
          </p:cNvPr>
          <p:cNvSpPr/>
          <p:nvPr/>
        </p:nvSpPr>
        <p:spPr>
          <a:xfrm>
            <a:off x="3758084" y="5638373"/>
            <a:ext cx="208423" cy="208423"/>
          </a:xfrm>
          <a:prstGeom prst="ellipse">
            <a:avLst/>
          </a:prstGeom>
          <a:solidFill>
            <a:srgbClr val="D1FBEC"/>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extBox 41">
            <a:extLst>
              <a:ext uri="{FF2B5EF4-FFF2-40B4-BE49-F238E27FC236}">
                <a16:creationId xmlns:a16="http://schemas.microsoft.com/office/drawing/2014/main" id="{673BD03B-A04C-EA1D-824E-91DC37E8CC7B}"/>
              </a:ext>
            </a:extLst>
          </p:cNvPr>
          <p:cNvSpPr txBox="1"/>
          <p:nvPr/>
        </p:nvSpPr>
        <p:spPr>
          <a:xfrm>
            <a:off x="1004474" y="4928199"/>
            <a:ext cx="2360967" cy="215444"/>
          </a:xfrm>
          <a:prstGeom prst="rect">
            <a:avLst/>
          </a:prstGeom>
          <a:noFill/>
        </p:spPr>
        <p:txBody>
          <a:bodyPr wrap="none" lIns="0" tIns="0" rIns="0" bIns="0" rtlCol="0">
            <a:spAutoFit/>
          </a:bodyPr>
          <a:lstStyle/>
          <a:p>
            <a:r>
              <a:rPr lang="en-US" sz="1400">
                <a:solidFill>
                  <a:schemeClr val="tx1">
                    <a:lumMod val="65000"/>
                    <a:lumOff val="35000"/>
                  </a:schemeClr>
                </a:solidFill>
              </a:rPr>
              <a:t>Circular Economy Action Plan</a:t>
            </a:r>
          </a:p>
        </p:txBody>
      </p:sp>
      <p:sp>
        <p:nvSpPr>
          <p:cNvPr id="43" name="TextBox 42">
            <a:extLst>
              <a:ext uri="{FF2B5EF4-FFF2-40B4-BE49-F238E27FC236}">
                <a16:creationId xmlns:a16="http://schemas.microsoft.com/office/drawing/2014/main" id="{D14D2479-CAE1-AED6-A5D7-5D337914B0F9}"/>
              </a:ext>
            </a:extLst>
          </p:cNvPr>
          <p:cNvSpPr txBox="1"/>
          <p:nvPr/>
        </p:nvSpPr>
        <p:spPr>
          <a:xfrm>
            <a:off x="1050258" y="5286491"/>
            <a:ext cx="2051587" cy="215444"/>
          </a:xfrm>
          <a:prstGeom prst="rect">
            <a:avLst/>
          </a:prstGeom>
          <a:noFill/>
        </p:spPr>
        <p:txBody>
          <a:bodyPr wrap="none" lIns="0" tIns="0" rIns="0" bIns="0" rtlCol="0">
            <a:spAutoFit/>
          </a:bodyPr>
          <a:lstStyle/>
          <a:p>
            <a:r>
              <a:rPr lang="en-US" sz="1400">
                <a:solidFill>
                  <a:schemeClr val="tx1">
                    <a:lumMod val="65000"/>
                    <a:lumOff val="35000"/>
                  </a:schemeClr>
                </a:solidFill>
              </a:rPr>
              <a:t>Zero Pollution Action Plan</a:t>
            </a:r>
          </a:p>
        </p:txBody>
      </p:sp>
      <p:sp>
        <p:nvSpPr>
          <p:cNvPr id="44" name="TextBox 43">
            <a:extLst>
              <a:ext uri="{FF2B5EF4-FFF2-40B4-BE49-F238E27FC236}">
                <a16:creationId xmlns:a16="http://schemas.microsoft.com/office/drawing/2014/main" id="{E3015C42-F7DA-6F59-0340-8054DE8D87DA}"/>
              </a:ext>
            </a:extLst>
          </p:cNvPr>
          <p:cNvSpPr txBox="1"/>
          <p:nvPr/>
        </p:nvSpPr>
        <p:spPr>
          <a:xfrm>
            <a:off x="4090053" y="4932869"/>
            <a:ext cx="1452321" cy="215444"/>
          </a:xfrm>
          <a:prstGeom prst="rect">
            <a:avLst/>
          </a:prstGeom>
          <a:noFill/>
        </p:spPr>
        <p:txBody>
          <a:bodyPr wrap="none" lIns="0" tIns="0" rIns="0" bIns="0" rtlCol="0">
            <a:spAutoFit/>
          </a:bodyPr>
          <a:lstStyle/>
          <a:p>
            <a:r>
              <a:rPr lang="en-US" sz="1400">
                <a:solidFill>
                  <a:schemeClr val="tx1">
                    <a:lumMod val="65000"/>
                    <a:lumOff val="35000"/>
                  </a:schemeClr>
                </a:solidFill>
              </a:rPr>
              <a:t>Fit for 55 Package</a:t>
            </a:r>
          </a:p>
        </p:txBody>
      </p:sp>
      <p:sp>
        <p:nvSpPr>
          <p:cNvPr id="45" name="TextBox 44">
            <a:extLst>
              <a:ext uri="{FF2B5EF4-FFF2-40B4-BE49-F238E27FC236}">
                <a16:creationId xmlns:a16="http://schemas.microsoft.com/office/drawing/2014/main" id="{6F0B8D8C-A461-EEB6-4614-AB2B28FC30B0}"/>
              </a:ext>
            </a:extLst>
          </p:cNvPr>
          <p:cNvSpPr txBox="1"/>
          <p:nvPr/>
        </p:nvSpPr>
        <p:spPr>
          <a:xfrm>
            <a:off x="4090053" y="5286490"/>
            <a:ext cx="1739259" cy="215444"/>
          </a:xfrm>
          <a:prstGeom prst="rect">
            <a:avLst/>
          </a:prstGeom>
          <a:noFill/>
        </p:spPr>
        <p:txBody>
          <a:bodyPr wrap="none" lIns="0" tIns="0" rIns="0" bIns="0" rtlCol="0">
            <a:spAutoFit/>
          </a:bodyPr>
          <a:lstStyle/>
          <a:p>
            <a:r>
              <a:rPr lang="en-US" sz="1400">
                <a:solidFill>
                  <a:schemeClr val="tx1">
                    <a:lumMod val="65000"/>
                    <a:lumOff val="35000"/>
                  </a:schemeClr>
                </a:solidFill>
              </a:rPr>
              <a:t>Farm to Fork Strategy</a:t>
            </a:r>
          </a:p>
        </p:txBody>
      </p:sp>
      <p:sp>
        <p:nvSpPr>
          <p:cNvPr id="46" name="TextBox 45">
            <a:extLst>
              <a:ext uri="{FF2B5EF4-FFF2-40B4-BE49-F238E27FC236}">
                <a16:creationId xmlns:a16="http://schemas.microsoft.com/office/drawing/2014/main" id="{54FDC852-0F0F-2D4D-A05E-80DC26E6BC7D}"/>
              </a:ext>
            </a:extLst>
          </p:cNvPr>
          <p:cNvSpPr txBox="1"/>
          <p:nvPr/>
        </p:nvSpPr>
        <p:spPr>
          <a:xfrm>
            <a:off x="4090053" y="5634862"/>
            <a:ext cx="3007233" cy="215444"/>
          </a:xfrm>
          <a:prstGeom prst="rect">
            <a:avLst/>
          </a:prstGeom>
          <a:noFill/>
        </p:spPr>
        <p:txBody>
          <a:bodyPr wrap="none" lIns="0" tIns="0" rIns="0" bIns="0" rtlCol="0">
            <a:spAutoFit/>
          </a:bodyPr>
          <a:lstStyle/>
          <a:p>
            <a:r>
              <a:rPr lang="en-US" sz="1400">
                <a:solidFill>
                  <a:schemeClr val="tx1">
                    <a:lumMod val="65000"/>
                    <a:lumOff val="35000"/>
                  </a:schemeClr>
                </a:solidFill>
              </a:rPr>
              <a:t>Sustainable &amp; Smart Mobility Strategy</a:t>
            </a:r>
          </a:p>
        </p:txBody>
      </p:sp>
      <p:grpSp>
        <p:nvGrpSpPr>
          <p:cNvPr id="97" name="Group 96">
            <a:extLst>
              <a:ext uri="{FF2B5EF4-FFF2-40B4-BE49-F238E27FC236}">
                <a16:creationId xmlns:a16="http://schemas.microsoft.com/office/drawing/2014/main" id="{0AEF3B7F-A773-7B83-957C-F184AF9D3E53}"/>
              </a:ext>
            </a:extLst>
          </p:cNvPr>
          <p:cNvGrpSpPr/>
          <p:nvPr/>
        </p:nvGrpSpPr>
        <p:grpSpPr>
          <a:xfrm>
            <a:off x="3218817" y="3284751"/>
            <a:ext cx="2399686" cy="1285423"/>
            <a:chOff x="5248623" y="2874442"/>
            <a:chExt cx="2399686" cy="1285423"/>
          </a:xfrm>
        </p:grpSpPr>
        <p:grpSp>
          <p:nvGrpSpPr>
            <p:cNvPr id="86" name="Group 85">
              <a:extLst>
                <a:ext uri="{FF2B5EF4-FFF2-40B4-BE49-F238E27FC236}">
                  <a16:creationId xmlns:a16="http://schemas.microsoft.com/office/drawing/2014/main" id="{EA778BC1-B1DF-E17C-C9CD-E1B0CD9C9BAA}"/>
                </a:ext>
              </a:extLst>
            </p:cNvPr>
            <p:cNvGrpSpPr/>
            <p:nvPr/>
          </p:nvGrpSpPr>
          <p:grpSpPr>
            <a:xfrm>
              <a:off x="5248623" y="2880628"/>
              <a:ext cx="2399686" cy="1279237"/>
              <a:chOff x="5248623" y="2880628"/>
              <a:chExt cx="2399686" cy="1279237"/>
            </a:xfrm>
          </p:grpSpPr>
          <p:sp>
            <p:nvSpPr>
              <p:cNvPr id="84" name="Freeform 83">
                <a:extLst>
                  <a:ext uri="{FF2B5EF4-FFF2-40B4-BE49-F238E27FC236}">
                    <a16:creationId xmlns:a16="http://schemas.microsoft.com/office/drawing/2014/main" id="{FB8F0FA3-215F-3B96-C0A4-2CE3F82E43D1}"/>
                  </a:ext>
                </a:extLst>
              </p:cNvPr>
              <p:cNvSpPr/>
              <p:nvPr/>
            </p:nvSpPr>
            <p:spPr>
              <a:xfrm>
                <a:off x="5248623" y="2880628"/>
                <a:ext cx="2399686" cy="731618"/>
              </a:xfrm>
              <a:custGeom>
                <a:avLst/>
                <a:gdLst>
                  <a:gd name="connsiteX0" fmla="*/ 65342 w 1787309"/>
                  <a:gd name="connsiteY0" fmla="*/ 0 h 544916"/>
                  <a:gd name="connsiteX1" fmla="*/ 1721967 w 1787309"/>
                  <a:gd name="connsiteY1" fmla="*/ 0 h 544916"/>
                  <a:gd name="connsiteX2" fmla="*/ 1787309 w 1787309"/>
                  <a:gd name="connsiteY2" fmla="*/ 65342 h 544916"/>
                  <a:gd name="connsiteX3" fmla="*/ 1787309 w 1787309"/>
                  <a:gd name="connsiteY3" fmla="*/ 544916 h 544916"/>
                  <a:gd name="connsiteX4" fmla="*/ 0 w 1787309"/>
                  <a:gd name="connsiteY4" fmla="*/ 544916 h 544916"/>
                  <a:gd name="connsiteX5" fmla="*/ 0 w 1787309"/>
                  <a:gd name="connsiteY5" fmla="*/ 65342 h 544916"/>
                  <a:gd name="connsiteX6" fmla="*/ 65342 w 1787309"/>
                  <a:gd name="connsiteY6" fmla="*/ 0 h 544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7309" h="544916">
                    <a:moveTo>
                      <a:pt x="65342" y="0"/>
                    </a:moveTo>
                    <a:lnTo>
                      <a:pt x="1721967" y="0"/>
                    </a:lnTo>
                    <a:cubicBezTo>
                      <a:pt x="1758054" y="0"/>
                      <a:pt x="1787309" y="29255"/>
                      <a:pt x="1787309" y="65342"/>
                    </a:cubicBezTo>
                    <a:lnTo>
                      <a:pt x="1787309" y="544916"/>
                    </a:lnTo>
                    <a:lnTo>
                      <a:pt x="0" y="544916"/>
                    </a:lnTo>
                    <a:lnTo>
                      <a:pt x="0" y="65342"/>
                    </a:lnTo>
                    <a:cubicBezTo>
                      <a:pt x="0" y="29255"/>
                      <a:pt x="29255" y="0"/>
                      <a:pt x="65342" y="0"/>
                    </a:cubicBezTo>
                    <a:close/>
                  </a:path>
                </a:pathLst>
              </a:custGeom>
              <a:solidFill>
                <a:srgbClr val="BFFDE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 name="Oval 4">
                <a:extLst>
                  <a:ext uri="{FF2B5EF4-FFF2-40B4-BE49-F238E27FC236}">
                    <a16:creationId xmlns:a16="http://schemas.microsoft.com/office/drawing/2014/main" id="{E2AB4C25-0628-3F78-CEAB-D35FD1A8F81F}"/>
                  </a:ext>
                </a:extLst>
              </p:cNvPr>
              <p:cNvSpPr/>
              <p:nvPr/>
            </p:nvSpPr>
            <p:spPr>
              <a:xfrm>
                <a:off x="5389652" y="3867633"/>
                <a:ext cx="209135" cy="209135"/>
              </a:xfrm>
              <a:prstGeom prst="ellipse">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17C1958B-BAE1-8611-22D7-670969EC3A62}"/>
                  </a:ext>
                </a:extLst>
              </p:cNvPr>
              <p:cNvSpPr/>
              <p:nvPr/>
            </p:nvSpPr>
            <p:spPr>
              <a:xfrm>
                <a:off x="5677076" y="3867633"/>
                <a:ext cx="209135" cy="209135"/>
              </a:xfrm>
              <a:prstGeom prst="ellipse">
                <a:avLst/>
              </a:prstGeom>
              <a:solidFill>
                <a:srgbClr val="F9C07C"/>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78AAAADB-9648-E1B4-BA2E-434A5BA9E960}"/>
                  </a:ext>
                </a:extLst>
              </p:cNvPr>
              <p:cNvSpPr/>
              <p:nvPr/>
            </p:nvSpPr>
            <p:spPr>
              <a:xfrm>
                <a:off x="5948951" y="3867633"/>
                <a:ext cx="209135" cy="209135"/>
              </a:xfrm>
              <a:prstGeom prst="ellipse">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536D9533-74FC-D661-6F53-2A216962D913}"/>
                  </a:ext>
                </a:extLst>
              </p:cNvPr>
              <p:cNvSpPr/>
              <p:nvPr/>
            </p:nvSpPr>
            <p:spPr>
              <a:xfrm>
                <a:off x="6228873" y="3867633"/>
                <a:ext cx="209135" cy="209135"/>
              </a:xfrm>
              <a:prstGeom prst="ellipse">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3">
                <a:extLst>
                  <a:ext uri="{FF2B5EF4-FFF2-40B4-BE49-F238E27FC236}">
                    <a16:creationId xmlns:a16="http://schemas.microsoft.com/office/drawing/2014/main" id="{EA82BAE7-CBDC-8FD7-5329-F07B059A1089}"/>
                  </a:ext>
                </a:extLst>
              </p:cNvPr>
              <p:cNvSpPr/>
              <p:nvPr/>
            </p:nvSpPr>
            <p:spPr>
              <a:xfrm>
                <a:off x="5248623" y="2880628"/>
                <a:ext cx="2399686" cy="1279237"/>
              </a:xfrm>
              <a:prstGeom prst="roundRect">
                <a:avLst>
                  <a:gd name="adj" fmla="val 6858"/>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43465D13-5D80-BD5F-C538-EAB9A99C2ECA}"/>
                  </a:ext>
                </a:extLst>
              </p:cNvPr>
              <p:cNvSpPr/>
              <p:nvPr/>
            </p:nvSpPr>
            <p:spPr>
              <a:xfrm>
                <a:off x="6508794" y="3867633"/>
                <a:ext cx="209135" cy="209135"/>
              </a:xfrm>
              <a:prstGeom prst="ellipse">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8A96E30C-0402-6AC7-CC97-7134C7D189BD}"/>
                  </a:ext>
                </a:extLst>
              </p:cNvPr>
              <p:cNvSpPr/>
              <p:nvPr/>
            </p:nvSpPr>
            <p:spPr>
              <a:xfrm>
                <a:off x="6788715" y="3867633"/>
                <a:ext cx="209135" cy="209135"/>
              </a:xfrm>
              <a:prstGeom prst="ellipse">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TextBox 31">
              <a:extLst>
                <a:ext uri="{FF2B5EF4-FFF2-40B4-BE49-F238E27FC236}">
                  <a16:creationId xmlns:a16="http://schemas.microsoft.com/office/drawing/2014/main" id="{38D0A25D-DBFC-FC9D-DC3B-11FE2C43422C}"/>
                </a:ext>
              </a:extLst>
            </p:cNvPr>
            <p:cNvSpPr txBox="1"/>
            <p:nvPr/>
          </p:nvSpPr>
          <p:spPr>
            <a:xfrm>
              <a:off x="5287418" y="2874442"/>
              <a:ext cx="2295500" cy="738664"/>
            </a:xfrm>
            <a:prstGeom prst="rect">
              <a:avLst/>
            </a:prstGeom>
            <a:noFill/>
          </p:spPr>
          <p:txBody>
            <a:bodyPr wrap="none" lIns="0" tIns="0" rIns="0" bIns="0" rtlCol="0">
              <a:spAutoFit/>
            </a:bodyPr>
            <a:lstStyle/>
            <a:p>
              <a:r>
                <a:rPr lang="en-US" dirty="0">
                  <a:solidFill>
                    <a:schemeClr val="tx1">
                      <a:lumMod val="65000"/>
                      <a:lumOff val="35000"/>
                    </a:schemeClr>
                  </a:solidFill>
                  <a:hlinkClick r:id="rId3">
                    <a:extLst>
                      <a:ext uri="{A12FA001-AC4F-418D-AE19-62706E023703}">
                        <ahyp:hlinkClr xmlns:ahyp="http://schemas.microsoft.com/office/drawing/2018/hyperlinkcolor" val="tx"/>
                      </a:ext>
                    </a:extLst>
                  </a:hlinkClick>
                </a:rPr>
                <a:t>Detergents Regulation</a:t>
              </a:r>
              <a:endParaRPr lang="en-US" dirty="0">
                <a:solidFill>
                  <a:schemeClr val="tx1">
                    <a:lumMod val="65000"/>
                    <a:lumOff val="35000"/>
                  </a:schemeClr>
                </a:solidFill>
              </a:endParaRPr>
            </a:p>
            <a:p>
              <a:endParaRPr lang="en-US" dirty="0">
                <a:solidFill>
                  <a:schemeClr val="tx1">
                    <a:lumMod val="65000"/>
                    <a:lumOff val="35000"/>
                  </a:schemeClr>
                </a:solidFill>
              </a:endParaRPr>
            </a:p>
            <a:p>
              <a:r>
                <a:rPr lang="en-US" sz="1200" dirty="0">
                  <a:solidFill>
                    <a:schemeClr val="tx1">
                      <a:lumMod val="65000"/>
                      <a:lumOff val="35000"/>
                    </a:schemeClr>
                  </a:solidFill>
                </a:rPr>
                <a:t>2023/0124(COD)</a:t>
              </a:r>
            </a:p>
          </p:txBody>
        </p:sp>
      </p:grpSp>
      <p:grpSp>
        <p:nvGrpSpPr>
          <p:cNvPr id="96" name="Group 95">
            <a:extLst>
              <a:ext uri="{FF2B5EF4-FFF2-40B4-BE49-F238E27FC236}">
                <a16:creationId xmlns:a16="http://schemas.microsoft.com/office/drawing/2014/main" id="{A9A773C5-E254-56F3-094B-F3D845820F8A}"/>
              </a:ext>
            </a:extLst>
          </p:cNvPr>
          <p:cNvGrpSpPr/>
          <p:nvPr/>
        </p:nvGrpSpPr>
        <p:grpSpPr>
          <a:xfrm>
            <a:off x="6573497" y="3222481"/>
            <a:ext cx="2399686" cy="1287801"/>
            <a:chOff x="7902822" y="2874442"/>
            <a:chExt cx="2399686" cy="1287801"/>
          </a:xfrm>
        </p:grpSpPr>
        <p:grpSp>
          <p:nvGrpSpPr>
            <p:cNvPr id="87" name="Group 86">
              <a:extLst>
                <a:ext uri="{FF2B5EF4-FFF2-40B4-BE49-F238E27FC236}">
                  <a16:creationId xmlns:a16="http://schemas.microsoft.com/office/drawing/2014/main" id="{89B4D02E-31AA-DE90-C7B6-B9DC591DC45C}"/>
                </a:ext>
              </a:extLst>
            </p:cNvPr>
            <p:cNvGrpSpPr/>
            <p:nvPr/>
          </p:nvGrpSpPr>
          <p:grpSpPr>
            <a:xfrm>
              <a:off x="7902822" y="2883006"/>
              <a:ext cx="2399686" cy="1279237"/>
              <a:chOff x="5248623" y="2880628"/>
              <a:chExt cx="2399686" cy="1279237"/>
            </a:xfrm>
          </p:grpSpPr>
          <p:sp>
            <p:nvSpPr>
              <p:cNvPr id="88" name="Freeform 87">
                <a:extLst>
                  <a:ext uri="{FF2B5EF4-FFF2-40B4-BE49-F238E27FC236}">
                    <a16:creationId xmlns:a16="http://schemas.microsoft.com/office/drawing/2014/main" id="{E31DC875-7672-9D29-FA5A-08F84B9477F3}"/>
                  </a:ext>
                </a:extLst>
              </p:cNvPr>
              <p:cNvSpPr/>
              <p:nvPr/>
            </p:nvSpPr>
            <p:spPr>
              <a:xfrm>
                <a:off x="5248623" y="2880628"/>
                <a:ext cx="2399686" cy="731618"/>
              </a:xfrm>
              <a:custGeom>
                <a:avLst/>
                <a:gdLst>
                  <a:gd name="connsiteX0" fmla="*/ 65342 w 1787309"/>
                  <a:gd name="connsiteY0" fmla="*/ 0 h 544916"/>
                  <a:gd name="connsiteX1" fmla="*/ 1721967 w 1787309"/>
                  <a:gd name="connsiteY1" fmla="*/ 0 h 544916"/>
                  <a:gd name="connsiteX2" fmla="*/ 1787309 w 1787309"/>
                  <a:gd name="connsiteY2" fmla="*/ 65342 h 544916"/>
                  <a:gd name="connsiteX3" fmla="*/ 1787309 w 1787309"/>
                  <a:gd name="connsiteY3" fmla="*/ 544916 h 544916"/>
                  <a:gd name="connsiteX4" fmla="*/ 0 w 1787309"/>
                  <a:gd name="connsiteY4" fmla="*/ 544916 h 544916"/>
                  <a:gd name="connsiteX5" fmla="*/ 0 w 1787309"/>
                  <a:gd name="connsiteY5" fmla="*/ 65342 h 544916"/>
                  <a:gd name="connsiteX6" fmla="*/ 65342 w 1787309"/>
                  <a:gd name="connsiteY6" fmla="*/ 0 h 544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7309" h="544916">
                    <a:moveTo>
                      <a:pt x="65342" y="0"/>
                    </a:moveTo>
                    <a:lnTo>
                      <a:pt x="1721967" y="0"/>
                    </a:lnTo>
                    <a:cubicBezTo>
                      <a:pt x="1758054" y="0"/>
                      <a:pt x="1787309" y="29255"/>
                      <a:pt x="1787309" y="65342"/>
                    </a:cubicBezTo>
                    <a:lnTo>
                      <a:pt x="1787309" y="544916"/>
                    </a:lnTo>
                    <a:lnTo>
                      <a:pt x="0" y="544916"/>
                    </a:lnTo>
                    <a:lnTo>
                      <a:pt x="0" y="65342"/>
                    </a:lnTo>
                    <a:cubicBezTo>
                      <a:pt x="0" y="29255"/>
                      <a:pt x="29255" y="0"/>
                      <a:pt x="65342" y="0"/>
                    </a:cubicBezTo>
                    <a:close/>
                  </a:path>
                </a:pathLst>
              </a:custGeom>
              <a:solidFill>
                <a:srgbClr val="BFFDE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9" name="Oval 88">
                <a:extLst>
                  <a:ext uri="{FF2B5EF4-FFF2-40B4-BE49-F238E27FC236}">
                    <a16:creationId xmlns:a16="http://schemas.microsoft.com/office/drawing/2014/main" id="{9CB93AF3-F7FF-9B7F-B121-54B8D36CC7C6}"/>
                  </a:ext>
                </a:extLst>
              </p:cNvPr>
              <p:cNvSpPr/>
              <p:nvPr/>
            </p:nvSpPr>
            <p:spPr>
              <a:xfrm>
                <a:off x="5389652" y="3867633"/>
                <a:ext cx="209135" cy="209135"/>
              </a:xfrm>
              <a:prstGeom prst="ellipse">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Oval 89">
                <a:extLst>
                  <a:ext uri="{FF2B5EF4-FFF2-40B4-BE49-F238E27FC236}">
                    <a16:creationId xmlns:a16="http://schemas.microsoft.com/office/drawing/2014/main" id="{65D823DD-A493-96A7-B6ED-D3FD51DB3525}"/>
                  </a:ext>
                </a:extLst>
              </p:cNvPr>
              <p:cNvSpPr/>
              <p:nvPr/>
            </p:nvSpPr>
            <p:spPr>
              <a:xfrm>
                <a:off x="5677076" y="3867633"/>
                <a:ext cx="209135" cy="209135"/>
              </a:xfrm>
              <a:prstGeom prst="ellipse">
                <a:avLst/>
              </a:prstGeom>
              <a:solidFill>
                <a:srgbClr val="F9C07C"/>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Oval 90">
                <a:extLst>
                  <a:ext uri="{FF2B5EF4-FFF2-40B4-BE49-F238E27FC236}">
                    <a16:creationId xmlns:a16="http://schemas.microsoft.com/office/drawing/2014/main" id="{25D71593-3411-2667-FC26-D8A9D17891F1}"/>
                  </a:ext>
                </a:extLst>
              </p:cNvPr>
              <p:cNvSpPr/>
              <p:nvPr/>
            </p:nvSpPr>
            <p:spPr>
              <a:xfrm>
                <a:off x="5948951" y="3867633"/>
                <a:ext cx="209135" cy="209135"/>
              </a:xfrm>
              <a:prstGeom prst="ellipse">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771918C0-B755-332E-0B98-1CE2144870A9}"/>
                  </a:ext>
                </a:extLst>
              </p:cNvPr>
              <p:cNvSpPr/>
              <p:nvPr/>
            </p:nvSpPr>
            <p:spPr>
              <a:xfrm>
                <a:off x="6228873" y="3867633"/>
                <a:ext cx="209135" cy="209135"/>
              </a:xfrm>
              <a:prstGeom prst="ellipse">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ounded Rectangle 92">
                <a:extLst>
                  <a:ext uri="{FF2B5EF4-FFF2-40B4-BE49-F238E27FC236}">
                    <a16:creationId xmlns:a16="http://schemas.microsoft.com/office/drawing/2014/main" id="{7E5041A8-A448-E22E-09B4-720CF628AB48}"/>
                  </a:ext>
                </a:extLst>
              </p:cNvPr>
              <p:cNvSpPr/>
              <p:nvPr/>
            </p:nvSpPr>
            <p:spPr>
              <a:xfrm>
                <a:off x="5248623" y="2880628"/>
                <a:ext cx="2399686" cy="1279237"/>
              </a:xfrm>
              <a:prstGeom prst="roundRect">
                <a:avLst>
                  <a:gd name="adj" fmla="val 6858"/>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Oval 93">
                <a:extLst>
                  <a:ext uri="{FF2B5EF4-FFF2-40B4-BE49-F238E27FC236}">
                    <a16:creationId xmlns:a16="http://schemas.microsoft.com/office/drawing/2014/main" id="{F5EE461C-EE32-2D8E-D804-6D0DEA557389}"/>
                  </a:ext>
                </a:extLst>
              </p:cNvPr>
              <p:cNvSpPr/>
              <p:nvPr/>
            </p:nvSpPr>
            <p:spPr>
              <a:xfrm>
                <a:off x="6508794" y="3867633"/>
                <a:ext cx="209135" cy="209135"/>
              </a:xfrm>
              <a:prstGeom prst="ellipse">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Oval 94">
                <a:extLst>
                  <a:ext uri="{FF2B5EF4-FFF2-40B4-BE49-F238E27FC236}">
                    <a16:creationId xmlns:a16="http://schemas.microsoft.com/office/drawing/2014/main" id="{327BB56D-07F9-08B5-908E-FC3CE6D6D0F9}"/>
                  </a:ext>
                </a:extLst>
              </p:cNvPr>
              <p:cNvSpPr/>
              <p:nvPr/>
            </p:nvSpPr>
            <p:spPr>
              <a:xfrm>
                <a:off x="6788715" y="3867633"/>
                <a:ext cx="209135" cy="209135"/>
              </a:xfrm>
              <a:prstGeom prst="ellipse">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4" name="TextBox 53">
              <a:extLst>
                <a:ext uri="{FF2B5EF4-FFF2-40B4-BE49-F238E27FC236}">
                  <a16:creationId xmlns:a16="http://schemas.microsoft.com/office/drawing/2014/main" id="{5F65618D-E1CF-AFEF-CC0F-F07D7C6A8FC8}"/>
                </a:ext>
              </a:extLst>
            </p:cNvPr>
            <p:cNvSpPr txBox="1"/>
            <p:nvPr/>
          </p:nvSpPr>
          <p:spPr>
            <a:xfrm>
              <a:off x="7968097" y="2874442"/>
              <a:ext cx="2039084" cy="738664"/>
            </a:xfrm>
            <a:prstGeom prst="rect">
              <a:avLst/>
            </a:prstGeom>
            <a:noFill/>
          </p:spPr>
          <p:txBody>
            <a:bodyPr wrap="none" lIns="0" tIns="0" rIns="0" bIns="0" rtlCol="0">
              <a:spAutoFit/>
            </a:bodyPr>
            <a:lstStyle/>
            <a:p>
              <a:r>
                <a:rPr lang="en-US" dirty="0">
                  <a:solidFill>
                    <a:schemeClr val="tx1">
                      <a:lumMod val="65000"/>
                      <a:lumOff val="35000"/>
                    </a:schemeClr>
                  </a:solidFill>
                  <a:hlinkClick r:id="rId4">
                    <a:extLst>
                      <a:ext uri="{A12FA001-AC4F-418D-AE19-62706E023703}">
                        <ahyp:hlinkClr xmlns:ahyp="http://schemas.microsoft.com/office/drawing/2018/hyperlinkcolor" val="tx"/>
                      </a:ext>
                    </a:extLst>
                  </a:hlinkClick>
                </a:rPr>
                <a:t>Toy Safety Directive</a:t>
              </a:r>
              <a:endParaRPr lang="en-US" dirty="0">
                <a:solidFill>
                  <a:schemeClr val="tx1">
                    <a:lumMod val="65000"/>
                    <a:lumOff val="35000"/>
                  </a:schemeClr>
                </a:solidFill>
              </a:endParaRPr>
            </a:p>
            <a:p>
              <a:endParaRPr lang="en-US" dirty="0">
                <a:solidFill>
                  <a:schemeClr val="tx1">
                    <a:lumMod val="65000"/>
                    <a:lumOff val="35000"/>
                  </a:schemeClr>
                </a:solidFill>
              </a:endParaRPr>
            </a:p>
            <a:p>
              <a:r>
                <a:rPr lang="en-US" sz="1200" dirty="0">
                  <a:solidFill>
                    <a:schemeClr val="tx1">
                      <a:lumMod val="65000"/>
                      <a:lumOff val="35000"/>
                    </a:schemeClr>
                  </a:solidFill>
                </a:rPr>
                <a:t>2023/0290(COD)</a:t>
              </a:r>
            </a:p>
          </p:txBody>
        </p:sp>
      </p:grpSp>
      <p:sp>
        <p:nvSpPr>
          <p:cNvPr id="113" name="TextBox 112">
            <a:extLst>
              <a:ext uri="{FF2B5EF4-FFF2-40B4-BE49-F238E27FC236}">
                <a16:creationId xmlns:a16="http://schemas.microsoft.com/office/drawing/2014/main" id="{E706BD0E-6D22-302A-FDA9-8B233F01DB59}"/>
              </a:ext>
            </a:extLst>
          </p:cNvPr>
          <p:cNvSpPr txBox="1"/>
          <p:nvPr/>
        </p:nvSpPr>
        <p:spPr>
          <a:xfrm>
            <a:off x="1050258" y="5634862"/>
            <a:ext cx="1633460" cy="215444"/>
          </a:xfrm>
          <a:prstGeom prst="rect">
            <a:avLst/>
          </a:prstGeom>
          <a:noFill/>
        </p:spPr>
        <p:txBody>
          <a:bodyPr wrap="none" lIns="0" tIns="0" rIns="0" bIns="0" rtlCol="0">
            <a:spAutoFit/>
          </a:bodyPr>
          <a:lstStyle/>
          <a:p>
            <a:r>
              <a:rPr lang="en-US" sz="1400">
                <a:solidFill>
                  <a:schemeClr val="tx1">
                    <a:lumMod val="65000"/>
                    <a:lumOff val="35000"/>
                  </a:schemeClr>
                </a:solidFill>
              </a:rPr>
              <a:t>Biodiversity Strategy</a:t>
            </a:r>
          </a:p>
        </p:txBody>
      </p:sp>
      <p:grpSp>
        <p:nvGrpSpPr>
          <p:cNvPr id="104" name="Group 103">
            <a:extLst>
              <a:ext uri="{FF2B5EF4-FFF2-40B4-BE49-F238E27FC236}">
                <a16:creationId xmlns:a16="http://schemas.microsoft.com/office/drawing/2014/main" id="{2989900A-2ECF-8B34-993C-09D99C1A5080}"/>
              </a:ext>
            </a:extLst>
          </p:cNvPr>
          <p:cNvGrpSpPr/>
          <p:nvPr/>
        </p:nvGrpSpPr>
        <p:grpSpPr>
          <a:xfrm>
            <a:off x="4896157" y="1553261"/>
            <a:ext cx="2399686" cy="1287801"/>
            <a:chOff x="75174" y="2874442"/>
            <a:chExt cx="2399686" cy="1287801"/>
          </a:xfrm>
        </p:grpSpPr>
        <p:grpSp>
          <p:nvGrpSpPr>
            <p:cNvPr id="74" name="Group 73">
              <a:extLst>
                <a:ext uri="{FF2B5EF4-FFF2-40B4-BE49-F238E27FC236}">
                  <a16:creationId xmlns:a16="http://schemas.microsoft.com/office/drawing/2014/main" id="{D83C01BE-0326-E183-0DEA-E82A4C1329DC}"/>
                </a:ext>
              </a:extLst>
            </p:cNvPr>
            <p:cNvGrpSpPr/>
            <p:nvPr/>
          </p:nvGrpSpPr>
          <p:grpSpPr>
            <a:xfrm>
              <a:off x="75174" y="2883006"/>
              <a:ext cx="2399686" cy="1279237"/>
              <a:chOff x="1775955" y="2952606"/>
              <a:chExt cx="1787309" cy="952788"/>
            </a:xfrm>
          </p:grpSpPr>
          <p:sp>
            <p:nvSpPr>
              <p:cNvPr id="71" name="Freeform 70">
                <a:extLst>
                  <a:ext uri="{FF2B5EF4-FFF2-40B4-BE49-F238E27FC236}">
                    <a16:creationId xmlns:a16="http://schemas.microsoft.com/office/drawing/2014/main" id="{832C1A59-D6BB-997D-9780-0596ECB0B135}"/>
                  </a:ext>
                </a:extLst>
              </p:cNvPr>
              <p:cNvSpPr/>
              <p:nvPr/>
            </p:nvSpPr>
            <p:spPr>
              <a:xfrm>
                <a:off x="1775955" y="2952606"/>
                <a:ext cx="1787309" cy="544916"/>
              </a:xfrm>
              <a:custGeom>
                <a:avLst/>
                <a:gdLst>
                  <a:gd name="connsiteX0" fmla="*/ 65342 w 1787309"/>
                  <a:gd name="connsiteY0" fmla="*/ 0 h 544916"/>
                  <a:gd name="connsiteX1" fmla="*/ 1721967 w 1787309"/>
                  <a:gd name="connsiteY1" fmla="*/ 0 h 544916"/>
                  <a:gd name="connsiteX2" fmla="*/ 1787309 w 1787309"/>
                  <a:gd name="connsiteY2" fmla="*/ 65342 h 544916"/>
                  <a:gd name="connsiteX3" fmla="*/ 1787309 w 1787309"/>
                  <a:gd name="connsiteY3" fmla="*/ 544916 h 544916"/>
                  <a:gd name="connsiteX4" fmla="*/ 0 w 1787309"/>
                  <a:gd name="connsiteY4" fmla="*/ 544916 h 544916"/>
                  <a:gd name="connsiteX5" fmla="*/ 0 w 1787309"/>
                  <a:gd name="connsiteY5" fmla="*/ 65342 h 544916"/>
                  <a:gd name="connsiteX6" fmla="*/ 65342 w 1787309"/>
                  <a:gd name="connsiteY6" fmla="*/ 0 h 544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7309" h="544916">
                    <a:moveTo>
                      <a:pt x="65342" y="0"/>
                    </a:moveTo>
                    <a:lnTo>
                      <a:pt x="1721967" y="0"/>
                    </a:lnTo>
                    <a:cubicBezTo>
                      <a:pt x="1758054" y="0"/>
                      <a:pt x="1787309" y="29255"/>
                      <a:pt x="1787309" y="65342"/>
                    </a:cubicBezTo>
                    <a:lnTo>
                      <a:pt x="1787309" y="544916"/>
                    </a:lnTo>
                    <a:lnTo>
                      <a:pt x="0" y="544916"/>
                    </a:lnTo>
                    <a:lnTo>
                      <a:pt x="0" y="65342"/>
                    </a:lnTo>
                    <a:cubicBezTo>
                      <a:pt x="0" y="29255"/>
                      <a:pt x="29255" y="0"/>
                      <a:pt x="65342" y="0"/>
                    </a:cubicBezTo>
                    <a:close/>
                  </a:path>
                </a:pathLst>
              </a:custGeom>
              <a:solidFill>
                <a:srgbClr val="00B86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Rounded Rectangle 24">
                <a:extLst>
                  <a:ext uri="{FF2B5EF4-FFF2-40B4-BE49-F238E27FC236}">
                    <a16:creationId xmlns:a16="http://schemas.microsoft.com/office/drawing/2014/main" id="{802D99B9-DCAB-F4A7-A25B-432BBBF00B3B}"/>
                  </a:ext>
                </a:extLst>
              </p:cNvPr>
              <p:cNvSpPr/>
              <p:nvPr/>
            </p:nvSpPr>
            <p:spPr>
              <a:xfrm>
                <a:off x="1775955" y="2952606"/>
                <a:ext cx="1787309" cy="952788"/>
              </a:xfrm>
              <a:prstGeom prst="roundRect">
                <a:avLst>
                  <a:gd name="adj" fmla="val 6858"/>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85813DCC-950A-661B-8D70-634A7975D2DD}"/>
                  </a:ext>
                </a:extLst>
              </p:cNvPr>
              <p:cNvSpPr/>
              <p:nvPr/>
            </p:nvSpPr>
            <p:spPr>
              <a:xfrm>
                <a:off x="1850038" y="3687737"/>
                <a:ext cx="155766" cy="155766"/>
              </a:xfrm>
              <a:prstGeom prst="ellipse">
                <a:avLst/>
              </a:prstGeom>
              <a:solidFill>
                <a:srgbClr val="F26330"/>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51419DEF-C6AC-BEEB-0693-1ABE1942E2C3}"/>
                  </a:ext>
                </a:extLst>
              </p:cNvPr>
              <p:cNvSpPr/>
              <p:nvPr/>
            </p:nvSpPr>
            <p:spPr>
              <a:xfrm>
                <a:off x="2064114" y="3687737"/>
                <a:ext cx="155766" cy="155766"/>
              </a:xfrm>
              <a:prstGeom prst="ellipse">
                <a:avLst/>
              </a:prstGeom>
              <a:solidFill>
                <a:srgbClr val="F9C07C"/>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E03C523B-C0AC-DBDB-FD9A-5C90F19AE916}"/>
                  </a:ext>
                </a:extLst>
              </p:cNvPr>
              <p:cNvSpPr/>
              <p:nvPr/>
            </p:nvSpPr>
            <p:spPr>
              <a:xfrm>
                <a:off x="2266609" y="3687737"/>
                <a:ext cx="155766" cy="155766"/>
              </a:xfrm>
              <a:prstGeom prst="ellipse">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8A627409-270C-16B6-9852-3A8C11C670F9}"/>
                  </a:ext>
                </a:extLst>
              </p:cNvPr>
              <p:cNvSpPr/>
              <p:nvPr/>
            </p:nvSpPr>
            <p:spPr>
              <a:xfrm>
                <a:off x="2475097" y="3687737"/>
                <a:ext cx="155766" cy="155766"/>
              </a:xfrm>
              <a:prstGeom prst="ellipse">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23CBC438-3ADD-ED34-5CBB-309430AF1F6C}"/>
                  </a:ext>
                </a:extLst>
              </p:cNvPr>
              <p:cNvSpPr/>
              <p:nvPr/>
            </p:nvSpPr>
            <p:spPr>
              <a:xfrm>
                <a:off x="2683585" y="3687737"/>
                <a:ext cx="155766" cy="155766"/>
              </a:xfrm>
              <a:prstGeom prst="ellipse">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E41F2248-7F7A-244B-8258-D09F0E3FD3D7}"/>
                  </a:ext>
                </a:extLst>
              </p:cNvPr>
              <p:cNvSpPr/>
              <p:nvPr/>
            </p:nvSpPr>
            <p:spPr>
              <a:xfrm>
                <a:off x="2892074" y="3687737"/>
                <a:ext cx="155766" cy="155766"/>
              </a:xfrm>
              <a:prstGeom prst="ellipse">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5" name="TextBox 34">
              <a:extLst>
                <a:ext uri="{FF2B5EF4-FFF2-40B4-BE49-F238E27FC236}">
                  <a16:creationId xmlns:a16="http://schemas.microsoft.com/office/drawing/2014/main" id="{00B61107-AB31-531E-8EB6-DDCA674F4A4A}"/>
                </a:ext>
              </a:extLst>
            </p:cNvPr>
            <p:cNvSpPr txBox="1"/>
            <p:nvPr/>
          </p:nvSpPr>
          <p:spPr>
            <a:xfrm>
              <a:off x="146754" y="2874442"/>
              <a:ext cx="2258632" cy="738664"/>
            </a:xfrm>
            <a:prstGeom prst="rect">
              <a:avLst/>
            </a:prstGeom>
            <a:noFill/>
          </p:spPr>
          <p:txBody>
            <a:bodyPr wrap="none" lIns="0" tIns="0" rIns="0" bIns="0" rtlCol="0">
              <a:spAutoFit/>
            </a:bodyPr>
            <a:lstStyle/>
            <a:p>
              <a:r>
                <a:rPr lang="en-US">
                  <a:solidFill>
                    <a:schemeClr val="bg1"/>
                  </a:solidFill>
                  <a:latin typeface="Arial Narrow" panose="020B0604020202020204" pitchFamily="34" charset="0"/>
                  <a:cs typeface="Arial Narrow" panose="020B0604020202020204" pitchFamily="34" charset="0"/>
                  <a:hlinkClick r:id="rId5">
                    <a:extLst>
                      <a:ext uri="{A12FA001-AC4F-418D-AE19-62706E023703}">
                        <ahyp:hlinkClr xmlns:ahyp="http://schemas.microsoft.com/office/drawing/2018/hyperlinkcolor" val="tx"/>
                      </a:ext>
                    </a:extLst>
                  </a:hlinkClick>
                </a:rPr>
                <a:t>Ecodesign for Sustainable </a:t>
              </a:r>
            </a:p>
            <a:p>
              <a:r>
                <a:rPr lang="en-US">
                  <a:solidFill>
                    <a:schemeClr val="bg1"/>
                  </a:solidFill>
                  <a:latin typeface="Arial Narrow" panose="020B0604020202020204" pitchFamily="34" charset="0"/>
                  <a:cs typeface="Arial Narrow" panose="020B0604020202020204" pitchFamily="34" charset="0"/>
                  <a:hlinkClick r:id="rId5">
                    <a:extLst>
                      <a:ext uri="{A12FA001-AC4F-418D-AE19-62706E023703}">
                        <ahyp:hlinkClr xmlns:ahyp="http://schemas.microsoft.com/office/drawing/2018/hyperlinkcolor" val="tx"/>
                      </a:ext>
                    </a:extLst>
                  </a:hlinkClick>
                </a:rPr>
                <a:t>Product Regulation</a:t>
              </a:r>
              <a:endParaRPr lang="en-US">
                <a:solidFill>
                  <a:schemeClr val="bg1"/>
                </a:solidFill>
                <a:latin typeface="Arial Narrow" panose="020B0604020202020204" pitchFamily="34" charset="0"/>
                <a:cs typeface="Arial Narrow" panose="020B0604020202020204" pitchFamily="34" charset="0"/>
              </a:endParaRPr>
            </a:p>
            <a:p>
              <a:r>
                <a:rPr lang="en-US" sz="1200">
                  <a:solidFill>
                    <a:schemeClr val="bg1"/>
                  </a:solidFill>
                </a:rPr>
                <a:t>2024/1781</a:t>
              </a:r>
            </a:p>
          </p:txBody>
        </p:sp>
      </p:grpSp>
      <p:grpSp>
        <p:nvGrpSpPr>
          <p:cNvPr id="80" name="Group 79">
            <a:extLst>
              <a:ext uri="{FF2B5EF4-FFF2-40B4-BE49-F238E27FC236}">
                <a16:creationId xmlns:a16="http://schemas.microsoft.com/office/drawing/2014/main" id="{5A3B31E3-19A3-0410-360B-F7D29ECF091B}"/>
              </a:ext>
            </a:extLst>
          </p:cNvPr>
          <p:cNvGrpSpPr/>
          <p:nvPr/>
        </p:nvGrpSpPr>
        <p:grpSpPr>
          <a:xfrm>
            <a:off x="8430079" y="1545363"/>
            <a:ext cx="2399686" cy="1287135"/>
            <a:chOff x="5217582" y="2874442"/>
            <a:chExt cx="2399686" cy="1287135"/>
          </a:xfrm>
        </p:grpSpPr>
        <p:grpSp>
          <p:nvGrpSpPr>
            <p:cNvPr id="79" name="Group 78">
              <a:extLst>
                <a:ext uri="{FF2B5EF4-FFF2-40B4-BE49-F238E27FC236}">
                  <a16:creationId xmlns:a16="http://schemas.microsoft.com/office/drawing/2014/main" id="{A886DE5F-3C5C-9C0C-7EF9-9DF555E9885F}"/>
                </a:ext>
              </a:extLst>
            </p:cNvPr>
            <p:cNvGrpSpPr/>
            <p:nvPr/>
          </p:nvGrpSpPr>
          <p:grpSpPr>
            <a:xfrm>
              <a:off x="5217582" y="2882340"/>
              <a:ext cx="2399686" cy="1279237"/>
              <a:chOff x="5217582" y="2882340"/>
              <a:chExt cx="2399686" cy="1279237"/>
            </a:xfrm>
          </p:grpSpPr>
          <p:sp>
            <p:nvSpPr>
              <p:cNvPr id="78" name="Freeform 77">
                <a:extLst>
                  <a:ext uri="{FF2B5EF4-FFF2-40B4-BE49-F238E27FC236}">
                    <a16:creationId xmlns:a16="http://schemas.microsoft.com/office/drawing/2014/main" id="{034EC479-1769-E66F-6126-2192BB3FF362}"/>
                  </a:ext>
                </a:extLst>
              </p:cNvPr>
              <p:cNvSpPr/>
              <p:nvPr/>
            </p:nvSpPr>
            <p:spPr>
              <a:xfrm>
                <a:off x="5217582" y="2882340"/>
                <a:ext cx="2399686" cy="731618"/>
              </a:xfrm>
              <a:custGeom>
                <a:avLst/>
                <a:gdLst>
                  <a:gd name="connsiteX0" fmla="*/ 65342 w 1787309"/>
                  <a:gd name="connsiteY0" fmla="*/ 0 h 544916"/>
                  <a:gd name="connsiteX1" fmla="*/ 1721967 w 1787309"/>
                  <a:gd name="connsiteY1" fmla="*/ 0 h 544916"/>
                  <a:gd name="connsiteX2" fmla="*/ 1787309 w 1787309"/>
                  <a:gd name="connsiteY2" fmla="*/ 65342 h 544916"/>
                  <a:gd name="connsiteX3" fmla="*/ 1787309 w 1787309"/>
                  <a:gd name="connsiteY3" fmla="*/ 544916 h 544916"/>
                  <a:gd name="connsiteX4" fmla="*/ 0 w 1787309"/>
                  <a:gd name="connsiteY4" fmla="*/ 544916 h 544916"/>
                  <a:gd name="connsiteX5" fmla="*/ 0 w 1787309"/>
                  <a:gd name="connsiteY5" fmla="*/ 65342 h 544916"/>
                  <a:gd name="connsiteX6" fmla="*/ 65342 w 1787309"/>
                  <a:gd name="connsiteY6" fmla="*/ 0 h 544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7309" h="544916">
                    <a:moveTo>
                      <a:pt x="65342" y="0"/>
                    </a:moveTo>
                    <a:lnTo>
                      <a:pt x="1721967" y="0"/>
                    </a:lnTo>
                    <a:cubicBezTo>
                      <a:pt x="1758054" y="0"/>
                      <a:pt x="1787309" y="29255"/>
                      <a:pt x="1787309" y="65342"/>
                    </a:cubicBezTo>
                    <a:lnTo>
                      <a:pt x="1787309" y="544916"/>
                    </a:lnTo>
                    <a:lnTo>
                      <a:pt x="0" y="544916"/>
                    </a:lnTo>
                    <a:lnTo>
                      <a:pt x="0" y="65342"/>
                    </a:lnTo>
                    <a:cubicBezTo>
                      <a:pt x="0" y="29255"/>
                      <a:pt x="29255" y="0"/>
                      <a:pt x="65342" y="0"/>
                    </a:cubicBezTo>
                    <a:close/>
                  </a:path>
                </a:pathLst>
              </a:custGeom>
              <a:solidFill>
                <a:srgbClr val="00B8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Oval 11">
                <a:extLst>
                  <a:ext uri="{FF2B5EF4-FFF2-40B4-BE49-F238E27FC236}">
                    <a16:creationId xmlns:a16="http://schemas.microsoft.com/office/drawing/2014/main" id="{9FC6F272-F9F2-E1E8-F4B4-F40AFCFCDAED}"/>
                  </a:ext>
                </a:extLst>
              </p:cNvPr>
              <p:cNvSpPr/>
              <p:nvPr/>
            </p:nvSpPr>
            <p:spPr>
              <a:xfrm>
                <a:off x="5355588" y="3869345"/>
                <a:ext cx="209135" cy="209135"/>
              </a:xfrm>
              <a:prstGeom prst="ellipse">
                <a:avLst/>
              </a:prstGeom>
              <a:solidFill>
                <a:srgbClr val="F26330"/>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D8C0F9D1-56D9-AC2B-BC37-9DA9605FF082}"/>
                  </a:ext>
                </a:extLst>
              </p:cNvPr>
              <p:cNvSpPr/>
              <p:nvPr/>
            </p:nvSpPr>
            <p:spPr>
              <a:xfrm>
                <a:off x="5643012" y="3869345"/>
                <a:ext cx="209135" cy="209135"/>
              </a:xfrm>
              <a:prstGeom prst="ellipse">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D98F1FBE-47F5-6C5B-5AAC-48C87F0FEB2D}"/>
                  </a:ext>
                </a:extLst>
              </p:cNvPr>
              <p:cNvSpPr/>
              <p:nvPr/>
            </p:nvSpPr>
            <p:spPr>
              <a:xfrm>
                <a:off x="5914887" y="3869345"/>
                <a:ext cx="209135" cy="209135"/>
              </a:xfrm>
              <a:prstGeom prst="ellipse">
                <a:avLst/>
              </a:prstGeom>
              <a:solidFill>
                <a:srgbClr val="FBDAC9"/>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8A771A6D-C8CA-6A74-2464-1809418C24AB}"/>
                  </a:ext>
                </a:extLst>
              </p:cNvPr>
              <p:cNvSpPr/>
              <p:nvPr/>
            </p:nvSpPr>
            <p:spPr>
              <a:xfrm>
                <a:off x="6194809" y="3869345"/>
                <a:ext cx="209135" cy="209135"/>
              </a:xfrm>
              <a:prstGeom prst="ellipse">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6C492814-3EF1-26A3-9F43-454539F1F938}"/>
                  </a:ext>
                </a:extLst>
              </p:cNvPr>
              <p:cNvSpPr/>
              <p:nvPr/>
            </p:nvSpPr>
            <p:spPr>
              <a:xfrm>
                <a:off x="6474730" y="3869345"/>
                <a:ext cx="209135" cy="209135"/>
              </a:xfrm>
              <a:prstGeom prst="ellipse">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A937F9F2-372B-6D36-DE1F-0822D0209396}"/>
                  </a:ext>
                </a:extLst>
              </p:cNvPr>
              <p:cNvSpPr/>
              <p:nvPr/>
            </p:nvSpPr>
            <p:spPr>
              <a:xfrm>
                <a:off x="6754651" y="3869345"/>
                <a:ext cx="209135" cy="209135"/>
              </a:xfrm>
              <a:prstGeom prst="ellipse">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ed Rectangle 10">
                <a:extLst>
                  <a:ext uri="{FF2B5EF4-FFF2-40B4-BE49-F238E27FC236}">
                    <a16:creationId xmlns:a16="http://schemas.microsoft.com/office/drawing/2014/main" id="{894668D8-F8A4-95A2-00B8-2985CCF5C52C}"/>
                  </a:ext>
                </a:extLst>
              </p:cNvPr>
              <p:cNvSpPr/>
              <p:nvPr/>
            </p:nvSpPr>
            <p:spPr>
              <a:xfrm>
                <a:off x="5217582" y="2882340"/>
                <a:ext cx="2399686" cy="1279237"/>
              </a:xfrm>
              <a:prstGeom prst="roundRect">
                <a:avLst>
                  <a:gd name="adj" fmla="val 6858"/>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4" name="TextBox 33">
              <a:extLst>
                <a:ext uri="{FF2B5EF4-FFF2-40B4-BE49-F238E27FC236}">
                  <a16:creationId xmlns:a16="http://schemas.microsoft.com/office/drawing/2014/main" id="{6A526211-CB0B-A4BA-4C5B-FB195E76C33F}"/>
                </a:ext>
              </a:extLst>
            </p:cNvPr>
            <p:cNvSpPr txBox="1"/>
            <p:nvPr/>
          </p:nvSpPr>
          <p:spPr>
            <a:xfrm>
              <a:off x="5260475" y="2874442"/>
              <a:ext cx="2154436" cy="738664"/>
            </a:xfrm>
            <a:prstGeom prst="rect">
              <a:avLst/>
            </a:prstGeom>
            <a:noFill/>
          </p:spPr>
          <p:txBody>
            <a:bodyPr wrap="none" lIns="0" tIns="0" rIns="0" bIns="0" rtlCol="0">
              <a:spAutoFit/>
            </a:bodyPr>
            <a:lstStyle/>
            <a:p>
              <a:r>
                <a:rPr lang="en-US" dirty="0">
                  <a:solidFill>
                    <a:schemeClr val="bg1"/>
                  </a:solidFill>
                  <a:hlinkClick r:id="rId6">
                    <a:extLst>
                      <a:ext uri="{A12FA001-AC4F-418D-AE19-62706E023703}">
                        <ahyp:hlinkClr xmlns:ahyp="http://schemas.microsoft.com/office/drawing/2018/hyperlinkcolor" val="tx"/>
                      </a:ext>
                    </a:extLst>
                  </a:hlinkClick>
                </a:rPr>
                <a:t>Construction Product</a:t>
              </a:r>
            </a:p>
            <a:p>
              <a:r>
                <a:rPr lang="en-US" dirty="0">
                  <a:solidFill>
                    <a:schemeClr val="bg1"/>
                  </a:solidFill>
                  <a:hlinkClick r:id="rId6">
                    <a:extLst>
                      <a:ext uri="{A12FA001-AC4F-418D-AE19-62706E023703}">
                        <ahyp:hlinkClr xmlns:ahyp="http://schemas.microsoft.com/office/drawing/2018/hyperlinkcolor" val="tx"/>
                      </a:ext>
                    </a:extLst>
                  </a:hlinkClick>
                </a:rPr>
                <a:t>Regulation</a:t>
              </a:r>
              <a:endParaRPr lang="en-US" dirty="0">
                <a:solidFill>
                  <a:schemeClr val="bg1"/>
                </a:solidFill>
              </a:endParaRPr>
            </a:p>
            <a:p>
              <a:r>
                <a:rPr lang="en-US" sz="1200" dirty="0">
                  <a:solidFill>
                    <a:schemeClr val="bg1"/>
                  </a:solidFill>
                </a:rPr>
                <a:t>2022/0094(COD)</a:t>
              </a:r>
            </a:p>
          </p:txBody>
        </p:sp>
      </p:grpSp>
      <p:grpSp>
        <p:nvGrpSpPr>
          <p:cNvPr id="114" name="Group 113">
            <a:extLst>
              <a:ext uri="{FF2B5EF4-FFF2-40B4-BE49-F238E27FC236}">
                <a16:creationId xmlns:a16="http://schemas.microsoft.com/office/drawing/2014/main" id="{0C3C2E14-CE7E-F55A-8278-FCED70CF1015}"/>
              </a:ext>
            </a:extLst>
          </p:cNvPr>
          <p:cNvGrpSpPr/>
          <p:nvPr/>
        </p:nvGrpSpPr>
        <p:grpSpPr>
          <a:xfrm>
            <a:off x="1362235" y="1553261"/>
            <a:ext cx="2399686" cy="1279237"/>
            <a:chOff x="2653735" y="2874442"/>
            <a:chExt cx="2399686" cy="1279237"/>
          </a:xfrm>
        </p:grpSpPr>
        <p:grpSp>
          <p:nvGrpSpPr>
            <p:cNvPr id="115" name="Group 114">
              <a:extLst>
                <a:ext uri="{FF2B5EF4-FFF2-40B4-BE49-F238E27FC236}">
                  <a16:creationId xmlns:a16="http://schemas.microsoft.com/office/drawing/2014/main" id="{B694B46A-184F-5963-D2E5-26AD6CA1976D}"/>
                </a:ext>
              </a:extLst>
            </p:cNvPr>
            <p:cNvGrpSpPr/>
            <p:nvPr/>
          </p:nvGrpSpPr>
          <p:grpSpPr>
            <a:xfrm>
              <a:off x="2653735" y="2874442"/>
              <a:ext cx="2399686" cy="1279237"/>
              <a:chOff x="3941100" y="2962705"/>
              <a:chExt cx="1787309" cy="952788"/>
            </a:xfrm>
          </p:grpSpPr>
          <p:sp>
            <p:nvSpPr>
              <p:cNvPr id="117" name="Freeform 116">
                <a:extLst>
                  <a:ext uri="{FF2B5EF4-FFF2-40B4-BE49-F238E27FC236}">
                    <a16:creationId xmlns:a16="http://schemas.microsoft.com/office/drawing/2014/main" id="{63C702C3-9550-3634-E6D0-E63BA94EF04D}"/>
                  </a:ext>
                </a:extLst>
              </p:cNvPr>
              <p:cNvSpPr/>
              <p:nvPr/>
            </p:nvSpPr>
            <p:spPr>
              <a:xfrm>
                <a:off x="3941100" y="2962705"/>
                <a:ext cx="1787309" cy="544916"/>
              </a:xfrm>
              <a:custGeom>
                <a:avLst/>
                <a:gdLst>
                  <a:gd name="connsiteX0" fmla="*/ 65342 w 1787309"/>
                  <a:gd name="connsiteY0" fmla="*/ 0 h 544916"/>
                  <a:gd name="connsiteX1" fmla="*/ 1721967 w 1787309"/>
                  <a:gd name="connsiteY1" fmla="*/ 0 h 544916"/>
                  <a:gd name="connsiteX2" fmla="*/ 1787309 w 1787309"/>
                  <a:gd name="connsiteY2" fmla="*/ 65342 h 544916"/>
                  <a:gd name="connsiteX3" fmla="*/ 1787309 w 1787309"/>
                  <a:gd name="connsiteY3" fmla="*/ 544916 h 544916"/>
                  <a:gd name="connsiteX4" fmla="*/ 0 w 1787309"/>
                  <a:gd name="connsiteY4" fmla="*/ 544916 h 544916"/>
                  <a:gd name="connsiteX5" fmla="*/ 0 w 1787309"/>
                  <a:gd name="connsiteY5" fmla="*/ 65342 h 544916"/>
                  <a:gd name="connsiteX6" fmla="*/ 65342 w 1787309"/>
                  <a:gd name="connsiteY6" fmla="*/ 0 h 544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7309" h="544916">
                    <a:moveTo>
                      <a:pt x="65342" y="0"/>
                    </a:moveTo>
                    <a:lnTo>
                      <a:pt x="1721967" y="0"/>
                    </a:lnTo>
                    <a:cubicBezTo>
                      <a:pt x="1758054" y="0"/>
                      <a:pt x="1787309" y="29255"/>
                      <a:pt x="1787309" y="65342"/>
                    </a:cubicBezTo>
                    <a:lnTo>
                      <a:pt x="1787309" y="544916"/>
                    </a:lnTo>
                    <a:lnTo>
                      <a:pt x="0" y="544916"/>
                    </a:lnTo>
                    <a:lnTo>
                      <a:pt x="0" y="65342"/>
                    </a:lnTo>
                    <a:cubicBezTo>
                      <a:pt x="0" y="29255"/>
                      <a:pt x="29255" y="0"/>
                      <a:pt x="65342" y="0"/>
                    </a:cubicBezTo>
                    <a:close/>
                  </a:path>
                </a:pathLst>
              </a:custGeom>
              <a:solidFill>
                <a:srgbClr val="00B86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8" name="Rounded Rectangle 117">
                <a:extLst>
                  <a:ext uri="{FF2B5EF4-FFF2-40B4-BE49-F238E27FC236}">
                    <a16:creationId xmlns:a16="http://schemas.microsoft.com/office/drawing/2014/main" id="{709016DF-D89A-B988-3AB6-37550A08FC30}"/>
                  </a:ext>
                </a:extLst>
              </p:cNvPr>
              <p:cNvSpPr/>
              <p:nvPr/>
            </p:nvSpPr>
            <p:spPr>
              <a:xfrm>
                <a:off x="3941100" y="2962705"/>
                <a:ext cx="1787309" cy="952788"/>
              </a:xfrm>
              <a:prstGeom prst="roundRect">
                <a:avLst>
                  <a:gd name="adj" fmla="val 6858"/>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Oval 118">
                <a:extLst>
                  <a:ext uri="{FF2B5EF4-FFF2-40B4-BE49-F238E27FC236}">
                    <a16:creationId xmlns:a16="http://schemas.microsoft.com/office/drawing/2014/main" id="{3EEFADB5-B9D6-D150-8A9E-E4AEDEB11784}"/>
                  </a:ext>
                </a:extLst>
              </p:cNvPr>
              <p:cNvSpPr/>
              <p:nvPr/>
            </p:nvSpPr>
            <p:spPr>
              <a:xfrm>
                <a:off x="4046140" y="3697836"/>
                <a:ext cx="155766" cy="155766"/>
              </a:xfrm>
              <a:prstGeom prst="ellipse">
                <a:avLst/>
              </a:prstGeom>
              <a:solidFill>
                <a:srgbClr val="F26330"/>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Oval 119">
                <a:extLst>
                  <a:ext uri="{FF2B5EF4-FFF2-40B4-BE49-F238E27FC236}">
                    <a16:creationId xmlns:a16="http://schemas.microsoft.com/office/drawing/2014/main" id="{0419BEC4-5ACA-9844-1088-AE683089D56F}"/>
                  </a:ext>
                </a:extLst>
              </p:cNvPr>
              <p:cNvSpPr/>
              <p:nvPr/>
            </p:nvSpPr>
            <p:spPr>
              <a:xfrm>
                <a:off x="4260216" y="3697836"/>
                <a:ext cx="155766" cy="155766"/>
              </a:xfrm>
              <a:prstGeom prst="ellipse">
                <a:avLst/>
              </a:prstGeom>
              <a:solidFill>
                <a:srgbClr val="F9C07C"/>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Oval 120">
                <a:extLst>
                  <a:ext uri="{FF2B5EF4-FFF2-40B4-BE49-F238E27FC236}">
                    <a16:creationId xmlns:a16="http://schemas.microsoft.com/office/drawing/2014/main" id="{F9DE25A0-5E58-CBB4-D596-AD46D1836F2D}"/>
                  </a:ext>
                </a:extLst>
              </p:cNvPr>
              <p:cNvSpPr/>
              <p:nvPr/>
            </p:nvSpPr>
            <p:spPr>
              <a:xfrm>
                <a:off x="4462711" y="3697836"/>
                <a:ext cx="155766" cy="155766"/>
              </a:xfrm>
              <a:prstGeom prst="ellipse">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Oval 121">
                <a:extLst>
                  <a:ext uri="{FF2B5EF4-FFF2-40B4-BE49-F238E27FC236}">
                    <a16:creationId xmlns:a16="http://schemas.microsoft.com/office/drawing/2014/main" id="{97CDA074-77C5-68C3-4B74-9FA06A37CB4F}"/>
                  </a:ext>
                </a:extLst>
              </p:cNvPr>
              <p:cNvSpPr/>
              <p:nvPr/>
            </p:nvSpPr>
            <p:spPr>
              <a:xfrm>
                <a:off x="4671199" y="3697836"/>
                <a:ext cx="155766" cy="155766"/>
              </a:xfrm>
              <a:prstGeom prst="ellipse">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Oval 122">
                <a:extLst>
                  <a:ext uri="{FF2B5EF4-FFF2-40B4-BE49-F238E27FC236}">
                    <a16:creationId xmlns:a16="http://schemas.microsoft.com/office/drawing/2014/main" id="{131C9A24-77EA-E82C-73E9-65D43BA06968}"/>
                  </a:ext>
                </a:extLst>
              </p:cNvPr>
              <p:cNvSpPr/>
              <p:nvPr/>
            </p:nvSpPr>
            <p:spPr>
              <a:xfrm>
                <a:off x="4879687" y="3697836"/>
                <a:ext cx="155766" cy="155766"/>
              </a:xfrm>
              <a:prstGeom prst="ellipse">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Oval 123">
                <a:extLst>
                  <a:ext uri="{FF2B5EF4-FFF2-40B4-BE49-F238E27FC236}">
                    <a16:creationId xmlns:a16="http://schemas.microsoft.com/office/drawing/2014/main" id="{0F28DFA5-4CF3-DB5E-037F-600C1217C4C4}"/>
                  </a:ext>
                </a:extLst>
              </p:cNvPr>
              <p:cNvSpPr/>
              <p:nvPr/>
            </p:nvSpPr>
            <p:spPr>
              <a:xfrm>
                <a:off x="5088175" y="3697836"/>
                <a:ext cx="155766" cy="155766"/>
              </a:xfrm>
              <a:prstGeom prst="ellipse">
                <a:avLst/>
              </a:prstGeom>
              <a:solidFill>
                <a:srgbClr val="D1FBEC"/>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6" name="TextBox 115">
              <a:extLst>
                <a:ext uri="{FF2B5EF4-FFF2-40B4-BE49-F238E27FC236}">
                  <a16:creationId xmlns:a16="http://schemas.microsoft.com/office/drawing/2014/main" id="{1C082A26-0BEA-EFC8-0A79-5F7CB455A7D8}"/>
                </a:ext>
              </a:extLst>
            </p:cNvPr>
            <p:cNvSpPr txBox="1"/>
            <p:nvPr/>
          </p:nvSpPr>
          <p:spPr>
            <a:xfrm>
              <a:off x="2729887" y="2874442"/>
              <a:ext cx="1897955" cy="738664"/>
            </a:xfrm>
            <a:prstGeom prst="rect">
              <a:avLst/>
            </a:prstGeom>
            <a:noFill/>
          </p:spPr>
          <p:txBody>
            <a:bodyPr wrap="none" lIns="0" tIns="0" rIns="0" bIns="0" rtlCol="0">
              <a:spAutoFit/>
            </a:bodyPr>
            <a:lstStyle/>
            <a:p>
              <a:r>
                <a:rPr lang="en-US" dirty="0">
                  <a:solidFill>
                    <a:schemeClr val="bg1"/>
                  </a:solidFill>
                  <a:hlinkClick r:id="rId7">
                    <a:extLst>
                      <a:ext uri="{A12FA001-AC4F-418D-AE19-62706E023703}">
                        <ahyp:hlinkClr xmlns:ahyp="http://schemas.microsoft.com/office/drawing/2018/hyperlinkcolor" val="tx"/>
                      </a:ext>
                    </a:extLst>
                  </a:hlinkClick>
                </a:rPr>
                <a:t>Battery Regulation</a:t>
              </a:r>
              <a:endParaRPr lang="en-US" dirty="0">
                <a:solidFill>
                  <a:schemeClr val="bg1"/>
                </a:solidFill>
              </a:endParaRPr>
            </a:p>
            <a:p>
              <a:endParaRPr lang="en-US" dirty="0">
                <a:solidFill>
                  <a:schemeClr val="bg1"/>
                </a:solidFill>
              </a:endParaRPr>
            </a:p>
            <a:p>
              <a:r>
                <a:rPr lang="en-US" sz="1200" i="0" u="none" strike="noStrike" dirty="0">
                  <a:solidFill>
                    <a:schemeClr val="bg1"/>
                  </a:solidFill>
                  <a:effectLst/>
                </a:rPr>
                <a:t>2023/1542 </a:t>
              </a:r>
              <a:endParaRPr lang="en-US" sz="1200" dirty="0">
                <a:solidFill>
                  <a:schemeClr val="bg1"/>
                </a:solidFill>
              </a:endParaRPr>
            </a:p>
          </p:txBody>
        </p:sp>
      </p:grpSp>
      <p:grpSp>
        <p:nvGrpSpPr>
          <p:cNvPr id="146" name="Group 145">
            <a:extLst>
              <a:ext uri="{FF2B5EF4-FFF2-40B4-BE49-F238E27FC236}">
                <a16:creationId xmlns:a16="http://schemas.microsoft.com/office/drawing/2014/main" id="{D3452B5F-49CF-E222-E606-D10CE07096FB}"/>
              </a:ext>
            </a:extLst>
          </p:cNvPr>
          <p:cNvGrpSpPr/>
          <p:nvPr/>
        </p:nvGrpSpPr>
        <p:grpSpPr>
          <a:xfrm>
            <a:off x="7559917" y="4909520"/>
            <a:ext cx="510410" cy="272092"/>
            <a:chOff x="7941302" y="543834"/>
            <a:chExt cx="2399686" cy="1279237"/>
          </a:xfrm>
        </p:grpSpPr>
        <p:sp>
          <p:nvSpPr>
            <p:cNvPr id="142" name="Freeform 141">
              <a:extLst>
                <a:ext uri="{FF2B5EF4-FFF2-40B4-BE49-F238E27FC236}">
                  <a16:creationId xmlns:a16="http://schemas.microsoft.com/office/drawing/2014/main" id="{4E3932A4-A8D3-59F9-AB19-3AF336390D0E}"/>
                </a:ext>
              </a:extLst>
            </p:cNvPr>
            <p:cNvSpPr/>
            <p:nvPr/>
          </p:nvSpPr>
          <p:spPr>
            <a:xfrm>
              <a:off x="7941302" y="543834"/>
              <a:ext cx="2399686" cy="731618"/>
            </a:xfrm>
            <a:custGeom>
              <a:avLst/>
              <a:gdLst>
                <a:gd name="connsiteX0" fmla="*/ 65342 w 1787309"/>
                <a:gd name="connsiteY0" fmla="*/ 0 h 544916"/>
                <a:gd name="connsiteX1" fmla="*/ 1721967 w 1787309"/>
                <a:gd name="connsiteY1" fmla="*/ 0 h 544916"/>
                <a:gd name="connsiteX2" fmla="*/ 1787309 w 1787309"/>
                <a:gd name="connsiteY2" fmla="*/ 65342 h 544916"/>
                <a:gd name="connsiteX3" fmla="*/ 1787309 w 1787309"/>
                <a:gd name="connsiteY3" fmla="*/ 544916 h 544916"/>
                <a:gd name="connsiteX4" fmla="*/ 0 w 1787309"/>
                <a:gd name="connsiteY4" fmla="*/ 544916 h 544916"/>
                <a:gd name="connsiteX5" fmla="*/ 0 w 1787309"/>
                <a:gd name="connsiteY5" fmla="*/ 65342 h 544916"/>
                <a:gd name="connsiteX6" fmla="*/ 65342 w 1787309"/>
                <a:gd name="connsiteY6" fmla="*/ 0 h 544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7309" h="544916">
                  <a:moveTo>
                    <a:pt x="65342" y="0"/>
                  </a:moveTo>
                  <a:lnTo>
                    <a:pt x="1721967" y="0"/>
                  </a:lnTo>
                  <a:cubicBezTo>
                    <a:pt x="1758054" y="0"/>
                    <a:pt x="1787309" y="29255"/>
                    <a:pt x="1787309" y="65342"/>
                  </a:cubicBezTo>
                  <a:lnTo>
                    <a:pt x="1787309" y="544916"/>
                  </a:lnTo>
                  <a:lnTo>
                    <a:pt x="0" y="544916"/>
                  </a:lnTo>
                  <a:lnTo>
                    <a:pt x="0" y="65342"/>
                  </a:lnTo>
                  <a:cubicBezTo>
                    <a:pt x="0" y="29255"/>
                    <a:pt x="29255" y="0"/>
                    <a:pt x="65342" y="0"/>
                  </a:cubicBezTo>
                  <a:close/>
                </a:path>
              </a:pathLst>
            </a:custGeom>
            <a:solidFill>
              <a:srgbClr val="00B86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0" name="Rounded Rectangle 139">
              <a:extLst>
                <a:ext uri="{FF2B5EF4-FFF2-40B4-BE49-F238E27FC236}">
                  <a16:creationId xmlns:a16="http://schemas.microsoft.com/office/drawing/2014/main" id="{A7954786-E468-C319-54EE-9C5EDFE9FB4B}"/>
                </a:ext>
              </a:extLst>
            </p:cNvPr>
            <p:cNvSpPr/>
            <p:nvPr/>
          </p:nvSpPr>
          <p:spPr>
            <a:xfrm>
              <a:off x="7941302" y="543834"/>
              <a:ext cx="2399686" cy="1279237"/>
            </a:xfrm>
            <a:prstGeom prst="roundRect">
              <a:avLst>
                <a:gd name="adj" fmla="val 6858"/>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5" name="Group 144">
            <a:extLst>
              <a:ext uri="{FF2B5EF4-FFF2-40B4-BE49-F238E27FC236}">
                <a16:creationId xmlns:a16="http://schemas.microsoft.com/office/drawing/2014/main" id="{52BAD0F3-5E39-7B92-B393-F37BFF7D56CB}"/>
              </a:ext>
            </a:extLst>
          </p:cNvPr>
          <p:cNvGrpSpPr/>
          <p:nvPr/>
        </p:nvGrpSpPr>
        <p:grpSpPr>
          <a:xfrm>
            <a:off x="7559917" y="5266709"/>
            <a:ext cx="510410" cy="272092"/>
            <a:chOff x="8093702" y="696234"/>
            <a:chExt cx="2399686" cy="1279237"/>
          </a:xfrm>
        </p:grpSpPr>
        <p:sp>
          <p:nvSpPr>
            <p:cNvPr id="143" name="Freeform 142">
              <a:extLst>
                <a:ext uri="{FF2B5EF4-FFF2-40B4-BE49-F238E27FC236}">
                  <a16:creationId xmlns:a16="http://schemas.microsoft.com/office/drawing/2014/main" id="{ADC25669-C578-05E1-C867-48ABFC647E8F}"/>
                </a:ext>
              </a:extLst>
            </p:cNvPr>
            <p:cNvSpPr/>
            <p:nvPr/>
          </p:nvSpPr>
          <p:spPr>
            <a:xfrm>
              <a:off x="8093702" y="696234"/>
              <a:ext cx="2399686" cy="731618"/>
            </a:xfrm>
            <a:custGeom>
              <a:avLst/>
              <a:gdLst>
                <a:gd name="connsiteX0" fmla="*/ 65342 w 1787309"/>
                <a:gd name="connsiteY0" fmla="*/ 0 h 544916"/>
                <a:gd name="connsiteX1" fmla="*/ 1721967 w 1787309"/>
                <a:gd name="connsiteY1" fmla="*/ 0 h 544916"/>
                <a:gd name="connsiteX2" fmla="*/ 1787309 w 1787309"/>
                <a:gd name="connsiteY2" fmla="*/ 65342 h 544916"/>
                <a:gd name="connsiteX3" fmla="*/ 1787309 w 1787309"/>
                <a:gd name="connsiteY3" fmla="*/ 544916 h 544916"/>
                <a:gd name="connsiteX4" fmla="*/ 0 w 1787309"/>
                <a:gd name="connsiteY4" fmla="*/ 544916 h 544916"/>
                <a:gd name="connsiteX5" fmla="*/ 0 w 1787309"/>
                <a:gd name="connsiteY5" fmla="*/ 65342 h 544916"/>
                <a:gd name="connsiteX6" fmla="*/ 65342 w 1787309"/>
                <a:gd name="connsiteY6" fmla="*/ 0 h 544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7309" h="544916">
                  <a:moveTo>
                    <a:pt x="65342" y="0"/>
                  </a:moveTo>
                  <a:lnTo>
                    <a:pt x="1721967" y="0"/>
                  </a:lnTo>
                  <a:cubicBezTo>
                    <a:pt x="1758054" y="0"/>
                    <a:pt x="1787309" y="29255"/>
                    <a:pt x="1787309" y="65342"/>
                  </a:cubicBezTo>
                  <a:lnTo>
                    <a:pt x="1787309" y="544916"/>
                  </a:lnTo>
                  <a:lnTo>
                    <a:pt x="0" y="544916"/>
                  </a:lnTo>
                  <a:lnTo>
                    <a:pt x="0" y="65342"/>
                  </a:lnTo>
                  <a:cubicBezTo>
                    <a:pt x="0" y="29255"/>
                    <a:pt x="29255" y="0"/>
                    <a:pt x="65342" y="0"/>
                  </a:cubicBezTo>
                  <a:close/>
                </a:path>
              </a:pathLst>
            </a:custGeom>
            <a:solidFill>
              <a:srgbClr val="C0FD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4" name="Rounded Rectangle 143">
              <a:extLst>
                <a:ext uri="{FF2B5EF4-FFF2-40B4-BE49-F238E27FC236}">
                  <a16:creationId xmlns:a16="http://schemas.microsoft.com/office/drawing/2014/main" id="{603CB7E0-6C72-BFA8-4564-340C2DFF4C94}"/>
                </a:ext>
              </a:extLst>
            </p:cNvPr>
            <p:cNvSpPr/>
            <p:nvPr/>
          </p:nvSpPr>
          <p:spPr>
            <a:xfrm>
              <a:off x="8093702" y="696234"/>
              <a:ext cx="2399686" cy="1279237"/>
            </a:xfrm>
            <a:prstGeom prst="roundRect">
              <a:avLst>
                <a:gd name="adj" fmla="val 6858"/>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7" name="TextBox 146">
            <a:extLst>
              <a:ext uri="{FF2B5EF4-FFF2-40B4-BE49-F238E27FC236}">
                <a16:creationId xmlns:a16="http://schemas.microsoft.com/office/drawing/2014/main" id="{22F2FC96-AE5A-ED3F-BA5F-625DD1915AFD}"/>
              </a:ext>
            </a:extLst>
          </p:cNvPr>
          <p:cNvSpPr txBox="1"/>
          <p:nvPr/>
        </p:nvSpPr>
        <p:spPr>
          <a:xfrm>
            <a:off x="8190965" y="4937844"/>
            <a:ext cx="666849" cy="215444"/>
          </a:xfrm>
          <a:prstGeom prst="rect">
            <a:avLst/>
          </a:prstGeom>
          <a:noFill/>
        </p:spPr>
        <p:txBody>
          <a:bodyPr wrap="none" lIns="0" tIns="0" rIns="0" bIns="0" rtlCol="0">
            <a:spAutoFit/>
          </a:bodyPr>
          <a:lstStyle/>
          <a:p>
            <a:r>
              <a:rPr lang="en-US" sz="1400">
                <a:solidFill>
                  <a:schemeClr val="tx1">
                    <a:lumMod val="65000"/>
                    <a:lumOff val="35000"/>
                  </a:schemeClr>
                </a:solidFill>
              </a:rPr>
              <a:t>Adopted</a:t>
            </a:r>
          </a:p>
        </p:txBody>
      </p:sp>
      <p:sp>
        <p:nvSpPr>
          <p:cNvPr id="148" name="TextBox 147">
            <a:extLst>
              <a:ext uri="{FF2B5EF4-FFF2-40B4-BE49-F238E27FC236}">
                <a16:creationId xmlns:a16="http://schemas.microsoft.com/office/drawing/2014/main" id="{3E343312-1A0B-D0C3-CC9C-F0BAE6510BC2}"/>
              </a:ext>
            </a:extLst>
          </p:cNvPr>
          <p:cNvSpPr txBox="1"/>
          <p:nvPr/>
        </p:nvSpPr>
        <p:spPr>
          <a:xfrm>
            <a:off x="8190965" y="5286490"/>
            <a:ext cx="1442703" cy="215444"/>
          </a:xfrm>
          <a:prstGeom prst="rect">
            <a:avLst/>
          </a:prstGeom>
          <a:noFill/>
        </p:spPr>
        <p:txBody>
          <a:bodyPr wrap="none" lIns="0" tIns="0" rIns="0" bIns="0" rtlCol="0">
            <a:spAutoFit/>
          </a:bodyPr>
          <a:lstStyle/>
          <a:p>
            <a:r>
              <a:rPr lang="en-US" sz="1400">
                <a:solidFill>
                  <a:schemeClr val="tx1">
                    <a:lumMod val="65000"/>
                    <a:lumOff val="35000"/>
                  </a:schemeClr>
                </a:solidFill>
              </a:rPr>
              <a:t>Under Negotiation</a:t>
            </a:r>
          </a:p>
        </p:txBody>
      </p:sp>
      <p:sp>
        <p:nvSpPr>
          <p:cNvPr id="19" name="Fußzeilenplatzhalter 3">
            <a:extLst>
              <a:ext uri="{FF2B5EF4-FFF2-40B4-BE49-F238E27FC236}">
                <a16:creationId xmlns:a16="http://schemas.microsoft.com/office/drawing/2014/main" id="{C6EC857F-2329-9A20-D5CE-69B3D64EB0C2}"/>
              </a:ext>
            </a:extLst>
          </p:cNvPr>
          <p:cNvSpPr txBox="1">
            <a:spLocks/>
          </p:cNvSpPr>
          <p:nvPr/>
        </p:nvSpPr>
        <p:spPr>
          <a:xfrm>
            <a:off x="1368178" y="6516000"/>
            <a:ext cx="7718672" cy="167933"/>
          </a:xfrm>
          <a:prstGeom prst="rect">
            <a:avLst/>
          </a:prstGeom>
        </p:spPr>
        <p:txBody>
          <a:bodyPr lIns="0" tIns="0" rIns="0" bIns="0"/>
          <a:ls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900">
                <a:latin typeface="Arial" panose="020B0604020202020204"/>
                <a:cs typeface="Arial"/>
              </a:rPr>
              <a:t>|  </a:t>
            </a:r>
            <a:r>
              <a:rPr lang="en-US" sz="900">
                <a:latin typeface="+mj-lt"/>
                <a:cs typeface="Calibri" panose="020F0502020204030204" pitchFamily="34" charset="0"/>
                <a:sym typeface="Calibri" panose="020F0502020204030204" pitchFamily="34" charset="0"/>
              </a:rPr>
              <a:t>Sources: </a:t>
            </a:r>
            <a:r>
              <a:rPr lang="en-US" sz="900">
                <a:latin typeface="+mj-lt"/>
                <a:cs typeface="Calibri" panose="020F0502020204030204" pitchFamily="34" charset="0"/>
                <a:sym typeface="Calibri" panose="020F0502020204030204" pitchFamily="34" charset="0"/>
                <a:hlinkClick r:id="rId8">
                  <a:extLst>
                    <a:ext uri="{A12FA001-AC4F-418D-AE19-62706E023703}">
                      <ahyp:hlinkClr xmlns:ahyp="http://schemas.microsoft.com/office/drawing/2018/hyperlinkcolor" val="tx"/>
                    </a:ext>
                  </a:extLst>
                </a:hlinkClick>
              </a:rPr>
              <a:t>https://www.circulaw.nl/European_green_deal.pdf</a:t>
            </a:r>
            <a:r>
              <a:rPr lang="en-US" sz="900">
                <a:latin typeface="+mj-lt"/>
                <a:cs typeface="Calibri" panose="020F0502020204030204" pitchFamily="34" charset="0"/>
                <a:sym typeface="Calibri" panose="020F0502020204030204" pitchFamily="34" charset="0"/>
              </a:rPr>
              <a:t>             </a:t>
            </a:r>
            <a:r>
              <a:rPr lang="en-US" sz="900">
                <a:latin typeface="+mj-lt"/>
                <a:cs typeface="Calibri" panose="020F0502020204030204" pitchFamily="34" charset="0"/>
                <a:sym typeface="Calibri" panose="020F0502020204030204" pitchFamily="34" charset="0"/>
                <a:hlinkClick r:id="rId9">
                  <a:extLst>
                    <a:ext uri="{A12FA001-AC4F-418D-AE19-62706E023703}">
                      <ahyp:hlinkClr xmlns:ahyp="http://schemas.microsoft.com/office/drawing/2018/hyperlinkcolor" val="tx"/>
                    </a:ext>
                  </a:extLst>
                </a:hlinkClick>
              </a:rPr>
              <a:t>https://www.europarl.europa.eu/legislative-train/theme-a-european-green-deal</a:t>
            </a:r>
            <a:r>
              <a:rPr lang="en-US" sz="900">
                <a:latin typeface="+mj-lt"/>
                <a:cs typeface="Calibri" panose="020F0502020204030204" pitchFamily="34" charset="0"/>
                <a:sym typeface="Calibri" panose="020F0502020204030204" pitchFamily="34" charset="0"/>
              </a:rPr>
              <a:t>  </a:t>
            </a:r>
          </a:p>
        </p:txBody>
      </p:sp>
    </p:spTree>
    <p:extLst>
      <p:ext uri="{BB962C8B-B14F-4D97-AF65-F5344CB8AC3E}">
        <p14:creationId xmlns:p14="http://schemas.microsoft.com/office/powerpoint/2010/main" val="27433244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A49D1A-362E-6500-9E3E-3B526C946363}"/>
              </a:ext>
            </a:extLst>
          </p:cNvPr>
          <p:cNvSpPr>
            <a:spLocks noGrp="1"/>
          </p:cNvSpPr>
          <p:nvPr>
            <p:ph type="title"/>
          </p:nvPr>
        </p:nvSpPr>
        <p:spPr/>
        <p:txBody>
          <a:bodyPr/>
          <a:lstStyle/>
          <a:p>
            <a:r>
              <a:rPr lang="en-US"/>
              <a:t>Making Sustainable Products the Norm</a:t>
            </a:r>
          </a:p>
        </p:txBody>
      </p:sp>
      <p:sp>
        <p:nvSpPr>
          <p:cNvPr id="4" name="Date Placeholder 3">
            <a:extLst>
              <a:ext uri="{FF2B5EF4-FFF2-40B4-BE49-F238E27FC236}">
                <a16:creationId xmlns:a16="http://schemas.microsoft.com/office/drawing/2014/main" id="{B6E0F9DA-1F67-412B-C8DF-08CDDBB6937A}"/>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368FC967-E25B-4DC7-87C0-1C454DF70C3D}"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16.02.25</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5" name="Slide Number Placeholder 4">
            <a:extLst>
              <a:ext uri="{FF2B5EF4-FFF2-40B4-BE49-F238E27FC236}">
                <a16:creationId xmlns:a16="http://schemas.microsoft.com/office/drawing/2014/main" id="{B871E513-DEB3-D438-84A7-E7EF6560942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9</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pic>
        <p:nvPicPr>
          <p:cNvPr id="6" name="Picture 5">
            <a:extLst>
              <a:ext uri="{FF2B5EF4-FFF2-40B4-BE49-F238E27FC236}">
                <a16:creationId xmlns:a16="http://schemas.microsoft.com/office/drawing/2014/main" id="{81EBAE94-6870-22E8-46A5-5D875861E8A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392" t="8654" r="4323" b="3132"/>
          <a:stretch/>
        </p:blipFill>
        <p:spPr>
          <a:xfrm>
            <a:off x="499101" y="870229"/>
            <a:ext cx="8158338" cy="5576476"/>
          </a:xfrm>
          <a:prstGeom prst="rect">
            <a:avLst/>
          </a:prstGeom>
        </p:spPr>
      </p:pic>
      <p:sp>
        <p:nvSpPr>
          <p:cNvPr id="9" name="Oval 8">
            <a:extLst>
              <a:ext uri="{FF2B5EF4-FFF2-40B4-BE49-F238E27FC236}">
                <a16:creationId xmlns:a16="http://schemas.microsoft.com/office/drawing/2014/main" id="{C7BC6038-6A9A-84AF-217D-0A02A450DBD0}"/>
              </a:ext>
            </a:extLst>
          </p:cNvPr>
          <p:cNvSpPr/>
          <p:nvPr/>
        </p:nvSpPr>
        <p:spPr>
          <a:xfrm>
            <a:off x="3269421" y="2526354"/>
            <a:ext cx="2465867" cy="2465867"/>
          </a:xfrm>
          <a:prstGeom prst="ellipse">
            <a:avLst/>
          </a:prstGeom>
          <a:solidFill>
            <a:srgbClr val="1E4E9B"/>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endParaRPr lang="en-US"/>
          </a:p>
        </p:txBody>
      </p:sp>
      <mc:AlternateContent xmlns:mc="http://schemas.openxmlformats.org/markup-compatibility/2006" xmlns:pslz="http://schemas.microsoft.com/office/powerpoint/2016/slidezoom">
        <mc:Choice Requires="pslz">
          <p:graphicFrame>
            <p:nvGraphicFramePr>
              <p:cNvPr id="8" name="Slide Zoom 7">
                <a:extLst>
                  <a:ext uri="{FF2B5EF4-FFF2-40B4-BE49-F238E27FC236}">
                    <a16:creationId xmlns:a16="http://schemas.microsoft.com/office/drawing/2014/main" id="{92600BBE-A774-4C76-5759-F047F6FF6F0F}"/>
                  </a:ext>
                </a:extLst>
              </p:cNvPr>
              <p:cNvGraphicFramePr>
                <a:graphicFrameLocks noChangeAspect="1"/>
              </p:cNvGraphicFramePr>
              <p:nvPr>
                <p:extLst>
                  <p:ext uri="{D42A27DB-BD31-4B8C-83A1-F6EECF244321}">
                    <p14:modId xmlns:p14="http://schemas.microsoft.com/office/powerpoint/2010/main" val="984953619"/>
                  </p:ext>
                </p:extLst>
              </p:nvPr>
            </p:nvGraphicFramePr>
            <p:xfrm>
              <a:off x="3441106" y="3092739"/>
              <a:ext cx="2122496" cy="1193904"/>
            </p:xfrm>
            <a:graphic>
              <a:graphicData uri="http://schemas.microsoft.com/office/powerpoint/2016/slidezoom">
                <pslz:sldZm>
                  <pslz:sldZmObj sldId="309" cId="3888820232">
                    <pslz:zmPr id="{115DDF7F-E00B-844E-B9B0-908890B01A84}" returnToParent="0" transitionDur="1000">
                      <p166:blipFill xmlns:p166="http://schemas.microsoft.com/office/powerpoint/2016/6/main">
                        <a:blip r:embed="rId4"/>
                        <a:stretch>
                          <a:fillRect/>
                        </a:stretch>
                      </p166:blipFill>
                      <p166:spPr xmlns:p166="http://schemas.microsoft.com/office/powerpoint/2016/6/main">
                        <a:xfrm>
                          <a:off x="0" y="0"/>
                          <a:ext cx="2122496" cy="1193904"/>
                        </a:xfrm>
                        <a:prstGeom prst="rect">
                          <a:avLst/>
                        </a:prstGeom>
                        <a:ln w="3175">
                          <a:noFill/>
                        </a:ln>
                      </p166:spPr>
                    </pslz:zmPr>
                  </pslz:sldZmObj>
                </pslz:sldZm>
              </a:graphicData>
            </a:graphic>
          </p:graphicFrame>
        </mc:Choice>
        <mc:Fallback xmlns="">
          <p:pic>
            <p:nvPicPr>
              <p:cNvPr id="8" name="Slide Zoom 7">
                <a:hlinkClick r:id="rId5" action="ppaction://hlinksldjump"/>
                <a:extLst>
                  <a:ext uri="{FF2B5EF4-FFF2-40B4-BE49-F238E27FC236}">
                    <a16:creationId xmlns:a16="http://schemas.microsoft.com/office/drawing/2014/main" id="{92600BBE-A774-4C76-5759-F047F6FF6F0F}"/>
                  </a:ext>
                </a:extLst>
              </p:cNvPr>
              <p:cNvPicPr>
                <a:picLocks noGrp="1" noRot="1" noChangeAspect="1" noMove="1" noResize="1" noEditPoints="1" noAdjustHandles="1" noChangeArrowheads="1" noChangeShapeType="1"/>
              </p:cNvPicPr>
              <p:nvPr/>
            </p:nvPicPr>
            <p:blipFill>
              <a:blip r:embed="rId6"/>
              <a:stretch>
                <a:fillRect/>
              </a:stretch>
            </p:blipFill>
            <p:spPr>
              <a:xfrm>
                <a:off x="3441106" y="3092739"/>
                <a:ext cx="2122496" cy="1193904"/>
              </a:xfrm>
              <a:prstGeom prst="rect">
                <a:avLst/>
              </a:prstGeom>
              <a:ln w="3175">
                <a:noFill/>
              </a:ln>
            </p:spPr>
          </p:pic>
        </mc:Fallback>
      </mc:AlternateContent>
      <p:sp>
        <p:nvSpPr>
          <p:cNvPr id="11" name="Fußzeilenplatzhalter 3">
            <a:extLst>
              <a:ext uri="{FF2B5EF4-FFF2-40B4-BE49-F238E27FC236}">
                <a16:creationId xmlns:a16="http://schemas.microsoft.com/office/drawing/2014/main" id="{206DE0EE-5233-D5A8-B834-B86867B51585}"/>
              </a:ext>
            </a:extLst>
          </p:cNvPr>
          <p:cNvSpPr txBox="1">
            <a:spLocks/>
          </p:cNvSpPr>
          <p:nvPr/>
        </p:nvSpPr>
        <p:spPr>
          <a:xfrm>
            <a:off x="1368178" y="6516000"/>
            <a:ext cx="5616000" cy="167933"/>
          </a:xfrm>
          <a:prstGeom prst="rect">
            <a:avLst/>
          </a:prstGeom>
        </p:spPr>
        <p:txBody>
          <a:bodyPr lIns="0" tIns="0" rIns="0" bIns="0"/>
          <a:ls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900">
                <a:latin typeface="Arial" panose="020B0604020202020204"/>
                <a:cs typeface="Arial"/>
              </a:rPr>
              <a:t>|  </a:t>
            </a:r>
            <a:r>
              <a:rPr lang="en-US" sz="900">
                <a:latin typeface="+mj-lt"/>
                <a:cs typeface="Calibri" panose="020F0502020204030204" pitchFamily="34" charset="0"/>
                <a:sym typeface="Calibri" panose="020F0502020204030204" pitchFamily="34" charset="0"/>
              </a:rPr>
              <a:t>Source: </a:t>
            </a:r>
            <a:r>
              <a:rPr lang="en-US" sz="900">
                <a:latin typeface="+mj-lt"/>
                <a:cs typeface="Calibri" panose="020F0502020204030204" pitchFamily="34" charset="0"/>
                <a:sym typeface="Calibri" panose="020F0502020204030204" pitchFamily="34" charset="0"/>
                <a:hlinkClick r:id="rId7">
                  <a:extLst>
                    <a:ext uri="{A12FA001-AC4F-418D-AE19-62706E023703}">
                      <ahyp:hlinkClr xmlns:ahyp="http://schemas.microsoft.com/office/drawing/2018/hyperlinkcolor" val="tx"/>
                    </a:ext>
                  </a:extLst>
                </a:hlinkClick>
              </a:rPr>
              <a:t>https://eur-lex.europa.eu/legal-content/EN/TXT/?uri=CELEX%3A52022DC0140</a:t>
            </a:r>
            <a:r>
              <a:rPr lang="en-US" sz="900">
                <a:latin typeface="+mj-lt"/>
                <a:cs typeface="Calibri" panose="020F0502020204030204" pitchFamily="34" charset="0"/>
                <a:sym typeface="Calibri" panose="020F0502020204030204" pitchFamily="34" charset="0"/>
              </a:rPr>
              <a:t> </a:t>
            </a:r>
          </a:p>
        </p:txBody>
      </p:sp>
    </p:spTree>
    <p:extLst>
      <p:ext uri="{BB962C8B-B14F-4D97-AF65-F5344CB8AC3E}">
        <p14:creationId xmlns:p14="http://schemas.microsoft.com/office/powerpoint/2010/main" val="11575683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_BASF_WIZARD_LOGO2015" val="1"/>
  <p:tag name="_BASF_WIZARD_VERSION" val="10.1.2"/>
  <p:tag name="_BASF_CONVERTED_TO_TAGS" val="1"/>
  <p:tag name="_TP_TITELFOLIE_VISIBLE" val="0"/>
  <p:tag name="_TP_TITELFOLIE_WIDTH" val="46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_WIZ_TB_TYPE" val="LSB"/>
</p:tagLst>
</file>

<file path=ppt/tags/tag4.xml><?xml version="1.0" encoding="utf-8"?>
<p:tagLst xmlns:a="http://schemas.openxmlformats.org/drawingml/2006/main" xmlns:r="http://schemas.openxmlformats.org/officeDocument/2006/relationships" xmlns:p="http://schemas.openxmlformats.org/presentationml/2006/main">
  <p:tag name="_WIZ_TB_TYPE" val="LSB"/>
</p:tagLst>
</file>

<file path=ppt/tags/tag5.xml><?xml version="1.0" encoding="utf-8"?>
<p:tagLst xmlns:a="http://schemas.openxmlformats.org/drawingml/2006/main" xmlns:r="http://schemas.openxmlformats.org/officeDocument/2006/relationships" xmlns:p="http://schemas.openxmlformats.org/presentationml/2006/main">
  <p:tag name="_WIZ_TB_TYPE" val="TB"/>
</p:tagLst>
</file>

<file path=ppt/tags/tag6.xml><?xml version="1.0" encoding="utf-8"?>
<p:tagLst xmlns:a="http://schemas.openxmlformats.org/drawingml/2006/main" xmlns:r="http://schemas.openxmlformats.org/officeDocument/2006/relationships" xmlns:p="http://schemas.openxmlformats.org/presentationml/2006/main">
  <p:tag name="_WIZ_TB_TYPE" val="LB"/>
</p:tagLst>
</file>

<file path=ppt/theme/theme1.xml><?xml version="1.0" encoding="utf-8"?>
<a:theme xmlns:a="http://schemas.openxmlformats.org/drawingml/2006/main" name="BASF_TitelDesign_V10">
  <a:themeElements>
    <a:clrScheme name="06 BASF orange_colorsheme">
      <a:dk1>
        <a:srgbClr val="000000"/>
      </a:dk1>
      <a:lt1>
        <a:srgbClr val="FFFFFF"/>
      </a:lt1>
      <a:dk2>
        <a:srgbClr val="860000"/>
      </a:dk2>
      <a:lt2>
        <a:srgbClr val="FFFFFF"/>
      </a:lt2>
      <a:accent1>
        <a:srgbClr val="C50022"/>
      </a:accent1>
      <a:accent2>
        <a:srgbClr val="CE485C"/>
      </a:accent2>
      <a:accent3>
        <a:srgbClr val="E07789"/>
      </a:accent3>
      <a:accent4>
        <a:srgbClr val="EBA6B2"/>
      </a:accent4>
      <a:accent5>
        <a:srgbClr val="F8E0E4"/>
      </a:accent5>
      <a:accent6>
        <a:srgbClr val="808080"/>
      </a:accent6>
      <a:hlink>
        <a:srgbClr val="0000FF"/>
      </a:hlink>
      <a:folHlink>
        <a:srgbClr val="800080"/>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21A0D2"/>
    </a:custClr>
    <a:custClr>
      <a:srgbClr val="4EABD6"/>
    </a:custClr>
    <a:custClr>
      <a:srgbClr val="75C4E3"/>
    </a:custClr>
    <a:custClr>
      <a:srgbClr val="9BD4EB"/>
    </a:custClr>
    <a:custClr>
      <a:srgbClr val="DAEFF8"/>
    </a:custClr>
    <a:custClr>
      <a:srgbClr val="808080"/>
    </a:custClr>
    <a:custClr>
      <a:srgbClr val="999999"/>
    </a:custClr>
    <a:custClr>
      <a:srgbClr val="666666"/>
    </a:custClr>
    <a:custClr>
      <a:srgbClr val="333333"/>
    </a:custClr>
    <a:custClr>
      <a:srgbClr val="000000"/>
    </a:custClr>
    <a:custClr>
      <a:srgbClr val="004A96"/>
    </a:custClr>
    <a:custClr>
      <a:srgbClr val="4472AA"/>
    </a:custClr>
    <a:custClr>
      <a:srgbClr val="7CA0C6"/>
    </a:custClr>
    <a:custClr>
      <a:srgbClr val="A6C0DA"/>
    </a:custClr>
    <a:custClr>
      <a:srgbClr val="E0E9F2"/>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Presentation3" id="{E2A4FAE5-6210-3647-BB14-67611FA44751}" vid="{8A790396-F896-EA4C-BC39-7B60C7983A64}"/>
    </a:ext>
  </a:extLst>
</a:theme>
</file>

<file path=ppt/theme/theme2.xml><?xml version="1.0" encoding="utf-8"?>
<a:theme xmlns:a="http://schemas.openxmlformats.org/drawingml/2006/main" name="BASF_FolienDesign_V10">
  <a:themeElements>
    <a:clrScheme name="Benutzerdefiniert 5">
      <a:dk1>
        <a:srgbClr val="000000"/>
      </a:dk1>
      <a:lt1>
        <a:srgbClr val="FFFFFF"/>
      </a:lt1>
      <a:dk2>
        <a:srgbClr val="860000"/>
      </a:dk2>
      <a:lt2>
        <a:srgbClr val="FFFFFF"/>
      </a:lt2>
      <a:accent1>
        <a:srgbClr val="C50022"/>
      </a:accent1>
      <a:accent2>
        <a:srgbClr val="CE485C"/>
      </a:accent2>
      <a:accent3>
        <a:srgbClr val="E07789"/>
      </a:accent3>
      <a:accent4>
        <a:srgbClr val="EBA6B2"/>
      </a:accent4>
      <a:accent5>
        <a:srgbClr val="F8E0E4"/>
      </a:accent5>
      <a:accent6>
        <a:srgbClr val="808080"/>
      </a:accent6>
      <a:hlink>
        <a:srgbClr val="0000FF"/>
      </a:hlink>
      <a:folHlink>
        <a:srgbClr val="800080"/>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21A0D2"/>
    </a:custClr>
    <a:custClr>
      <a:srgbClr val="4EABD6"/>
    </a:custClr>
    <a:custClr>
      <a:srgbClr val="75C4E3"/>
    </a:custClr>
    <a:custClr>
      <a:srgbClr val="9BD4EB"/>
    </a:custClr>
    <a:custClr>
      <a:srgbClr val="DAEFF8"/>
    </a:custClr>
    <a:custClr>
      <a:srgbClr val="808080"/>
    </a:custClr>
    <a:custClr>
      <a:srgbClr val="999999"/>
    </a:custClr>
    <a:custClr>
      <a:srgbClr val="666666"/>
    </a:custClr>
    <a:custClr>
      <a:srgbClr val="333333"/>
    </a:custClr>
    <a:custClr>
      <a:srgbClr val="000000"/>
    </a:custClr>
    <a:custClr>
      <a:srgbClr val="004A96"/>
    </a:custClr>
    <a:custClr>
      <a:srgbClr val="4472AA"/>
    </a:custClr>
    <a:custClr>
      <a:srgbClr val="7CA0C6"/>
    </a:custClr>
    <a:custClr>
      <a:srgbClr val="A6C0DA"/>
    </a:custClr>
    <a:custClr>
      <a:srgbClr val="E0E9F2"/>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Presentation3" id="{E2A4FAE5-6210-3647-BB14-67611FA44751}" vid="{DB35F39D-CF4E-3447-BCEF-0C66B1B6F59A}"/>
    </a:ext>
  </a:extLst>
</a:theme>
</file>

<file path=ppt/theme/theme20.xml><?xml version="1.0" encoding="utf-8"?>
<a:theme xmlns:a="http://schemas.openxmlformats.org/drawingml/2006/main" name="BASF_FolienDesign_V10">
  <a:themeElements>
    <a:clrScheme name="Benutzerdefiniert 5">
      <a:dk1>
        <a:srgbClr val="000000"/>
      </a:dk1>
      <a:lt1>
        <a:srgbClr val="FFFFFF"/>
      </a:lt1>
      <a:dk2>
        <a:srgbClr val="860000"/>
      </a:dk2>
      <a:lt2>
        <a:srgbClr val="FFFFFF"/>
      </a:lt2>
      <a:accent1>
        <a:srgbClr val="C50022"/>
      </a:accent1>
      <a:accent2>
        <a:srgbClr val="CE485C"/>
      </a:accent2>
      <a:accent3>
        <a:srgbClr val="E07789"/>
      </a:accent3>
      <a:accent4>
        <a:srgbClr val="EBA6B2"/>
      </a:accent4>
      <a:accent5>
        <a:srgbClr val="F8E0E4"/>
      </a:accent5>
      <a:accent6>
        <a:srgbClr val="808080"/>
      </a:accent6>
      <a:hlink>
        <a:srgbClr val="0000FF"/>
      </a:hlink>
      <a:folHlink>
        <a:srgbClr val="800080"/>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21A0D2"/>
    </a:custClr>
    <a:custClr>
      <a:srgbClr val="4EABD6"/>
    </a:custClr>
    <a:custClr>
      <a:srgbClr val="75C4E3"/>
    </a:custClr>
    <a:custClr>
      <a:srgbClr val="9BD4EB"/>
    </a:custClr>
    <a:custClr>
      <a:srgbClr val="DAEFF8"/>
    </a:custClr>
    <a:custClr>
      <a:srgbClr val="808080"/>
    </a:custClr>
    <a:custClr>
      <a:srgbClr val="999999"/>
    </a:custClr>
    <a:custClr>
      <a:srgbClr val="666666"/>
    </a:custClr>
    <a:custClr>
      <a:srgbClr val="333333"/>
    </a:custClr>
    <a:custClr>
      <a:srgbClr val="000000"/>
    </a:custClr>
    <a:custClr>
      <a:srgbClr val="004A96"/>
    </a:custClr>
    <a:custClr>
      <a:srgbClr val="4472AA"/>
    </a:custClr>
    <a:custClr>
      <a:srgbClr val="7CA0C6"/>
    </a:custClr>
    <a:custClr>
      <a:srgbClr val="A6C0DA"/>
    </a:custClr>
    <a:custClr>
      <a:srgbClr val="E0E9F2"/>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Presentation3" id="{E2A4FAE5-6210-3647-BB14-67611FA44751}" vid="{DB35F39D-CF4E-3447-BCEF-0C66B1B6F59A}"/>
    </a:ext>
  </a:extLst>
</a:theme>
</file>

<file path=ppt/theme/theme3.xml><?xml version="1.0" encoding="utf-8"?>
<a:theme xmlns:a="http://schemas.openxmlformats.org/drawingml/2006/main" name="BASF_Finale_V10">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ASF">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3" id="{E2A4FAE5-6210-3647-BB14-67611FA44751}" vid="{A073ADD9-F3F0-A048-9964-4AD510C07962}"/>
    </a:ext>
  </a:extLst>
</a:theme>
</file>

<file path=ppt/theme/theme4.xml><?xml version="1.0" encoding="utf-8"?>
<a:theme xmlns:a="http://schemas.openxmlformats.org/drawingml/2006/main" name="1_BASF_FolienDesign_V10">
  <a:themeElements>
    <a:clrScheme name="05 BASF red_colorsheme">
      <a:dk1>
        <a:srgbClr val="000000"/>
      </a:dk1>
      <a:lt1>
        <a:srgbClr val="FFFFFF"/>
      </a:lt1>
      <a:dk2>
        <a:srgbClr val="860000"/>
      </a:dk2>
      <a:lt2>
        <a:srgbClr val="FFFFFF"/>
      </a:lt2>
      <a:accent1>
        <a:srgbClr val="C50022"/>
      </a:accent1>
      <a:accent2>
        <a:srgbClr val="CE485C"/>
      </a:accent2>
      <a:accent3>
        <a:srgbClr val="E07789"/>
      </a:accent3>
      <a:accent4>
        <a:srgbClr val="EBA6B2"/>
      </a:accent4>
      <a:accent5>
        <a:srgbClr val="F8E0E4"/>
      </a:accent5>
      <a:accent6>
        <a:srgbClr val="808080"/>
      </a:accent6>
      <a:hlink>
        <a:srgbClr val="0000FF"/>
      </a:hlink>
      <a:folHlink>
        <a:srgbClr val="800080"/>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21A0D2"/>
    </a:custClr>
    <a:custClr>
      <a:srgbClr val="4EABD6"/>
    </a:custClr>
    <a:custClr>
      <a:srgbClr val="75C4E3"/>
    </a:custClr>
    <a:custClr>
      <a:srgbClr val="9BD4EB"/>
    </a:custClr>
    <a:custClr>
      <a:srgbClr val="DAEFF8"/>
    </a:custClr>
    <a:custClr>
      <a:srgbClr val="808080"/>
    </a:custClr>
    <a:custClr>
      <a:srgbClr val="999999"/>
    </a:custClr>
    <a:custClr>
      <a:srgbClr val="666666"/>
    </a:custClr>
    <a:custClr>
      <a:srgbClr val="333333"/>
    </a:custClr>
    <a:custClr>
      <a:srgbClr val="000000"/>
    </a:custClr>
    <a:custClr>
      <a:srgbClr val="004A96"/>
    </a:custClr>
    <a:custClr>
      <a:srgbClr val="4472AA"/>
    </a:custClr>
    <a:custClr>
      <a:srgbClr val="7CA0C6"/>
    </a:custClr>
    <a:custClr>
      <a:srgbClr val="A6C0DA"/>
    </a:custClr>
    <a:custClr>
      <a:srgbClr val="E0E9F2"/>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BASFo_Presentation16-9_rd_de" id="{B601EDEC-A519-7B49-8FB3-6FB2E6A2B1EB}" vid="{214BF3D5-8A25-9444-825F-D5F3BD9518F7}"/>
    </a:ext>
  </a:ext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0.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063540E45366244BCAB6CF8D3206C47" ma:contentTypeVersion="16" ma:contentTypeDescription="Create a new document." ma:contentTypeScope="" ma:versionID="51ca0e78c4ab1b02d9171471c4c25de7">
  <xsd:schema xmlns:xsd="http://www.w3.org/2001/XMLSchema" xmlns:xs="http://www.w3.org/2001/XMLSchema" xmlns:p="http://schemas.microsoft.com/office/2006/metadata/properties" xmlns:ns2="85b06ac9-6fe9-4467-8519-28c497d274e5" xmlns:ns3="2a6da135-1da6-4d6c-8961-4094f54a656e" targetNamespace="http://schemas.microsoft.com/office/2006/metadata/properties" ma:root="true" ma:fieldsID="fa41a4aad585926945f28c15e45dc8b8" ns2:_="" ns3:_="">
    <xsd:import namespace="85b06ac9-6fe9-4467-8519-28c497d274e5"/>
    <xsd:import namespace="2a6da135-1da6-4d6c-8961-4094f54a656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LengthInSeconds" minOccurs="0"/>
                <xsd:element ref="ns2:MediaServiceObjectDetectorVersions" minOccurs="0"/>
                <xsd:element ref="ns2:MediaServiceSearchPropertie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b06ac9-6fe9-4467-8519-28c497d274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04f2cd92-8d93-4e4c-83d3-86703d91558f"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GenerationTime" ma:index="22" nillable="true" ma:displayName="MediaServiceGenerationTime" ma:hidden="true" ma:internalName="MediaServiceGenerationTime" ma:readOnly="true">
      <xsd:simpleType>
        <xsd:restriction base="dms:Text"/>
      </xsd:simpleType>
    </xsd:element>
    <xsd:element name="MediaServiceEventHashCode" ma:index="23"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a6da135-1da6-4d6c-8961-4094f54a656e"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1115598b-8778-4a32-9289-6f1729a18638}" ma:internalName="TaxCatchAll" ma:showField="CatchAllData" ma:web="2a6da135-1da6-4d6c-8961-4094f54a656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2a6da135-1da6-4d6c-8961-4094f54a656e" xsi:nil="true"/>
    <lcf76f155ced4ddcb4097134ff3c332f xmlns="85b06ac9-6fe9-4467-8519-28c497d274e5">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434B03E-A8CE-4BD4-8D07-31D8A1B1A20E}">
  <ds:schemaRefs>
    <ds:schemaRef ds:uri="2a6da135-1da6-4d6c-8961-4094f54a656e"/>
    <ds:schemaRef ds:uri="85b06ac9-6fe9-4467-8519-28c497d274e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8911FF5-FBCE-45D8-B58C-DCCD4897D051}">
  <ds:schemaRefs>
    <ds:schemaRef ds:uri="http://www.w3.org/XML/1998/namespace"/>
    <ds:schemaRef ds:uri="http://purl.org/dc/terms/"/>
    <ds:schemaRef ds:uri="http://purl.org/dc/elements/1.1/"/>
    <ds:schemaRef ds:uri="http://schemas.microsoft.com/office/2006/metadata/properties"/>
    <ds:schemaRef ds:uri="http://purl.org/dc/dcmitype/"/>
    <ds:schemaRef ds:uri="http://schemas.microsoft.com/office/2006/documentManagement/types"/>
    <ds:schemaRef ds:uri="http://schemas.openxmlformats.org/package/2006/metadata/core-properties"/>
    <ds:schemaRef ds:uri="http://schemas.microsoft.com/office/infopath/2007/PartnerControls"/>
    <ds:schemaRef ds:uri="2a6da135-1da6-4d6c-8961-4094f54a656e"/>
    <ds:schemaRef ds:uri="85b06ac9-6fe9-4467-8519-28c497d274e5"/>
  </ds:schemaRefs>
</ds:datastoreItem>
</file>

<file path=customXml/itemProps3.xml><?xml version="1.0" encoding="utf-8"?>
<ds:datastoreItem xmlns:ds="http://schemas.openxmlformats.org/officeDocument/2006/customXml" ds:itemID="{29E1E3A7-0097-43B2-9623-26E8A08C4A35}">
  <ds:schemaRefs>
    <ds:schemaRef ds:uri="http://schemas.microsoft.com/sharepoint/v3/contenttype/forms"/>
  </ds:schemaRefs>
</ds:datastoreItem>
</file>

<file path=docMetadata/LabelInfo.xml><?xml version="1.0" encoding="utf-8"?>
<clbl:labelList xmlns:clbl="http://schemas.microsoft.com/office/2020/mipLabelMetadata">
  <clbl:label id="{fd8f657c-1b5d-4225-9de5-62d9d25afec8}" enabled="1" method="Privileged" siteId="{ecaa386b-c8df-4ce0-ad01-740cbdb5ba55}" removed="0"/>
</clbl:labelList>
</file>

<file path=docProps/app.xml><?xml version="1.0" encoding="utf-8"?>
<Properties xmlns="http://schemas.openxmlformats.org/officeDocument/2006/extended-properties" xmlns:vt="http://schemas.openxmlformats.org/officeDocument/2006/docPropsVTypes">
  <Template>BASF_TitelDesign_V10</Template>
  <TotalTime>622</TotalTime>
  <Words>3960</Words>
  <Application>Microsoft Macintosh PowerPoint</Application>
  <PresentationFormat>Widescreen</PresentationFormat>
  <Paragraphs>687</Paragraphs>
  <Slides>40</Slides>
  <Notes>20</Notes>
  <HiddenSlides>0</HiddenSlides>
  <MMClips>1</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40</vt:i4>
      </vt:variant>
    </vt:vector>
  </HeadingPairs>
  <TitlesOfParts>
    <vt:vector size="52" baseType="lpstr">
      <vt:lpstr>Arial</vt:lpstr>
      <vt:lpstr>Arial Narrow</vt:lpstr>
      <vt:lpstr>Calibri</vt:lpstr>
      <vt:lpstr>Manrope Light</vt:lpstr>
      <vt:lpstr>Verdana</vt:lpstr>
      <vt:lpstr>Wingdings</vt:lpstr>
      <vt:lpstr>Wingdings 3</vt:lpstr>
      <vt:lpstr>BASF_TitelDesign_V10</vt:lpstr>
      <vt:lpstr>BASF_FolienDesign_V10</vt:lpstr>
      <vt:lpstr>BASF_Finale_V10</vt:lpstr>
      <vt:lpstr>1_BASF_FolienDesign_V10</vt:lpstr>
      <vt:lpstr>think-cell Folie</vt:lpstr>
      <vt:lpstr>PowerPoint Presentation</vt:lpstr>
      <vt:lpstr>Don’t let yourself be Swept Away by the Regulatory Tsunami</vt:lpstr>
      <vt:lpstr>Green Deal – EU’s Man on the Moon Moment</vt:lpstr>
      <vt:lpstr>Green Deal - EU’s Man on the Moon Moment</vt:lpstr>
      <vt:lpstr>PowerPoint Presentation</vt:lpstr>
      <vt:lpstr>PowerPoint Presentation</vt:lpstr>
      <vt:lpstr>PowerPoint Presentation</vt:lpstr>
      <vt:lpstr>EU Green Deal Initiatives Requiring DPPs (5 out of 168) </vt:lpstr>
      <vt:lpstr>Making Sustainable Products the Norm</vt:lpstr>
      <vt:lpstr>Making Sustainable Products the Norm</vt:lpstr>
      <vt:lpstr>PowerPoint Presentation</vt:lpstr>
      <vt:lpstr>Critical Aspects of the Ecodesign for Sustainable Product Regulation</vt:lpstr>
      <vt:lpstr>Ecodesign Requirements (see ESPR §5)</vt:lpstr>
      <vt:lpstr>What is a Substance of Concern (SoC) (see ESPR §2.27 ff)</vt:lpstr>
      <vt:lpstr>What Shall Not Be Covered by the Ecodesign for Sustainable Product Regulation (ESPR)?</vt:lpstr>
      <vt:lpstr>What Shall Be Covered by the Ecodesign for Sustainable Product Regulation (ESPR)?</vt:lpstr>
      <vt:lpstr>What Shall Be Covered by the Ecodesign for Sustainable Product Regulation (ESPR)?</vt:lpstr>
      <vt:lpstr>Why is a Digital Product Passport (DPP) Required</vt:lpstr>
      <vt:lpstr>What is the Digital Product Passport (DPP)? (see ESPR §9 - §15) </vt:lpstr>
      <vt:lpstr>What is the Digital Product Passport (DPP)? (see ESPR §9 - §15) </vt:lpstr>
      <vt:lpstr>DPP Vision / Battery Passport</vt:lpstr>
      <vt:lpstr>Lessons Learned from the Battery Pass </vt:lpstr>
      <vt:lpstr>Lessons Learned from the Battery Pass</vt:lpstr>
      <vt:lpstr>Lessons Learned from the Battery Pass </vt:lpstr>
      <vt:lpstr>Lessons Learned from the Battery Pass</vt:lpstr>
      <vt:lpstr>Lessons Learned from the Battery Pass</vt:lpstr>
      <vt:lpstr>DPP-Reality In the Process Industry. ID Link</vt:lpstr>
      <vt:lpstr>DPP-Reality In the Process Industry. ID Link</vt:lpstr>
      <vt:lpstr>Catena-X Architecture to Power Sovereign Data Exchange for DPP</vt:lpstr>
      <vt:lpstr>Mind the Product Lifecycle and the Involved Data</vt:lpstr>
      <vt:lpstr>Timeline</vt:lpstr>
      <vt:lpstr>First Draft of the ESPR Work Plan 2025-2030 Proposes a shortened List of Products to Cover</vt:lpstr>
      <vt:lpstr>Timeline con’t</vt:lpstr>
      <vt:lpstr>Wrap-up &amp; Checklist </vt:lpstr>
      <vt:lpstr>Don’t let yourself be Swept Away by the Regulatory Tsunami</vt:lpstr>
      <vt:lpstr>Stabilize your Core Processes – Use Standards, Harmonize Data Exchange and Foster Transparency. Act Now!</vt:lpstr>
      <vt:lpstr>Take Home Messages</vt:lpstr>
      <vt:lpstr>References in the Sequence of Appearance</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drian von Muehlenen</dc:creator>
  <cp:lastModifiedBy>Adrian von Muehlenen</cp:lastModifiedBy>
  <cp:revision>5</cp:revision>
  <cp:lastPrinted>2024-10-21T18:10:48Z</cp:lastPrinted>
  <dcterms:created xsi:type="dcterms:W3CDTF">2024-10-16T18:08:43Z</dcterms:created>
  <dcterms:modified xsi:type="dcterms:W3CDTF">2025-02-16T14:2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BASF_Wizard_PP">
    <vt:bool>true</vt:bool>
  </property>
  <property fmtid="{D5CDD505-2E9C-101B-9397-08002B2CF9AE}" pid="3" name="_BASF_Wizard_Version">
    <vt:lpwstr>10.1.2</vt:lpwstr>
  </property>
  <property fmtid="{D5CDD505-2E9C-101B-9397-08002B2CF9AE}" pid="4" name="Classification_to_AIP">
    <vt:i4>0</vt:i4>
  </property>
  <property fmtid="{D5CDD505-2E9C-101B-9397-08002B2CF9AE}" pid="5" name="_BASF_Wizard_Logo2015">
    <vt:lpwstr>1</vt:lpwstr>
  </property>
  <property fmtid="{D5CDD505-2E9C-101B-9397-08002B2CF9AE}" pid="6" name="MSIP_Label_06530cf4-8573-4c29-a912-bbcdac835909_Enabled">
    <vt:lpwstr>true</vt:lpwstr>
  </property>
  <property fmtid="{D5CDD505-2E9C-101B-9397-08002B2CF9AE}" pid="7" name="MSIP_Label_06530cf4-8573-4c29-a912-bbcdac835909_SetDate">
    <vt:lpwstr>2024-10-10T07:11:13Z</vt:lpwstr>
  </property>
  <property fmtid="{D5CDD505-2E9C-101B-9397-08002B2CF9AE}" pid="8" name="MSIP_Label_06530cf4-8573-4c29-a912-bbcdac835909_Method">
    <vt:lpwstr>Standard</vt:lpwstr>
  </property>
  <property fmtid="{D5CDD505-2E9C-101B-9397-08002B2CF9AE}" pid="9" name="MSIP_Label_06530cf4-8573-4c29-a912-bbcdac835909_Name">
    <vt:lpwstr>06530cf4-8573-4c29-a912-bbcdac835909</vt:lpwstr>
  </property>
  <property fmtid="{D5CDD505-2E9C-101B-9397-08002B2CF9AE}" pid="10" name="MSIP_Label_06530cf4-8573-4c29-a912-bbcdac835909_SiteId">
    <vt:lpwstr>ecaa386b-c8df-4ce0-ad01-740cbdb5ba55</vt:lpwstr>
  </property>
  <property fmtid="{D5CDD505-2E9C-101B-9397-08002B2CF9AE}" pid="11" name="MSIP_Label_06530cf4-8573-4c29-a912-bbcdac835909_ActionId">
    <vt:lpwstr>106cf15b-3aef-4c62-9c56-c0a9640e9789</vt:lpwstr>
  </property>
  <property fmtid="{D5CDD505-2E9C-101B-9397-08002B2CF9AE}" pid="12" name="MSIP_Label_06530cf4-8573-4c29-a912-bbcdac835909_ContentBits">
    <vt:lpwstr>2</vt:lpwstr>
  </property>
  <property fmtid="{D5CDD505-2E9C-101B-9397-08002B2CF9AE}" pid="13" name="ContentTypeId">
    <vt:lpwstr>0x0101004063540E45366244BCAB6CF8D3206C47</vt:lpwstr>
  </property>
  <property fmtid="{D5CDD505-2E9C-101B-9397-08002B2CF9AE}" pid="14" name="MediaServiceImageTags">
    <vt:lpwstr/>
  </property>
</Properties>
</file>